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Masters/slideMaster15.xml" ContentType="application/vnd.openxmlformats-officedocument.presentationml.slideMaster+xml"/>
  <Override PartName="/ppt/slideMasters/slideMaster16.xml" ContentType="application/vnd.openxmlformats-officedocument.presentationml.slideMaster+xml"/>
  <Override PartName="/ppt/slideMasters/slideMaster17.xml" ContentType="application/vnd.openxmlformats-officedocument.presentationml.slideMaster+xml"/>
  <Override PartName="/ppt/slideMasters/slideMaster18.xml" ContentType="application/vnd.openxmlformats-officedocument.presentationml.slideMaster+xml"/>
  <Override PartName="/ppt/slideMasters/slideMaster19.xml" ContentType="application/vnd.openxmlformats-officedocument.presentationml.slideMaster+xml"/>
  <Override PartName="/ppt/slideMasters/slideMaster20.xml" ContentType="application/vnd.openxmlformats-officedocument.presentationml.slideMaster+xml"/>
  <Override PartName="/ppt/slideMasters/slideMaster21.xml" ContentType="application/vnd.openxmlformats-officedocument.presentationml.slideMaster+xml"/>
  <Override PartName="/ppt/slideMasters/slideMaster22.xml" ContentType="application/vnd.openxmlformats-officedocument.presentationml.slideMaster+xml"/>
  <Override PartName="/ppt/slideMasters/slideMaster23.xml" ContentType="application/vnd.openxmlformats-officedocument.presentationml.slideMaster+xml"/>
  <Override PartName="/ppt/slideMasters/slideMaster24.xml" ContentType="application/vnd.openxmlformats-officedocument.presentationml.slideMaster+xml"/>
  <Override PartName="/ppt/slideMasters/slideMaster25.xml" ContentType="application/vnd.openxmlformats-officedocument.presentationml.slideMaster+xml"/>
  <Override PartName="/ppt/slideMasters/slideMaster26.xml" ContentType="application/vnd.openxmlformats-officedocument.presentationml.slideMaster+xml"/>
  <Override PartName="/ppt/slideMasters/slideMaster27.xml" ContentType="application/vnd.openxmlformats-officedocument.presentationml.slideMaster+xml"/>
  <Override PartName="/ppt/slideMasters/slideMaster28.xml" ContentType="application/vnd.openxmlformats-officedocument.presentationml.slideMaster+xml"/>
  <Override PartName="/ppt/slideMasters/slideMaster29.xml" ContentType="application/vnd.openxmlformats-officedocument.presentationml.slideMaster+xml"/>
  <Override PartName="/ppt/slideMasters/slideMaster30.xml" ContentType="application/vnd.openxmlformats-officedocument.presentationml.slideMaster+xml"/>
  <Override PartName="/ppt/slideMasters/slideMaster31.xml" ContentType="application/vnd.openxmlformats-officedocument.presentationml.slideMaster+xml"/>
  <Override PartName="/ppt/slideMasters/slideMaster32.xml" ContentType="application/vnd.openxmlformats-officedocument.presentationml.slideMaster+xml"/>
  <Override PartName="/ppt/slideMasters/slideMaster33.xml" ContentType="application/vnd.openxmlformats-officedocument.presentationml.slideMaster+xml"/>
  <Override PartName="/ppt/slideMasters/slideMaster34.xml" ContentType="application/vnd.openxmlformats-officedocument.presentationml.slideMaster+xml"/>
  <Override PartName="/ppt/slideMasters/slideMaster35.xml" ContentType="application/vnd.openxmlformats-officedocument.presentationml.slideMaster+xml"/>
  <Override PartName="/ppt/slideMasters/slideMaster36.xml" ContentType="application/vnd.openxmlformats-officedocument.presentationml.slideMaster+xml"/>
  <Override PartName="/ppt/slideMasters/slideMaster37.xml" ContentType="application/vnd.openxmlformats-officedocument.presentationml.slideMaster+xml"/>
  <Override PartName="/ppt/slideMasters/slideMaster38.xml" ContentType="application/vnd.openxmlformats-officedocument.presentationml.slideMaster+xml"/>
  <Override PartName="/ppt/slideMasters/slideMaster39.xml" ContentType="application/vnd.openxmlformats-officedocument.presentationml.slideMaster+xml"/>
  <Override PartName="/ppt/slideMasters/slideMaster40.xml" ContentType="application/vnd.openxmlformats-officedocument.presentationml.slideMaster+xml"/>
  <Override PartName="/ppt/slideMasters/slideMaster41.xml" ContentType="application/vnd.openxmlformats-officedocument.presentationml.slideMaster+xml"/>
  <Override PartName="/ppt/slideMasters/slideMaster42.xml" ContentType="application/vnd.openxmlformats-officedocument.presentationml.slideMaster+xml"/>
  <Override PartName="/ppt/slideMasters/slideMaster43.xml" ContentType="application/vnd.openxmlformats-officedocument.presentationml.slideMaster+xml"/>
  <Override PartName="/ppt/slideMasters/slideMaster44.xml" ContentType="application/vnd.openxmlformats-officedocument.presentationml.slideMaster+xml"/>
  <Override PartName="/ppt/slideMasters/slideMaster45.xml" ContentType="application/vnd.openxmlformats-officedocument.presentationml.slideMaster+xml"/>
  <Override PartName="/ppt/slideMasters/slideMaster46.xml" ContentType="application/vnd.openxmlformats-officedocument.presentationml.slideMaster+xml"/>
  <Override PartName="/ppt/slideMasters/slideMaster47.xml" ContentType="application/vnd.openxmlformats-officedocument.presentationml.slideMaster+xml"/>
  <Override PartName="/ppt/slideMasters/slideMaster48.xml" ContentType="application/vnd.openxmlformats-officedocument.presentationml.slideMaster+xml"/>
  <Override PartName="/ppt/slideMasters/slideMaster49.xml" ContentType="application/vnd.openxmlformats-officedocument.presentationml.slideMaster+xml"/>
  <Override PartName="/ppt/slideMasters/slideMaster50.xml" ContentType="application/vnd.openxmlformats-officedocument.presentationml.slideMaster+xml"/>
  <Override PartName="/ppt/slideMasters/slideMaster51.xml" ContentType="application/vnd.openxmlformats-officedocument.presentationml.slideMaster+xml"/>
  <Override PartName="/ppt/slideMasters/slideMaster52.xml" ContentType="application/vnd.openxmlformats-officedocument.presentationml.slideMaster+xml"/>
  <Override PartName="/ppt/slideMasters/slideMaster53.xml" ContentType="application/vnd.openxmlformats-officedocument.presentationml.slideMaster+xml"/>
  <Override PartName="/ppt/slideMasters/slideMaster54.xml" ContentType="application/vnd.openxmlformats-officedocument.presentationml.slideMaster+xml"/>
  <Override PartName="/ppt/slideMasters/slideMaster55.xml" ContentType="application/vnd.openxmlformats-officedocument.presentationml.slideMaster+xml"/>
  <Override PartName="/ppt/slideMasters/slideMaster56.xml" ContentType="application/vnd.openxmlformats-officedocument.presentationml.slideMaster+xml"/>
  <Override PartName="/ppt/slideMasters/slideMaster57.xml" ContentType="application/vnd.openxmlformats-officedocument.presentationml.slideMaster+xml"/>
  <Override PartName="/ppt/slideMasters/slideMaster58.xml" ContentType="application/vnd.openxmlformats-officedocument.presentationml.slideMaster+xml"/>
  <Override PartName="/ppt/slideMasters/slideMaster59.xml" ContentType="application/vnd.openxmlformats-officedocument.presentationml.slideMaster+xml"/>
  <Override PartName="/ppt/slideMasters/slideMaster60.xml" ContentType="application/vnd.openxmlformats-officedocument.presentationml.slideMaster+xml"/>
  <Override PartName="/ppt/slideMasters/slideMaster61.xml" ContentType="application/vnd.openxmlformats-officedocument.presentationml.slideMaster+xml"/>
  <Override PartName="/ppt/slideMasters/slideMaster62.xml" ContentType="application/vnd.openxmlformats-officedocument.presentationml.slideMaster+xml"/>
  <Override PartName="/ppt/slideMasters/slideMaster63.xml" ContentType="application/vnd.openxmlformats-officedocument.presentationml.slideMaster+xml"/>
  <Override PartName="/ppt/slideMasters/slideMaster64.xml" ContentType="application/vnd.openxmlformats-officedocument.presentationml.slideMaster+xml"/>
  <Override PartName="/ppt/slideMasters/slideMaster65.xml" ContentType="application/vnd.openxmlformats-officedocument.presentationml.slideMaster+xml"/>
  <Override PartName="/ppt/slideMasters/slideMaster66.xml" ContentType="application/vnd.openxmlformats-officedocument.presentationml.slideMaster+xml"/>
  <Override PartName="/ppt/slideMasters/slideMaster67.xml" ContentType="application/vnd.openxmlformats-officedocument.presentationml.slideMaster+xml"/>
  <Override PartName="/ppt/slideMasters/slideMaster68.xml" ContentType="application/vnd.openxmlformats-officedocument.presentationml.slideMaster+xml"/>
  <Override PartName="/ppt/slideMasters/slideMaster69.xml" ContentType="application/vnd.openxmlformats-officedocument.presentationml.slideMaster+xml"/>
  <Override PartName="/ppt/slideMasters/slideMaster70.xml" ContentType="application/vnd.openxmlformats-officedocument.presentationml.slideMaster+xml"/>
  <Override PartName="/ppt/slideMasters/slideMaster71.xml" ContentType="application/vnd.openxmlformats-officedocument.presentationml.slideMaster+xml"/>
  <Override PartName="/ppt/slideMasters/slideMaster72.xml" ContentType="application/vnd.openxmlformats-officedocument.presentationml.slideMaster+xml"/>
  <Override PartName="/ppt/slideMasters/slideMaster73.xml" ContentType="application/vnd.openxmlformats-officedocument.presentationml.slideMaster+xml"/>
  <Override PartName="/ppt/slideMasters/slideMaster74.xml" ContentType="application/vnd.openxmlformats-officedocument.presentationml.slideMaster+xml"/>
  <Override PartName="/ppt/slideMasters/slideMaster75.xml" ContentType="application/vnd.openxmlformats-officedocument.presentationml.slideMaster+xml"/>
  <Override PartName="/ppt/slideMasters/slideMaster76.xml" ContentType="application/vnd.openxmlformats-officedocument.presentationml.slideMaster+xml"/>
  <Override PartName="/ppt/slideMasters/slideMaster77.xml" ContentType="application/vnd.openxmlformats-officedocument.presentationml.slideMaster+xml"/>
  <Override PartName="/ppt/slideMasters/slideMaster78.xml" ContentType="application/vnd.openxmlformats-officedocument.presentationml.slideMaster+xml"/>
  <Override PartName="/ppt/slideMasters/slideMaster79.xml" ContentType="application/vnd.openxmlformats-officedocument.presentationml.slideMaster+xml"/>
  <Override PartName="/ppt/slideMasters/slideMaster80.xml" ContentType="application/vnd.openxmlformats-officedocument.presentationml.slideMaster+xml"/>
  <Override PartName="/ppt/slideMasters/slideMaster81.xml" ContentType="application/vnd.openxmlformats-officedocument.presentationml.slideMaster+xml"/>
  <Override PartName="/ppt/slideMasters/slideMaster82.xml" ContentType="application/vnd.openxmlformats-officedocument.presentationml.slideMaster+xml"/>
  <Override PartName="/ppt/slideMasters/slideMaster83.xml" ContentType="application/vnd.openxmlformats-officedocument.presentationml.slideMaster+xml"/>
  <Override PartName="/ppt/slideMasters/slideMaster84.xml" ContentType="application/vnd.openxmlformats-officedocument.presentationml.slideMaster+xml"/>
  <Override PartName="/ppt/slideMasters/slideMaster85.xml" ContentType="application/vnd.openxmlformats-officedocument.presentationml.slideMaster+xml"/>
  <Override PartName="/ppt/slideMasters/slideMaster86.xml" ContentType="application/vnd.openxmlformats-officedocument.presentationml.slideMaster+xml"/>
  <Override PartName="/ppt/slideMasters/slideMaster87.xml" ContentType="application/vnd.openxmlformats-officedocument.presentationml.slideMaster+xml"/>
  <Override PartName="/ppt/slideMasters/slideMaster88.xml" ContentType="application/vnd.openxmlformats-officedocument.presentationml.slideMaster+xml"/>
  <Override PartName="/ppt/slideMasters/slideMaster89.xml" ContentType="application/vnd.openxmlformats-officedocument.presentationml.slideMaster+xml"/>
  <Override PartName="/ppt/slideMasters/slideMaster90.xml" ContentType="application/vnd.openxmlformats-officedocument.presentationml.slideMaster+xml"/>
  <Override PartName="/ppt/slideMasters/slideMaster91.xml" ContentType="application/vnd.openxmlformats-officedocument.presentationml.slideMaster+xml"/>
  <Override PartName="/ppt/slideMasters/slideMaster92.xml" ContentType="application/vnd.openxmlformats-officedocument.presentationml.slideMaster+xml"/>
  <Override PartName="/ppt/slideMasters/slideMaster93.xml" ContentType="application/vnd.openxmlformats-officedocument.presentationml.slideMaster+xml"/>
  <Override PartName="/ppt/slideMasters/slideMaster94.xml" ContentType="application/vnd.openxmlformats-officedocument.presentationml.slideMaster+xml"/>
  <Override PartName="/ppt/slideMasters/slideMaster95.xml" ContentType="application/vnd.openxmlformats-officedocument.presentationml.slideMaster+xml"/>
  <Override PartName="/ppt/slideMasters/slideMaster96.xml" ContentType="application/vnd.openxmlformats-officedocument.presentationml.slideMaster+xml"/>
  <Override PartName="/ppt/slideMasters/slideMaster97.xml" ContentType="application/vnd.openxmlformats-officedocument.presentationml.slideMaster+xml"/>
  <Override PartName="/ppt/slideMasters/slideMaster98.xml" ContentType="application/vnd.openxmlformats-officedocument.presentationml.slideMaster+xml"/>
  <Override PartName="/ppt/slideMasters/slideMaster99.xml" ContentType="application/vnd.openxmlformats-officedocument.presentationml.slideMaster+xml"/>
  <Override PartName="/ppt/slideMasters/slideMaster100.xml" ContentType="application/vnd.openxmlformats-officedocument.presentationml.slideMaster+xml"/>
  <Override PartName="/ppt/slideMasters/slideMaster101.xml" ContentType="application/vnd.openxmlformats-officedocument.presentationml.slideMaster+xml"/>
  <Override PartName="/ppt/slideMasters/slideMaster102.xml" ContentType="application/vnd.openxmlformats-officedocument.presentationml.slideMaster+xml"/>
  <Override PartName="/ppt/slideMasters/slideMaster103.xml" ContentType="application/vnd.openxmlformats-officedocument.presentationml.slideMaster+xml"/>
  <Override PartName="/ppt/slideMasters/slideMaster104.xml" ContentType="application/vnd.openxmlformats-officedocument.presentationml.slideMaster+xml"/>
  <Override PartName="/ppt/slideMasters/slideMaster105.xml" ContentType="application/vnd.openxmlformats-officedocument.presentationml.slideMaster+xml"/>
  <Override PartName="/ppt/slideMasters/slideMaster106.xml" ContentType="application/vnd.openxmlformats-officedocument.presentationml.slideMaster+xml"/>
  <Override PartName="/ppt/slideMasters/slideMaster107.xml" ContentType="application/vnd.openxmlformats-officedocument.presentationml.slideMaster+xml"/>
  <Override PartName="/ppt/slideMasters/slideMaster108.xml" ContentType="application/vnd.openxmlformats-officedocument.presentationml.slideMaster+xml"/>
  <Override PartName="/ppt/slideMasters/slideMaster109.xml" ContentType="application/vnd.openxmlformats-officedocument.presentationml.slideMaster+xml"/>
  <Override PartName="/ppt/slideMasters/slideMaster110.xml" ContentType="application/vnd.openxmlformats-officedocument.presentationml.slideMaster+xml"/>
  <Override PartName="/ppt/slideMasters/slideMaster111.xml" ContentType="application/vnd.openxmlformats-officedocument.presentationml.slideMaster+xml"/>
  <Override PartName="/ppt/slideMasters/slideMaster112.xml" ContentType="application/vnd.openxmlformats-officedocument.presentationml.slideMaster+xml"/>
  <Override PartName="/ppt/slideMasters/slideMaster113.xml" ContentType="application/vnd.openxmlformats-officedocument.presentationml.slideMaster+xml"/>
  <Override PartName="/ppt/slideMasters/slideMaster114.xml" ContentType="application/vnd.openxmlformats-officedocument.presentationml.slideMaster+xml"/>
  <Override PartName="/ppt/slideMasters/slideMaster115.xml" ContentType="application/vnd.openxmlformats-officedocument.presentationml.slideMaster+xml"/>
  <Override PartName="/ppt/slideMasters/slideMaster116.xml" ContentType="application/vnd.openxmlformats-officedocument.presentationml.slideMaster+xml"/>
  <Override PartName="/ppt/slideMasters/slideMaster117.xml" ContentType="application/vnd.openxmlformats-officedocument.presentationml.slideMaster+xml"/>
  <Override PartName="/ppt/slideMasters/slideMaster118.xml" ContentType="application/vnd.openxmlformats-officedocument.presentationml.slideMaster+xml"/>
  <Override PartName="/ppt/slideMasters/slideMaster119.xml" ContentType="application/vnd.openxmlformats-officedocument.presentationml.slideMaster+xml"/>
  <Override PartName="/ppt/slideMasters/slideMaster120.xml" ContentType="application/vnd.openxmlformats-officedocument.presentationml.slideMaster+xml"/>
  <Override PartName="/ppt/slideMasters/slideMaster121.xml" ContentType="application/vnd.openxmlformats-officedocument.presentationml.slideMaster+xml"/>
  <Override PartName="/ppt/slideMasters/slideMaster122.xml" ContentType="application/vnd.openxmlformats-officedocument.presentationml.slideMaster+xml"/>
  <Override PartName="/ppt/slideMasters/slideMaster123.xml" ContentType="application/vnd.openxmlformats-officedocument.presentationml.slideMaster+xml"/>
  <Override PartName="/ppt/slideMasters/slideMaster124.xml" ContentType="application/vnd.openxmlformats-officedocument.presentationml.slideMaster+xml"/>
  <Override PartName="/ppt/slideMasters/slideMaster125.xml" ContentType="application/vnd.openxmlformats-officedocument.presentationml.slideMaster+xml"/>
  <Override PartName="/ppt/slideMasters/slideMaster126.xml" ContentType="application/vnd.openxmlformats-officedocument.presentationml.slideMaster+xml"/>
  <Override PartName="/ppt/slideMasters/slideMaster127.xml" ContentType="application/vnd.openxmlformats-officedocument.presentationml.slideMaster+xml"/>
  <Override PartName="/ppt/slideMasters/slideMaster128.xml" ContentType="application/vnd.openxmlformats-officedocument.presentationml.slideMaster+xml"/>
  <Override PartName="/ppt/slideMasters/slideMaster129.xml" ContentType="application/vnd.openxmlformats-officedocument.presentationml.slideMaster+xml"/>
  <Override PartName="/ppt/slideMasters/slideMaster130.xml" ContentType="application/vnd.openxmlformats-officedocument.presentationml.slideMaster+xml"/>
  <Override PartName="/ppt/slideMasters/slideMaster131.xml" ContentType="application/vnd.openxmlformats-officedocument.presentationml.slideMaster+xml"/>
  <Override PartName="/ppt/slideMasters/slideMaster132.xml" ContentType="application/vnd.openxmlformats-officedocument.presentationml.slideMaster+xml"/>
  <Override PartName="/ppt/slideMasters/slideMaster133.xml" ContentType="application/vnd.openxmlformats-officedocument.presentationml.slideMaster+xml"/>
  <Override PartName="/ppt/slideMasters/slideMaster134.xml" ContentType="application/vnd.openxmlformats-officedocument.presentationml.slideMaster+xml"/>
  <Override PartName="/ppt/slideMasters/slideMaster135.xml" ContentType="application/vnd.openxmlformats-officedocument.presentationml.slideMaster+xml"/>
  <Override PartName="/ppt/slideMasters/slideMaster136.xml" ContentType="application/vnd.openxmlformats-officedocument.presentationml.slideMaster+xml"/>
  <Override PartName="/ppt/slideMasters/slideMaster137.xml" ContentType="application/vnd.openxmlformats-officedocument.presentationml.slideMaster+xml"/>
  <Override PartName="/ppt/slideMasters/slideMaster138.xml" ContentType="application/vnd.openxmlformats-officedocument.presentationml.slideMaster+xml"/>
  <Override PartName="/ppt/slideMasters/slideMaster139.xml" ContentType="application/vnd.openxmlformats-officedocument.presentationml.slideMaster+xml"/>
  <Override PartName="/ppt/slideMasters/slideMaster140.xml" ContentType="application/vnd.openxmlformats-officedocument.presentationml.slideMaster+xml"/>
  <Override PartName="/ppt/slideMasters/slideMaster141.xml" ContentType="application/vnd.openxmlformats-officedocument.presentationml.slideMaster+xml"/>
  <Override PartName="/ppt/slideMasters/slideMaster142.xml" ContentType="application/vnd.openxmlformats-officedocument.presentationml.slideMaster+xml"/>
  <Override PartName="/ppt/slideMasters/slideMaster143.xml" ContentType="application/vnd.openxmlformats-officedocument.presentationml.slideMaster+xml"/>
  <Override PartName="/ppt/slideMasters/slideMaster144.xml" ContentType="application/vnd.openxmlformats-officedocument.presentationml.slideMaster+xml"/>
  <Override PartName="/ppt/slideMasters/slideMaster145.xml" ContentType="application/vnd.openxmlformats-officedocument.presentationml.slideMaster+xml"/>
  <Override PartName="/ppt/slideMasters/slideMaster146.xml" ContentType="application/vnd.openxmlformats-officedocument.presentationml.slideMaster+xml"/>
  <Override PartName="/ppt/slideMasters/slideMaster147.xml" ContentType="application/vnd.openxmlformats-officedocument.presentationml.slideMaster+xml"/>
  <Override PartName="/ppt/slideMasters/slideMaster148.xml" ContentType="application/vnd.openxmlformats-officedocument.presentationml.slideMaster+xml"/>
  <Override PartName="/ppt/slideMasters/slideMaster149.xml" ContentType="application/vnd.openxmlformats-officedocument.presentationml.slideMaster+xml"/>
  <Override PartName="/ppt/slideMasters/slideMaster150.xml" ContentType="application/vnd.openxmlformats-officedocument.presentationml.slideMaster+xml"/>
  <Override PartName="/ppt/slideMasters/slideMaster151.xml" ContentType="application/vnd.openxmlformats-officedocument.presentationml.slideMaster+xml"/>
  <Override PartName="/ppt/slideMasters/slideMaster152.xml" ContentType="application/vnd.openxmlformats-officedocument.presentationml.slideMaster+xml"/>
  <Override PartName="/ppt/slideMasters/slideMaster153.xml" ContentType="application/vnd.openxmlformats-officedocument.presentationml.slideMaster+xml"/>
  <Override PartName="/ppt/slideMasters/slideMaster154.xml" ContentType="application/vnd.openxmlformats-officedocument.presentationml.slideMaster+xml"/>
  <Override PartName="/ppt/slideMasters/slideMaster155.xml" ContentType="application/vnd.openxmlformats-officedocument.presentationml.slideMaster+xml"/>
  <Override PartName="/ppt/slideMasters/slideMaster156.xml" ContentType="application/vnd.openxmlformats-officedocument.presentationml.slideMaster+xml"/>
  <Override PartName="/ppt/slideMasters/slideMaster157.xml" ContentType="application/vnd.openxmlformats-officedocument.presentationml.slideMaster+xml"/>
  <Override PartName="/ppt/slideMasters/slideMaster158.xml" ContentType="application/vnd.openxmlformats-officedocument.presentationml.slideMaster+xml"/>
  <Override PartName="/ppt/slideMasters/slideMaster159.xml" ContentType="application/vnd.openxmlformats-officedocument.presentationml.slideMaster+xml"/>
  <Override PartName="/ppt/slideMasters/slideMaster160.xml" ContentType="application/vnd.openxmlformats-officedocument.presentationml.slideMaster+xml"/>
  <Override PartName="/ppt/slideMasters/slideMaster161.xml" ContentType="application/vnd.openxmlformats-officedocument.presentationml.slideMaster+xml"/>
  <Override PartName="/ppt/slideMasters/slideMaster162.xml" ContentType="application/vnd.openxmlformats-officedocument.presentationml.slideMaster+xml"/>
  <Override PartName="/ppt/slideMasters/slideMaster163.xml" ContentType="application/vnd.openxmlformats-officedocument.presentationml.slideMaster+xml"/>
  <Override PartName="/ppt/slideMasters/slideMaster164.xml" ContentType="application/vnd.openxmlformats-officedocument.presentationml.slideMaster+xml"/>
  <Override PartName="/ppt/slideMasters/slideMaster165.xml" ContentType="application/vnd.openxmlformats-officedocument.presentationml.slideMaster+xml"/>
  <Override PartName="/ppt/slideMasters/slideMaster166.xml" ContentType="application/vnd.openxmlformats-officedocument.presentationml.slideMaster+xml"/>
  <Override PartName="/ppt/slideMasters/slideMaster167.xml" ContentType="application/vnd.openxmlformats-officedocument.presentationml.slideMaster+xml"/>
  <Override PartName="/ppt/slideMasters/slideMaster168.xml" ContentType="application/vnd.openxmlformats-officedocument.presentationml.slideMaster+xml"/>
  <Override PartName="/ppt/slideMasters/slideMaster169.xml" ContentType="application/vnd.openxmlformats-officedocument.presentationml.slideMaster+xml"/>
  <Override PartName="/ppt/slideMasters/slideMaster170.xml" ContentType="application/vnd.openxmlformats-officedocument.presentationml.slideMaster+xml"/>
  <Override PartName="/ppt/slideMasters/slideMaster171.xml" ContentType="application/vnd.openxmlformats-officedocument.presentationml.slideMaster+xml"/>
  <Override PartName="/ppt/slideMasters/slideMaster172.xml" ContentType="application/vnd.openxmlformats-officedocument.presentationml.slideMaster+xml"/>
  <Override PartName="/ppt/slideMasters/slideMaster173.xml" ContentType="application/vnd.openxmlformats-officedocument.presentationml.slideMaster+xml"/>
  <Override PartName="/ppt/slideMasters/slideMaster174.xml" ContentType="application/vnd.openxmlformats-officedocument.presentationml.slideMaster+xml"/>
  <Override PartName="/ppt/slideMasters/slideMaster175.xml" ContentType="application/vnd.openxmlformats-officedocument.presentationml.slideMaster+xml"/>
  <Override PartName="/ppt/slideMasters/slideMaster176.xml" ContentType="application/vnd.openxmlformats-officedocument.presentationml.slideMaster+xml"/>
  <Override PartName="/ppt/slideMasters/slideMaster177.xml" ContentType="application/vnd.openxmlformats-officedocument.presentationml.slideMaster+xml"/>
  <Override PartName="/ppt/slideMasters/slideMaster178.xml" ContentType="application/vnd.openxmlformats-officedocument.presentationml.slideMaster+xml"/>
  <Override PartName="/ppt/slideMasters/slideMaster179.xml" ContentType="application/vnd.openxmlformats-officedocument.presentationml.slideMaster+xml"/>
  <Override PartName="/ppt/slideMasters/slideMaster180.xml" ContentType="application/vnd.openxmlformats-officedocument.presentationml.slideMaster+xml"/>
  <Override PartName="/ppt/slideMasters/slideMaster181.xml" ContentType="application/vnd.openxmlformats-officedocument.presentationml.slideMaster+xml"/>
  <Override PartName="/ppt/slideMasters/slideMaster182.xml" ContentType="application/vnd.openxmlformats-officedocument.presentationml.slideMaster+xml"/>
  <Override PartName="/ppt/slideMasters/slideMaster183.xml" ContentType="application/vnd.openxmlformats-officedocument.presentationml.slideMaster+xml"/>
  <Override PartName="/ppt/slideMasters/slideMaster184.xml" ContentType="application/vnd.openxmlformats-officedocument.presentationml.slideMaster+xml"/>
  <Override PartName="/ppt/slideMasters/slideMaster185.xml" ContentType="application/vnd.openxmlformats-officedocument.presentationml.slideMaster+xml"/>
  <Override PartName="/ppt/slideMasters/slideMaster186.xml" ContentType="application/vnd.openxmlformats-officedocument.presentationml.slideMaster+xml"/>
  <Override PartName="/ppt/slideMasters/slideMaster187.xml" ContentType="application/vnd.openxmlformats-officedocument.presentationml.slideMaster+xml"/>
  <Override PartName="/ppt/slideMasters/slideMaster188.xml" ContentType="application/vnd.openxmlformats-officedocument.presentationml.slideMaster+xml"/>
  <Override PartName="/ppt/slideMasters/slideMaster189.xml" ContentType="application/vnd.openxmlformats-officedocument.presentationml.slideMaster+xml"/>
  <Override PartName="/ppt/slideMasters/slideMaster190.xml" ContentType="application/vnd.openxmlformats-officedocument.presentationml.slideMaster+xml"/>
  <Override PartName="/ppt/slideMasters/slideMaster191.xml" ContentType="application/vnd.openxmlformats-officedocument.presentationml.slideMaster+xml"/>
  <Override PartName="/ppt/slideMasters/slideMaster192.xml" ContentType="application/vnd.openxmlformats-officedocument.presentationml.slideMaster+xml"/>
  <Override PartName="/ppt/slideMasters/slideMaster193.xml" ContentType="application/vnd.openxmlformats-officedocument.presentationml.slideMaster+xml"/>
  <Override PartName="/ppt/slideMasters/slideMaster194.xml" ContentType="application/vnd.openxmlformats-officedocument.presentationml.slideMaster+xml"/>
  <Override PartName="/ppt/slideMasters/slideMaster195.xml" ContentType="application/vnd.openxmlformats-officedocument.presentationml.slideMaster+xml"/>
  <Override PartName="/ppt/slideMasters/slideMaster196.xml" ContentType="application/vnd.openxmlformats-officedocument.presentationml.slideMaster+xml"/>
  <Override PartName="/ppt/slideMasters/slideMaster197.xml" ContentType="application/vnd.openxmlformats-officedocument.presentationml.slideMaster+xml"/>
  <Override PartName="/ppt/slideMasters/slideMaster198.xml" ContentType="application/vnd.openxmlformats-officedocument.presentationml.slideMaster+xml"/>
  <Override PartName="/ppt/slideMasters/slideMaster199.xml" ContentType="application/vnd.openxmlformats-officedocument.presentationml.slideMaster+xml"/>
  <Override PartName="/ppt/slideMasters/slideMaster200.xml" ContentType="application/vnd.openxmlformats-officedocument.presentationml.slideMaster+xml"/>
  <Override PartName="/ppt/slideMasters/slideMaster201.xml" ContentType="application/vnd.openxmlformats-officedocument.presentationml.slideMaster+xml"/>
  <Override PartName="/ppt/slideMasters/slideMaster202.xml" ContentType="application/vnd.openxmlformats-officedocument.presentationml.slideMaster+xml"/>
  <Override PartName="/ppt/slideMasters/slideMaster203.xml" ContentType="application/vnd.openxmlformats-officedocument.presentationml.slideMaster+xml"/>
  <Override PartName="/ppt/slideMasters/slideMaster204.xml" ContentType="application/vnd.openxmlformats-officedocument.presentationml.slideMaster+xml"/>
  <Override PartName="/ppt/slideMasters/slideMaster205.xml" ContentType="application/vnd.openxmlformats-officedocument.presentationml.slideMaster+xml"/>
  <Override PartName="/ppt/slideMasters/slideMaster206.xml" ContentType="application/vnd.openxmlformats-officedocument.presentationml.slideMaster+xml"/>
  <Override PartName="/ppt/slideMasters/slideMaster207.xml" ContentType="application/vnd.openxmlformats-officedocument.presentationml.slideMaster+xml"/>
  <Override PartName="/ppt/slideMasters/slideMaster208.xml" ContentType="application/vnd.openxmlformats-officedocument.presentationml.slideMaster+xml"/>
  <Override PartName="/ppt/slideMasters/slideMaster209.xml" ContentType="application/vnd.openxmlformats-officedocument.presentationml.slideMaster+xml"/>
  <Override PartName="/ppt/slideMasters/slideMaster210.xml" ContentType="application/vnd.openxmlformats-officedocument.presentationml.slideMaster+xml"/>
  <Override PartName="/ppt/slideMasters/slideMaster211.xml" ContentType="application/vnd.openxmlformats-officedocument.presentationml.slideMaster+xml"/>
  <Override PartName="/ppt/slideMasters/slideMaster212.xml" ContentType="application/vnd.openxmlformats-officedocument.presentationml.slideMaster+xml"/>
  <Override PartName="/ppt/slideMasters/slideMaster213.xml" ContentType="application/vnd.openxmlformats-officedocument.presentationml.slideMaster+xml"/>
  <Override PartName="/ppt/slideMasters/slideMaster214.xml" ContentType="application/vnd.openxmlformats-officedocument.presentationml.slideMaster+xml"/>
  <Override PartName="/ppt/slideMasters/slideMaster215.xml" ContentType="application/vnd.openxmlformats-officedocument.presentationml.slideMaster+xml"/>
  <Override PartName="/ppt/slideMasters/slideMaster216.xml" ContentType="application/vnd.openxmlformats-officedocument.presentationml.slideMaster+xml"/>
  <Override PartName="/ppt/slideMasters/slideMaster217.xml" ContentType="application/vnd.openxmlformats-officedocument.presentationml.slideMaster+xml"/>
  <Override PartName="/ppt/slideMasters/slideMaster218.xml" ContentType="application/vnd.openxmlformats-officedocument.presentationml.slideMaster+xml"/>
  <Override PartName="/ppt/slideMasters/slideMaster219.xml" ContentType="application/vnd.openxmlformats-officedocument.presentationml.slideMaster+xml"/>
  <Override PartName="/ppt/slideMasters/slideMaster220.xml" ContentType="application/vnd.openxmlformats-officedocument.presentationml.slideMaster+xml"/>
  <Override PartName="/ppt/slideMasters/slideMaster221.xml" ContentType="application/vnd.openxmlformats-officedocument.presentationml.slideMaster+xml"/>
  <Override PartName="/ppt/slideMasters/slideMaster222.xml" ContentType="application/vnd.openxmlformats-officedocument.presentationml.slideMaster+xml"/>
  <Override PartName="/ppt/slideMasters/slideMaster223.xml" ContentType="application/vnd.openxmlformats-officedocument.presentationml.slideMaster+xml"/>
  <Override PartName="/ppt/slideMasters/slideMaster224.xml" ContentType="application/vnd.openxmlformats-officedocument.presentationml.slideMaster+xml"/>
  <Override PartName="/ppt/slideMasters/slideMaster225.xml" ContentType="application/vnd.openxmlformats-officedocument.presentationml.slideMaster+xml"/>
  <Override PartName="/ppt/slideMasters/slideMaster226.xml" ContentType="application/vnd.openxmlformats-officedocument.presentationml.slideMaster+xml"/>
  <Override PartName="/ppt/slideMasters/slideMaster227.xml" ContentType="application/vnd.openxmlformats-officedocument.presentationml.slideMaster+xml"/>
  <Override PartName="/ppt/slideMasters/slideMaster228.xml" ContentType="application/vnd.openxmlformats-officedocument.presentationml.slideMaster+xml"/>
  <Override PartName="/ppt/slideMasters/slideMaster229.xml" ContentType="application/vnd.openxmlformats-officedocument.presentationml.slideMaster+xml"/>
  <Override PartName="/ppt/slideMasters/slideMaster230.xml" ContentType="application/vnd.openxmlformats-officedocument.presentationml.slideMaster+xml"/>
  <Override PartName="/ppt/slideMasters/slideMaster231.xml" ContentType="application/vnd.openxmlformats-officedocument.presentationml.slideMaster+xml"/>
  <Override PartName="/ppt/slideMasters/slideMaster232.xml" ContentType="application/vnd.openxmlformats-officedocument.presentationml.slideMaster+xml"/>
  <Override PartName="/ppt/slideMasters/slideMaster233.xml" ContentType="application/vnd.openxmlformats-officedocument.presentationml.slideMaster+xml"/>
  <Override PartName="/ppt/slideMasters/slideMaster234.xml" ContentType="application/vnd.openxmlformats-officedocument.presentationml.slideMaster+xml"/>
  <Override PartName="/ppt/slideMasters/slideMaster235.xml" ContentType="application/vnd.openxmlformats-officedocument.presentationml.slideMaster+xml"/>
  <Override PartName="/ppt/slideMasters/slideMaster236.xml" ContentType="application/vnd.openxmlformats-officedocument.presentationml.slideMaster+xml"/>
  <Override PartName="/ppt/slideMasters/slideMaster237.xml" ContentType="application/vnd.openxmlformats-officedocument.presentationml.slideMaster+xml"/>
  <Override PartName="/ppt/slideMasters/slideMaster238.xml" ContentType="application/vnd.openxmlformats-officedocument.presentationml.slideMaster+xml"/>
  <Override PartName="/ppt/slideMasters/slideMaster239.xml" ContentType="application/vnd.openxmlformats-officedocument.presentationml.slideMaster+xml"/>
  <Override PartName="/ppt/slideMasters/slideMaster240.xml" ContentType="application/vnd.openxmlformats-officedocument.presentationml.slideMaster+xml"/>
  <Override PartName="/ppt/slideMasters/slideMaster241.xml" ContentType="application/vnd.openxmlformats-officedocument.presentationml.slideMaster+xml"/>
  <Override PartName="/ppt/slideMasters/slideMaster242.xml" ContentType="application/vnd.openxmlformats-officedocument.presentationml.slideMaster+xml"/>
  <Override PartName="/ppt/slideMasters/slideMaster243.xml" ContentType="application/vnd.openxmlformats-officedocument.presentationml.slideMaster+xml"/>
  <Override PartName="/ppt/slideMasters/slideMaster244.xml" ContentType="application/vnd.openxmlformats-officedocument.presentationml.slideMaster+xml"/>
  <Override PartName="/ppt/slideMasters/slideMaster24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heme/theme3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heme/theme4.xml" ContentType="application/vnd.openxmlformats-officedocument.them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heme/theme5.xml" ContentType="application/vnd.openxmlformats-officedocument.theme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theme/theme6.xml" ContentType="application/vnd.openxmlformats-officedocument.them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7.xml" ContentType="application/vnd.openxmlformats-officedocument.theme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theme/theme8.xml" ContentType="application/vnd.openxmlformats-officedocument.theme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theme/theme9.xml" ContentType="application/vnd.openxmlformats-officedocument.theme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theme/theme10.xml" ContentType="application/vnd.openxmlformats-officedocument.theme+xml"/>
  <Override PartName="/ppt/tags/tag31.xml" ContentType="application/vnd.openxmlformats-officedocument.presentationml.tags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theme/theme11.xml" ContentType="application/vnd.openxmlformats-officedocument.theme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theme/theme12.xml" ContentType="application/vnd.openxmlformats-officedocument.theme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theme/theme13.xml" ContentType="application/vnd.openxmlformats-officedocument.theme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theme/theme14.xml" ContentType="application/vnd.openxmlformats-officedocument.theme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theme/theme15.xml" ContentType="application/vnd.openxmlformats-officedocument.theme+xml"/>
  <Override PartName="/ppt/tags/tag32.xml" ContentType="application/vnd.openxmlformats-officedocument.presentationml.tags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theme/theme16.xml" ContentType="application/vnd.openxmlformats-officedocument.theme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theme/theme17.xml" ContentType="application/vnd.openxmlformats-officedocument.theme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theme/theme18.xml" ContentType="application/vnd.openxmlformats-officedocument.theme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theme/theme19.xml" ContentType="application/vnd.openxmlformats-officedocument.theme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theme/theme20.xml" ContentType="application/vnd.openxmlformats-officedocument.theme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theme/theme21.xml" ContentType="application/vnd.openxmlformats-officedocument.theme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theme/theme22.xml" ContentType="application/vnd.openxmlformats-officedocument.theme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theme/theme23.xml" ContentType="application/vnd.openxmlformats-officedocument.theme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theme/theme24.xml" ContentType="application/vnd.openxmlformats-officedocument.theme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theme/theme25.xml" ContentType="application/vnd.openxmlformats-officedocument.theme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theme/theme26.xml" ContentType="application/vnd.openxmlformats-officedocument.theme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theme/theme27.xml" ContentType="application/vnd.openxmlformats-officedocument.theme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theme/theme28.xml" ContentType="application/vnd.openxmlformats-officedocument.theme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theme/theme29.xml" ContentType="application/vnd.openxmlformats-officedocument.theme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theme/theme30.xml" ContentType="application/vnd.openxmlformats-officedocument.theme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theme/theme31.xml" ContentType="application/vnd.openxmlformats-officedocument.theme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slideLayouts/slideLayout209.xml" ContentType="application/vnd.openxmlformats-officedocument.presentationml.slideLayout+xml"/>
  <Override PartName="/ppt/theme/theme32.xml" ContentType="application/vnd.openxmlformats-officedocument.theme+xml"/>
  <Override PartName="/ppt/slideLayouts/slideLayout210.xml" ContentType="application/vnd.openxmlformats-officedocument.presentationml.slideLayout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slideLayouts/slideLayout214.xml" ContentType="application/vnd.openxmlformats-officedocument.presentationml.slideLayout+xml"/>
  <Override PartName="/ppt/slideLayouts/slideLayout21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slideLayouts/slideLayout217.xml" ContentType="application/vnd.openxmlformats-officedocument.presentationml.slideLayout+xml"/>
  <Override PartName="/ppt/theme/theme33.xml" ContentType="application/vnd.openxmlformats-officedocument.theme+xml"/>
  <Override PartName="/ppt/slideLayouts/slideLayout218.xml" ContentType="application/vnd.openxmlformats-officedocument.presentationml.slideLayout+xml"/>
  <Override PartName="/ppt/slideLayouts/slideLayout219.xml" ContentType="application/vnd.openxmlformats-officedocument.presentationml.slideLayout+xml"/>
  <Override PartName="/ppt/slideLayouts/slideLayout220.xml" ContentType="application/vnd.openxmlformats-officedocument.presentationml.slideLayout+xml"/>
  <Override PartName="/ppt/slideLayouts/slideLayout221.xml" ContentType="application/vnd.openxmlformats-officedocument.presentationml.slideLayout+xml"/>
  <Override PartName="/ppt/slideLayouts/slideLayout222.xml" ContentType="application/vnd.openxmlformats-officedocument.presentationml.slideLayout+xml"/>
  <Override PartName="/ppt/slideLayouts/slideLayout223.xml" ContentType="application/vnd.openxmlformats-officedocument.presentationml.slideLayout+xml"/>
  <Override PartName="/ppt/slideLayouts/slideLayout224.xml" ContentType="application/vnd.openxmlformats-officedocument.presentationml.slideLayout+xml"/>
  <Override PartName="/ppt/slideLayouts/slideLayout225.xml" ContentType="application/vnd.openxmlformats-officedocument.presentationml.slideLayout+xml"/>
  <Override PartName="/ppt/theme/theme34.xml" ContentType="application/vnd.openxmlformats-officedocument.theme+xml"/>
  <Override PartName="/ppt/slideLayouts/slideLayout226.xml" ContentType="application/vnd.openxmlformats-officedocument.presentationml.slideLayout+xml"/>
  <Override PartName="/ppt/slideLayouts/slideLayout227.xml" ContentType="application/vnd.openxmlformats-officedocument.presentationml.slideLayout+xml"/>
  <Override PartName="/ppt/slideLayouts/slideLayout228.xml" ContentType="application/vnd.openxmlformats-officedocument.presentationml.slideLayout+xml"/>
  <Override PartName="/ppt/slideLayouts/slideLayout229.xml" ContentType="application/vnd.openxmlformats-officedocument.presentationml.slideLayout+xml"/>
  <Override PartName="/ppt/theme/theme35.xml" ContentType="application/vnd.openxmlformats-officedocument.theme+xml"/>
  <Override PartName="/ppt/slideLayouts/slideLayout230.xml" ContentType="application/vnd.openxmlformats-officedocument.presentationml.slideLayout+xml"/>
  <Override PartName="/ppt/slideLayouts/slideLayout231.xml" ContentType="application/vnd.openxmlformats-officedocument.presentationml.slideLayout+xml"/>
  <Override PartName="/ppt/slideLayouts/slideLayout232.xml" ContentType="application/vnd.openxmlformats-officedocument.presentationml.slideLayout+xml"/>
  <Override PartName="/ppt/slideLayouts/slideLayout233.xml" ContentType="application/vnd.openxmlformats-officedocument.presentationml.slideLayout+xml"/>
  <Override PartName="/ppt/slideLayouts/slideLayout234.xml" ContentType="application/vnd.openxmlformats-officedocument.presentationml.slideLayout+xml"/>
  <Override PartName="/ppt/slideLayouts/slideLayout235.xml" ContentType="application/vnd.openxmlformats-officedocument.presentationml.slideLayout+xml"/>
  <Override PartName="/ppt/slideLayouts/slideLayout236.xml" ContentType="application/vnd.openxmlformats-officedocument.presentationml.slideLayout+xml"/>
  <Override PartName="/ppt/slideLayouts/slideLayout237.xml" ContentType="application/vnd.openxmlformats-officedocument.presentationml.slideLayout+xml"/>
  <Override PartName="/ppt/theme/theme36.xml" ContentType="application/vnd.openxmlformats-officedocument.theme+xml"/>
  <Override PartName="/ppt/slideLayouts/slideLayout238.xml" ContentType="application/vnd.openxmlformats-officedocument.presentationml.slideLayout+xml"/>
  <Override PartName="/ppt/slideLayouts/slideLayout239.xml" ContentType="application/vnd.openxmlformats-officedocument.presentationml.slideLayout+xml"/>
  <Override PartName="/ppt/slideLayouts/slideLayout240.xml" ContentType="application/vnd.openxmlformats-officedocument.presentationml.slideLayout+xml"/>
  <Override PartName="/ppt/slideLayouts/slideLayout241.xml" ContentType="application/vnd.openxmlformats-officedocument.presentationml.slideLayout+xml"/>
  <Override PartName="/ppt/theme/theme37.xml" ContentType="application/vnd.openxmlformats-officedocument.theme+xml"/>
  <Override PartName="/ppt/slideLayouts/slideLayout242.xml" ContentType="application/vnd.openxmlformats-officedocument.presentationml.slideLayout+xml"/>
  <Override PartName="/ppt/slideLayouts/slideLayout243.xml" ContentType="application/vnd.openxmlformats-officedocument.presentationml.slideLayout+xml"/>
  <Override PartName="/ppt/slideLayouts/slideLayout244.xml" ContentType="application/vnd.openxmlformats-officedocument.presentationml.slideLayout+xml"/>
  <Override PartName="/ppt/slideLayouts/slideLayout245.xml" ContentType="application/vnd.openxmlformats-officedocument.presentationml.slideLayout+xml"/>
  <Override PartName="/ppt/theme/theme38.xml" ContentType="application/vnd.openxmlformats-officedocument.theme+xml"/>
  <Override PartName="/ppt/slideLayouts/slideLayout246.xml" ContentType="application/vnd.openxmlformats-officedocument.presentationml.slideLayout+xml"/>
  <Override PartName="/ppt/slideLayouts/slideLayout247.xml" ContentType="application/vnd.openxmlformats-officedocument.presentationml.slideLayout+xml"/>
  <Override PartName="/ppt/slideLayouts/slideLayout248.xml" ContentType="application/vnd.openxmlformats-officedocument.presentationml.slideLayout+xml"/>
  <Override PartName="/ppt/slideLayouts/slideLayout249.xml" ContentType="application/vnd.openxmlformats-officedocument.presentationml.slideLayout+xml"/>
  <Override PartName="/ppt/slideLayouts/slideLayout250.xml" ContentType="application/vnd.openxmlformats-officedocument.presentationml.slideLayout+xml"/>
  <Override PartName="/ppt/slideLayouts/slideLayout251.xml" ContentType="application/vnd.openxmlformats-officedocument.presentationml.slideLayout+xml"/>
  <Override PartName="/ppt/slideLayouts/slideLayout252.xml" ContentType="application/vnd.openxmlformats-officedocument.presentationml.slideLayout+xml"/>
  <Override PartName="/ppt/slideLayouts/slideLayout253.xml" ContentType="application/vnd.openxmlformats-officedocument.presentationml.slideLayout+xml"/>
  <Override PartName="/ppt/slideLayouts/slideLayout254.xml" ContentType="application/vnd.openxmlformats-officedocument.presentationml.slideLayout+xml"/>
  <Override PartName="/ppt/slideLayouts/slideLayout255.xml" ContentType="application/vnd.openxmlformats-officedocument.presentationml.slideLayout+xml"/>
  <Override PartName="/ppt/slideLayouts/slideLayout256.xml" ContentType="application/vnd.openxmlformats-officedocument.presentationml.slideLayout+xml"/>
  <Override PartName="/ppt/theme/theme39.xml" ContentType="application/vnd.openxmlformats-officedocument.theme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slideLayouts/slideLayout257.xml" ContentType="application/vnd.openxmlformats-officedocument.presentationml.slideLayout+xml"/>
  <Override PartName="/ppt/slideLayouts/slideLayout258.xml" ContentType="application/vnd.openxmlformats-officedocument.presentationml.slideLayout+xml"/>
  <Override PartName="/ppt/slideLayouts/slideLayout259.xml" ContentType="application/vnd.openxmlformats-officedocument.presentationml.slideLayout+xml"/>
  <Override PartName="/ppt/slideLayouts/slideLayout260.xml" ContentType="application/vnd.openxmlformats-officedocument.presentationml.slideLayout+xml"/>
  <Override PartName="/ppt/theme/theme40.xml" ContentType="application/vnd.openxmlformats-officedocument.theme+xml"/>
  <Override PartName="/ppt/slideLayouts/slideLayout261.xml" ContentType="application/vnd.openxmlformats-officedocument.presentationml.slideLayout+xml"/>
  <Override PartName="/ppt/slideLayouts/slideLayout262.xml" ContentType="application/vnd.openxmlformats-officedocument.presentationml.slideLayout+xml"/>
  <Override PartName="/ppt/slideLayouts/slideLayout263.xml" ContentType="application/vnd.openxmlformats-officedocument.presentationml.slideLayout+xml"/>
  <Override PartName="/ppt/slideLayouts/slideLayout264.xml" ContentType="application/vnd.openxmlformats-officedocument.presentationml.slideLayout+xml"/>
  <Override PartName="/ppt/slideLayouts/slideLayout265.xml" ContentType="application/vnd.openxmlformats-officedocument.presentationml.slideLayout+xml"/>
  <Override PartName="/ppt/slideLayouts/slideLayout266.xml" ContentType="application/vnd.openxmlformats-officedocument.presentationml.slideLayout+xml"/>
  <Override PartName="/ppt/slideLayouts/slideLayout267.xml" ContentType="application/vnd.openxmlformats-officedocument.presentationml.slideLayout+xml"/>
  <Override PartName="/ppt/slideLayouts/slideLayout268.xml" ContentType="application/vnd.openxmlformats-officedocument.presentationml.slideLayout+xml"/>
  <Override PartName="/ppt/theme/theme41.xml" ContentType="application/vnd.openxmlformats-officedocument.theme+xml"/>
  <Override PartName="/ppt/slideLayouts/slideLayout269.xml" ContentType="application/vnd.openxmlformats-officedocument.presentationml.slideLayout+xml"/>
  <Override PartName="/ppt/slideLayouts/slideLayout270.xml" ContentType="application/vnd.openxmlformats-officedocument.presentationml.slideLayout+xml"/>
  <Override PartName="/ppt/slideLayouts/slideLayout271.xml" ContentType="application/vnd.openxmlformats-officedocument.presentationml.slideLayout+xml"/>
  <Override PartName="/ppt/slideLayouts/slideLayout272.xml" ContentType="application/vnd.openxmlformats-officedocument.presentationml.slideLayout+xml"/>
  <Override PartName="/ppt/theme/theme42.xml" ContentType="application/vnd.openxmlformats-officedocument.theme+xml"/>
  <Override PartName="/ppt/slideLayouts/slideLayout273.xml" ContentType="application/vnd.openxmlformats-officedocument.presentationml.slideLayout+xml"/>
  <Override PartName="/ppt/slideLayouts/slideLayout274.xml" ContentType="application/vnd.openxmlformats-officedocument.presentationml.slideLayout+xml"/>
  <Override PartName="/ppt/slideLayouts/slideLayout275.xml" ContentType="application/vnd.openxmlformats-officedocument.presentationml.slideLayout+xml"/>
  <Override PartName="/ppt/slideLayouts/slideLayout276.xml" ContentType="application/vnd.openxmlformats-officedocument.presentationml.slideLayout+xml"/>
  <Override PartName="/ppt/slideLayouts/slideLayout277.xml" ContentType="application/vnd.openxmlformats-officedocument.presentationml.slideLayout+xml"/>
  <Override PartName="/ppt/slideLayouts/slideLayout278.xml" ContentType="application/vnd.openxmlformats-officedocument.presentationml.slideLayout+xml"/>
  <Override PartName="/ppt/slideLayouts/slideLayout279.xml" ContentType="application/vnd.openxmlformats-officedocument.presentationml.slideLayout+xml"/>
  <Override PartName="/ppt/slideLayouts/slideLayout280.xml" ContentType="application/vnd.openxmlformats-officedocument.presentationml.slideLayout+xml"/>
  <Override PartName="/ppt/slideLayouts/slideLayout281.xml" ContentType="application/vnd.openxmlformats-officedocument.presentationml.slideLayout+xml"/>
  <Override PartName="/ppt/slideLayouts/slideLayout282.xml" ContentType="application/vnd.openxmlformats-officedocument.presentationml.slideLayout+xml"/>
  <Override PartName="/ppt/slideLayouts/slideLayout283.xml" ContentType="application/vnd.openxmlformats-officedocument.presentationml.slideLayout+xml"/>
  <Override PartName="/ppt/theme/theme43.xml" ContentType="application/vnd.openxmlformats-officedocument.theme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slideLayouts/slideLayout284.xml" ContentType="application/vnd.openxmlformats-officedocument.presentationml.slideLayout+xml"/>
  <Override PartName="/ppt/slideLayouts/slideLayout285.xml" ContentType="application/vnd.openxmlformats-officedocument.presentationml.slideLayout+xml"/>
  <Override PartName="/ppt/slideLayouts/slideLayout286.xml" ContentType="application/vnd.openxmlformats-officedocument.presentationml.slideLayout+xml"/>
  <Override PartName="/ppt/slideLayouts/slideLayout287.xml" ContentType="application/vnd.openxmlformats-officedocument.presentationml.slideLayout+xml"/>
  <Override PartName="/ppt/theme/theme44.xml" ContentType="application/vnd.openxmlformats-officedocument.theme+xml"/>
  <Override PartName="/ppt/slideLayouts/slideLayout288.xml" ContentType="application/vnd.openxmlformats-officedocument.presentationml.slideLayout+xml"/>
  <Override PartName="/ppt/slideLayouts/slideLayout289.xml" ContentType="application/vnd.openxmlformats-officedocument.presentationml.slideLayout+xml"/>
  <Override PartName="/ppt/slideLayouts/slideLayout290.xml" ContentType="application/vnd.openxmlformats-officedocument.presentationml.slideLayout+xml"/>
  <Override PartName="/ppt/slideLayouts/slideLayout291.xml" ContentType="application/vnd.openxmlformats-officedocument.presentationml.slideLayout+xml"/>
  <Override PartName="/ppt/theme/theme45.xml" ContentType="application/vnd.openxmlformats-officedocument.theme+xml"/>
  <Override PartName="/ppt/slideLayouts/slideLayout292.xml" ContentType="application/vnd.openxmlformats-officedocument.presentationml.slideLayout+xml"/>
  <Override PartName="/ppt/slideLayouts/slideLayout293.xml" ContentType="application/vnd.openxmlformats-officedocument.presentationml.slideLayout+xml"/>
  <Override PartName="/ppt/slideLayouts/slideLayout294.xml" ContentType="application/vnd.openxmlformats-officedocument.presentationml.slideLayout+xml"/>
  <Override PartName="/ppt/slideLayouts/slideLayout295.xml" ContentType="application/vnd.openxmlformats-officedocument.presentationml.slideLayout+xml"/>
  <Override PartName="/ppt/slideLayouts/slideLayout296.xml" ContentType="application/vnd.openxmlformats-officedocument.presentationml.slideLayout+xml"/>
  <Override PartName="/ppt/slideLayouts/slideLayout297.xml" ContentType="application/vnd.openxmlformats-officedocument.presentationml.slideLayout+xml"/>
  <Override PartName="/ppt/slideLayouts/slideLayout298.xml" ContentType="application/vnd.openxmlformats-officedocument.presentationml.slideLayout+xml"/>
  <Override PartName="/ppt/slideLayouts/slideLayout299.xml" ContentType="application/vnd.openxmlformats-officedocument.presentationml.slideLayout+xml"/>
  <Override PartName="/ppt/slideLayouts/slideLayout300.xml" ContentType="application/vnd.openxmlformats-officedocument.presentationml.slideLayout+xml"/>
  <Override PartName="/ppt/slideLayouts/slideLayout301.xml" ContentType="application/vnd.openxmlformats-officedocument.presentationml.slideLayout+xml"/>
  <Override PartName="/ppt/slideLayouts/slideLayout302.xml" ContentType="application/vnd.openxmlformats-officedocument.presentationml.slideLayout+xml"/>
  <Override PartName="/ppt/slideLayouts/slideLayout303.xml" ContentType="application/vnd.openxmlformats-officedocument.presentationml.slideLayout+xml"/>
  <Override PartName="/ppt/theme/theme46.xml" ContentType="application/vnd.openxmlformats-officedocument.theme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slideLayouts/slideLayout304.xml" ContentType="application/vnd.openxmlformats-officedocument.presentationml.slideLayout+xml"/>
  <Override PartName="/ppt/slideLayouts/slideLayout305.xml" ContentType="application/vnd.openxmlformats-officedocument.presentationml.slideLayout+xml"/>
  <Override PartName="/ppt/slideLayouts/slideLayout306.xml" ContentType="application/vnd.openxmlformats-officedocument.presentationml.slideLayout+xml"/>
  <Override PartName="/ppt/slideLayouts/slideLayout307.xml" ContentType="application/vnd.openxmlformats-officedocument.presentationml.slideLayout+xml"/>
  <Override PartName="/ppt/slideLayouts/slideLayout308.xml" ContentType="application/vnd.openxmlformats-officedocument.presentationml.slideLayout+xml"/>
  <Override PartName="/ppt/slideLayouts/slideLayout309.xml" ContentType="application/vnd.openxmlformats-officedocument.presentationml.slideLayout+xml"/>
  <Override PartName="/ppt/slideLayouts/slideLayout310.xml" ContentType="application/vnd.openxmlformats-officedocument.presentationml.slideLayout+xml"/>
  <Override PartName="/ppt/slideLayouts/slideLayout311.xml" ContentType="application/vnd.openxmlformats-officedocument.presentationml.slideLayout+xml"/>
  <Override PartName="/ppt/slideLayouts/slideLayout312.xml" ContentType="application/vnd.openxmlformats-officedocument.presentationml.slideLayout+xml"/>
  <Override PartName="/ppt/slideLayouts/slideLayout313.xml" ContentType="application/vnd.openxmlformats-officedocument.presentationml.slideLayout+xml"/>
  <Override PartName="/ppt/slideLayouts/slideLayout314.xml" ContentType="application/vnd.openxmlformats-officedocument.presentationml.slideLayout+xml"/>
  <Override PartName="/ppt/slideLayouts/slideLayout315.xml" ContentType="application/vnd.openxmlformats-officedocument.presentationml.slideLayout+xml"/>
  <Override PartName="/ppt/theme/theme47.xml" ContentType="application/vnd.openxmlformats-officedocument.theme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slideLayouts/slideLayout316.xml" ContentType="application/vnd.openxmlformats-officedocument.presentationml.slideLayout+xml"/>
  <Override PartName="/ppt/slideLayouts/slideLayout317.xml" ContentType="application/vnd.openxmlformats-officedocument.presentationml.slideLayout+xml"/>
  <Override PartName="/ppt/slideLayouts/slideLayout318.xml" ContentType="application/vnd.openxmlformats-officedocument.presentationml.slideLayout+xml"/>
  <Override PartName="/ppt/slideLayouts/slideLayout319.xml" ContentType="application/vnd.openxmlformats-officedocument.presentationml.slideLayout+xml"/>
  <Override PartName="/ppt/slideLayouts/slideLayout320.xml" ContentType="application/vnd.openxmlformats-officedocument.presentationml.slideLayout+xml"/>
  <Override PartName="/ppt/slideLayouts/slideLayout321.xml" ContentType="application/vnd.openxmlformats-officedocument.presentationml.slideLayout+xml"/>
  <Override PartName="/ppt/slideLayouts/slideLayout322.xml" ContentType="application/vnd.openxmlformats-officedocument.presentationml.slideLayout+xml"/>
  <Override PartName="/ppt/slideLayouts/slideLayout323.xml" ContentType="application/vnd.openxmlformats-officedocument.presentationml.slideLayout+xml"/>
  <Override PartName="/ppt/theme/theme48.xml" ContentType="application/vnd.openxmlformats-officedocument.theme+xml"/>
  <Override PartName="/ppt/slideLayouts/slideLayout324.xml" ContentType="application/vnd.openxmlformats-officedocument.presentationml.slideLayout+xml"/>
  <Override PartName="/ppt/slideLayouts/slideLayout325.xml" ContentType="application/vnd.openxmlformats-officedocument.presentationml.slideLayout+xml"/>
  <Override PartName="/ppt/slideLayouts/slideLayout326.xml" ContentType="application/vnd.openxmlformats-officedocument.presentationml.slideLayout+xml"/>
  <Override PartName="/ppt/slideLayouts/slideLayout327.xml" ContentType="application/vnd.openxmlformats-officedocument.presentationml.slideLayout+xml"/>
  <Override PartName="/ppt/theme/theme49.xml" ContentType="application/vnd.openxmlformats-officedocument.theme+xml"/>
  <Override PartName="/ppt/slideLayouts/slideLayout328.xml" ContentType="application/vnd.openxmlformats-officedocument.presentationml.slideLayout+xml"/>
  <Override PartName="/ppt/slideLayouts/slideLayout329.xml" ContentType="application/vnd.openxmlformats-officedocument.presentationml.slideLayout+xml"/>
  <Override PartName="/ppt/slideLayouts/slideLayout330.xml" ContentType="application/vnd.openxmlformats-officedocument.presentationml.slideLayout+xml"/>
  <Override PartName="/ppt/slideLayouts/slideLayout331.xml" ContentType="application/vnd.openxmlformats-officedocument.presentationml.slideLayout+xml"/>
  <Override PartName="/ppt/theme/theme50.xml" ContentType="application/vnd.openxmlformats-officedocument.theme+xml"/>
  <Override PartName="/ppt/slideLayouts/slideLayout332.xml" ContentType="application/vnd.openxmlformats-officedocument.presentationml.slideLayout+xml"/>
  <Override PartName="/ppt/slideLayouts/slideLayout333.xml" ContentType="application/vnd.openxmlformats-officedocument.presentationml.slideLayout+xml"/>
  <Override PartName="/ppt/slideLayouts/slideLayout334.xml" ContentType="application/vnd.openxmlformats-officedocument.presentationml.slideLayout+xml"/>
  <Override PartName="/ppt/slideLayouts/slideLayout335.xml" ContentType="application/vnd.openxmlformats-officedocument.presentationml.slideLayout+xml"/>
  <Override PartName="/ppt/slideLayouts/slideLayout336.xml" ContentType="application/vnd.openxmlformats-officedocument.presentationml.slideLayout+xml"/>
  <Override PartName="/ppt/slideLayouts/slideLayout337.xml" ContentType="application/vnd.openxmlformats-officedocument.presentationml.slideLayout+xml"/>
  <Override PartName="/ppt/slideLayouts/slideLayout338.xml" ContentType="application/vnd.openxmlformats-officedocument.presentationml.slideLayout+xml"/>
  <Override PartName="/ppt/slideLayouts/slideLayout339.xml" ContentType="application/vnd.openxmlformats-officedocument.presentationml.slideLayout+xml"/>
  <Override PartName="/ppt/theme/theme51.xml" ContentType="application/vnd.openxmlformats-officedocument.theme+xml"/>
  <Override PartName="/ppt/slideLayouts/slideLayout340.xml" ContentType="application/vnd.openxmlformats-officedocument.presentationml.slideLayout+xml"/>
  <Override PartName="/ppt/slideLayouts/slideLayout341.xml" ContentType="application/vnd.openxmlformats-officedocument.presentationml.slideLayout+xml"/>
  <Override PartName="/ppt/slideLayouts/slideLayout342.xml" ContentType="application/vnd.openxmlformats-officedocument.presentationml.slideLayout+xml"/>
  <Override PartName="/ppt/slideLayouts/slideLayout343.xml" ContentType="application/vnd.openxmlformats-officedocument.presentationml.slideLayout+xml"/>
  <Override PartName="/ppt/slideLayouts/slideLayout344.xml" ContentType="application/vnd.openxmlformats-officedocument.presentationml.slideLayout+xml"/>
  <Override PartName="/ppt/slideLayouts/slideLayout345.xml" ContentType="application/vnd.openxmlformats-officedocument.presentationml.slideLayout+xml"/>
  <Override PartName="/ppt/slideLayouts/slideLayout346.xml" ContentType="application/vnd.openxmlformats-officedocument.presentationml.slideLayout+xml"/>
  <Override PartName="/ppt/slideLayouts/slideLayout347.xml" ContentType="application/vnd.openxmlformats-officedocument.presentationml.slideLayout+xml"/>
  <Override PartName="/ppt/slideLayouts/slideLayout348.xml" ContentType="application/vnd.openxmlformats-officedocument.presentationml.slideLayout+xml"/>
  <Override PartName="/ppt/theme/theme52.xml" ContentType="application/vnd.openxmlformats-officedocument.theme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slideLayouts/slideLayout349.xml" ContentType="application/vnd.openxmlformats-officedocument.presentationml.slideLayout+xml"/>
  <Override PartName="/ppt/slideLayouts/slideLayout350.xml" ContentType="application/vnd.openxmlformats-officedocument.presentationml.slideLayout+xml"/>
  <Override PartName="/ppt/slideLayouts/slideLayout351.xml" ContentType="application/vnd.openxmlformats-officedocument.presentationml.slideLayout+xml"/>
  <Override PartName="/ppt/slideLayouts/slideLayout352.xml" ContentType="application/vnd.openxmlformats-officedocument.presentationml.slideLayout+xml"/>
  <Override PartName="/ppt/slideLayouts/slideLayout353.xml" ContentType="application/vnd.openxmlformats-officedocument.presentationml.slideLayout+xml"/>
  <Override PartName="/ppt/slideLayouts/slideLayout354.xml" ContentType="application/vnd.openxmlformats-officedocument.presentationml.slideLayout+xml"/>
  <Override PartName="/ppt/slideLayouts/slideLayout355.xml" ContentType="application/vnd.openxmlformats-officedocument.presentationml.slideLayout+xml"/>
  <Override PartName="/ppt/slideLayouts/slideLayout356.xml" ContentType="application/vnd.openxmlformats-officedocument.presentationml.slideLayout+xml"/>
  <Override PartName="/ppt/theme/theme53.xml" ContentType="application/vnd.openxmlformats-officedocument.theme+xml"/>
  <Override PartName="/ppt/tags/tag59.xml" ContentType="application/vnd.openxmlformats-officedocument.presentationml.tags+xml"/>
  <Override PartName="/ppt/slideLayouts/slideLayout357.xml" ContentType="application/vnd.openxmlformats-officedocument.presentationml.slideLayout+xml"/>
  <Override PartName="/ppt/slideLayouts/slideLayout358.xml" ContentType="application/vnd.openxmlformats-officedocument.presentationml.slideLayout+xml"/>
  <Override PartName="/ppt/slideLayouts/slideLayout359.xml" ContentType="application/vnd.openxmlformats-officedocument.presentationml.slideLayout+xml"/>
  <Override PartName="/ppt/slideLayouts/slideLayout360.xml" ContentType="application/vnd.openxmlformats-officedocument.presentationml.slideLayout+xml"/>
  <Override PartName="/ppt/slideLayouts/slideLayout361.xml" ContentType="application/vnd.openxmlformats-officedocument.presentationml.slideLayout+xml"/>
  <Override PartName="/ppt/slideLayouts/slideLayout362.xml" ContentType="application/vnd.openxmlformats-officedocument.presentationml.slideLayout+xml"/>
  <Override PartName="/ppt/slideLayouts/slideLayout363.xml" ContentType="application/vnd.openxmlformats-officedocument.presentationml.slideLayout+xml"/>
  <Override PartName="/ppt/slideLayouts/slideLayout364.xml" ContentType="application/vnd.openxmlformats-officedocument.presentationml.slideLayout+xml"/>
  <Override PartName="/ppt/theme/theme54.xml" ContentType="application/vnd.openxmlformats-officedocument.theme+xml"/>
  <Override PartName="/ppt/tags/tag60.xml" ContentType="application/vnd.openxmlformats-officedocument.presentationml.tags+xml"/>
  <Override PartName="/ppt/slideLayouts/slideLayout365.xml" ContentType="application/vnd.openxmlformats-officedocument.presentationml.slideLayout+xml"/>
  <Override PartName="/ppt/slideLayouts/slideLayout366.xml" ContentType="application/vnd.openxmlformats-officedocument.presentationml.slideLayout+xml"/>
  <Override PartName="/ppt/slideLayouts/slideLayout367.xml" ContentType="application/vnd.openxmlformats-officedocument.presentationml.slideLayout+xml"/>
  <Override PartName="/ppt/slideLayouts/slideLayout368.xml" ContentType="application/vnd.openxmlformats-officedocument.presentationml.slideLayout+xml"/>
  <Override PartName="/ppt/slideLayouts/slideLayout369.xml" ContentType="application/vnd.openxmlformats-officedocument.presentationml.slideLayout+xml"/>
  <Override PartName="/ppt/slideLayouts/slideLayout370.xml" ContentType="application/vnd.openxmlformats-officedocument.presentationml.slideLayout+xml"/>
  <Override PartName="/ppt/slideLayouts/slideLayout371.xml" ContentType="application/vnd.openxmlformats-officedocument.presentationml.slideLayout+xml"/>
  <Override PartName="/ppt/slideLayouts/slideLayout372.xml" ContentType="application/vnd.openxmlformats-officedocument.presentationml.slideLayout+xml"/>
  <Override PartName="/ppt/theme/theme55.xml" ContentType="application/vnd.openxmlformats-officedocument.theme+xml"/>
  <Override PartName="/ppt/tags/tag61.xml" ContentType="application/vnd.openxmlformats-officedocument.presentationml.tags+xml"/>
  <Override PartName="/ppt/slideLayouts/slideLayout373.xml" ContentType="application/vnd.openxmlformats-officedocument.presentationml.slideLayout+xml"/>
  <Override PartName="/ppt/slideLayouts/slideLayout374.xml" ContentType="application/vnd.openxmlformats-officedocument.presentationml.slideLayout+xml"/>
  <Override PartName="/ppt/slideLayouts/slideLayout375.xml" ContentType="application/vnd.openxmlformats-officedocument.presentationml.slideLayout+xml"/>
  <Override PartName="/ppt/slideLayouts/slideLayout376.xml" ContentType="application/vnd.openxmlformats-officedocument.presentationml.slideLayout+xml"/>
  <Override PartName="/ppt/slideLayouts/slideLayout377.xml" ContentType="application/vnd.openxmlformats-officedocument.presentationml.slideLayout+xml"/>
  <Override PartName="/ppt/slideLayouts/slideLayout378.xml" ContentType="application/vnd.openxmlformats-officedocument.presentationml.slideLayout+xml"/>
  <Override PartName="/ppt/slideLayouts/slideLayout379.xml" ContentType="application/vnd.openxmlformats-officedocument.presentationml.slideLayout+xml"/>
  <Override PartName="/ppt/slideLayouts/slideLayout380.xml" ContentType="application/vnd.openxmlformats-officedocument.presentationml.slideLayout+xml"/>
  <Override PartName="/ppt/theme/theme56.xml" ContentType="application/vnd.openxmlformats-officedocument.theme+xml"/>
  <Override PartName="/ppt/tags/tag62.xml" ContentType="application/vnd.openxmlformats-officedocument.presentationml.tags+xml"/>
  <Override PartName="/ppt/slideLayouts/slideLayout381.xml" ContentType="application/vnd.openxmlformats-officedocument.presentationml.slideLayout+xml"/>
  <Override PartName="/ppt/slideLayouts/slideLayout382.xml" ContentType="application/vnd.openxmlformats-officedocument.presentationml.slideLayout+xml"/>
  <Override PartName="/ppt/slideLayouts/slideLayout383.xml" ContentType="application/vnd.openxmlformats-officedocument.presentationml.slideLayout+xml"/>
  <Override PartName="/ppt/slideLayouts/slideLayout384.xml" ContentType="application/vnd.openxmlformats-officedocument.presentationml.slideLayout+xml"/>
  <Override PartName="/ppt/slideLayouts/slideLayout385.xml" ContentType="application/vnd.openxmlformats-officedocument.presentationml.slideLayout+xml"/>
  <Override PartName="/ppt/slideLayouts/slideLayout386.xml" ContentType="application/vnd.openxmlformats-officedocument.presentationml.slideLayout+xml"/>
  <Override PartName="/ppt/slideLayouts/slideLayout387.xml" ContentType="application/vnd.openxmlformats-officedocument.presentationml.slideLayout+xml"/>
  <Override PartName="/ppt/slideLayouts/slideLayout388.xml" ContentType="application/vnd.openxmlformats-officedocument.presentationml.slideLayout+xml"/>
  <Override PartName="/ppt/theme/theme57.xml" ContentType="application/vnd.openxmlformats-officedocument.theme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slideLayouts/slideLayout389.xml" ContentType="application/vnd.openxmlformats-officedocument.presentationml.slideLayout+xml"/>
  <Override PartName="/ppt/slideLayouts/slideLayout390.xml" ContentType="application/vnd.openxmlformats-officedocument.presentationml.slideLayout+xml"/>
  <Override PartName="/ppt/slideLayouts/slideLayout391.xml" ContentType="application/vnd.openxmlformats-officedocument.presentationml.slideLayout+xml"/>
  <Override PartName="/ppt/slideLayouts/slideLayout392.xml" ContentType="application/vnd.openxmlformats-officedocument.presentationml.slideLayout+xml"/>
  <Override PartName="/ppt/slideLayouts/slideLayout393.xml" ContentType="application/vnd.openxmlformats-officedocument.presentationml.slideLayout+xml"/>
  <Override PartName="/ppt/slideLayouts/slideLayout394.xml" ContentType="application/vnd.openxmlformats-officedocument.presentationml.slideLayout+xml"/>
  <Override PartName="/ppt/slideLayouts/slideLayout395.xml" ContentType="application/vnd.openxmlformats-officedocument.presentationml.slideLayout+xml"/>
  <Override PartName="/ppt/slideLayouts/slideLayout396.xml" ContentType="application/vnd.openxmlformats-officedocument.presentationml.slideLayout+xml"/>
  <Override PartName="/ppt/slideLayouts/slideLayout397.xml" ContentType="application/vnd.openxmlformats-officedocument.presentationml.slideLayout+xml"/>
  <Override PartName="/ppt/slideLayouts/slideLayout398.xml" ContentType="application/vnd.openxmlformats-officedocument.presentationml.slideLayout+xml"/>
  <Override PartName="/ppt/slideLayouts/slideLayout399.xml" ContentType="application/vnd.openxmlformats-officedocument.presentationml.slideLayout+xml"/>
  <Override PartName="/ppt/theme/theme58.xml" ContentType="application/vnd.openxmlformats-officedocument.theme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slideLayouts/slideLayout400.xml" ContentType="application/vnd.openxmlformats-officedocument.presentationml.slideLayout+xml"/>
  <Override PartName="/ppt/slideLayouts/slideLayout401.xml" ContentType="application/vnd.openxmlformats-officedocument.presentationml.slideLayout+xml"/>
  <Override PartName="/ppt/slideLayouts/slideLayout402.xml" ContentType="application/vnd.openxmlformats-officedocument.presentationml.slideLayout+xml"/>
  <Override PartName="/ppt/slideLayouts/slideLayout403.xml" ContentType="application/vnd.openxmlformats-officedocument.presentationml.slideLayout+xml"/>
  <Override PartName="/ppt/slideLayouts/slideLayout404.xml" ContentType="application/vnd.openxmlformats-officedocument.presentationml.slideLayout+xml"/>
  <Override PartName="/ppt/slideLayouts/slideLayout405.xml" ContentType="application/vnd.openxmlformats-officedocument.presentationml.slideLayout+xml"/>
  <Override PartName="/ppt/slideLayouts/slideLayout406.xml" ContentType="application/vnd.openxmlformats-officedocument.presentationml.slideLayout+xml"/>
  <Override PartName="/ppt/slideLayouts/slideLayout407.xml" ContentType="application/vnd.openxmlformats-officedocument.presentationml.slideLayout+xml"/>
  <Override PartName="/ppt/theme/theme59.xml" ContentType="application/vnd.openxmlformats-officedocument.theme+xml"/>
  <Override PartName="/ppt/slideLayouts/slideLayout408.xml" ContentType="application/vnd.openxmlformats-officedocument.presentationml.slideLayout+xml"/>
  <Override PartName="/ppt/slideLayouts/slideLayout409.xml" ContentType="application/vnd.openxmlformats-officedocument.presentationml.slideLayout+xml"/>
  <Override PartName="/ppt/slideLayouts/slideLayout410.xml" ContentType="application/vnd.openxmlformats-officedocument.presentationml.slideLayout+xml"/>
  <Override PartName="/ppt/slideLayouts/slideLayout411.xml" ContentType="application/vnd.openxmlformats-officedocument.presentationml.slideLayout+xml"/>
  <Override PartName="/ppt/theme/theme60.xml" ContentType="application/vnd.openxmlformats-officedocument.theme+xml"/>
  <Override PartName="/ppt/slideLayouts/slideLayout412.xml" ContentType="application/vnd.openxmlformats-officedocument.presentationml.slideLayout+xml"/>
  <Override PartName="/ppt/slideLayouts/slideLayout413.xml" ContentType="application/vnd.openxmlformats-officedocument.presentationml.slideLayout+xml"/>
  <Override PartName="/ppt/slideLayouts/slideLayout414.xml" ContentType="application/vnd.openxmlformats-officedocument.presentationml.slideLayout+xml"/>
  <Override PartName="/ppt/slideLayouts/slideLayout415.xml" ContentType="application/vnd.openxmlformats-officedocument.presentationml.slideLayout+xml"/>
  <Override PartName="/ppt/theme/theme61.xml" ContentType="application/vnd.openxmlformats-officedocument.theme+xml"/>
  <Override PartName="/ppt/slideLayouts/slideLayout416.xml" ContentType="application/vnd.openxmlformats-officedocument.presentationml.slideLayout+xml"/>
  <Override PartName="/ppt/slideLayouts/slideLayout417.xml" ContentType="application/vnd.openxmlformats-officedocument.presentationml.slideLayout+xml"/>
  <Override PartName="/ppt/slideLayouts/slideLayout418.xml" ContentType="application/vnd.openxmlformats-officedocument.presentationml.slideLayout+xml"/>
  <Override PartName="/ppt/slideLayouts/slideLayout419.xml" ContentType="application/vnd.openxmlformats-officedocument.presentationml.slideLayout+xml"/>
  <Override PartName="/ppt/theme/theme62.xml" ContentType="application/vnd.openxmlformats-officedocument.theme+xml"/>
  <Override PartName="/ppt/slideLayouts/slideLayout420.xml" ContentType="application/vnd.openxmlformats-officedocument.presentationml.slideLayout+xml"/>
  <Override PartName="/ppt/slideLayouts/slideLayout421.xml" ContentType="application/vnd.openxmlformats-officedocument.presentationml.slideLayout+xml"/>
  <Override PartName="/ppt/slideLayouts/slideLayout422.xml" ContentType="application/vnd.openxmlformats-officedocument.presentationml.slideLayout+xml"/>
  <Override PartName="/ppt/slideLayouts/slideLayout423.xml" ContentType="application/vnd.openxmlformats-officedocument.presentationml.slideLayout+xml"/>
  <Override PartName="/ppt/slideLayouts/slideLayout424.xml" ContentType="application/vnd.openxmlformats-officedocument.presentationml.slideLayout+xml"/>
  <Override PartName="/ppt/slideLayouts/slideLayout425.xml" ContentType="application/vnd.openxmlformats-officedocument.presentationml.slideLayout+xml"/>
  <Override PartName="/ppt/slideLayouts/slideLayout426.xml" ContentType="application/vnd.openxmlformats-officedocument.presentationml.slideLayout+xml"/>
  <Override PartName="/ppt/slideLayouts/slideLayout427.xml" ContentType="application/vnd.openxmlformats-officedocument.presentationml.slideLayout+xml"/>
  <Override PartName="/ppt/theme/theme63.xml" ContentType="application/vnd.openxmlformats-officedocument.theme+xml"/>
  <Override PartName="/ppt/slideLayouts/slideLayout428.xml" ContentType="application/vnd.openxmlformats-officedocument.presentationml.slideLayout+xml"/>
  <Override PartName="/ppt/slideLayouts/slideLayout429.xml" ContentType="application/vnd.openxmlformats-officedocument.presentationml.slideLayout+xml"/>
  <Override PartName="/ppt/slideLayouts/slideLayout430.xml" ContentType="application/vnd.openxmlformats-officedocument.presentationml.slideLayout+xml"/>
  <Override PartName="/ppt/slideLayouts/slideLayout431.xml" ContentType="application/vnd.openxmlformats-officedocument.presentationml.slideLayout+xml"/>
  <Override PartName="/ppt/theme/theme64.xml" ContentType="application/vnd.openxmlformats-officedocument.theme+xml"/>
  <Override PartName="/ppt/slideLayouts/slideLayout432.xml" ContentType="application/vnd.openxmlformats-officedocument.presentationml.slideLayout+xml"/>
  <Override PartName="/ppt/slideLayouts/slideLayout433.xml" ContentType="application/vnd.openxmlformats-officedocument.presentationml.slideLayout+xml"/>
  <Override PartName="/ppt/slideLayouts/slideLayout434.xml" ContentType="application/vnd.openxmlformats-officedocument.presentationml.slideLayout+xml"/>
  <Override PartName="/ppt/slideLayouts/slideLayout435.xml" ContentType="application/vnd.openxmlformats-officedocument.presentationml.slideLayout+xml"/>
  <Override PartName="/ppt/slideLayouts/slideLayout436.xml" ContentType="application/vnd.openxmlformats-officedocument.presentationml.slideLayout+xml"/>
  <Override PartName="/ppt/slideLayouts/slideLayout437.xml" ContentType="application/vnd.openxmlformats-officedocument.presentationml.slideLayout+xml"/>
  <Override PartName="/ppt/slideLayouts/slideLayout438.xml" ContentType="application/vnd.openxmlformats-officedocument.presentationml.slideLayout+xml"/>
  <Override PartName="/ppt/slideLayouts/slideLayout439.xml" ContentType="application/vnd.openxmlformats-officedocument.presentationml.slideLayout+xml"/>
  <Override PartName="/ppt/theme/theme65.xml" ContentType="application/vnd.openxmlformats-officedocument.theme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slideLayouts/slideLayout440.xml" ContentType="application/vnd.openxmlformats-officedocument.presentationml.slideLayout+xml"/>
  <Override PartName="/ppt/slideLayouts/slideLayout441.xml" ContentType="application/vnd.openxmlformats-officedocument.presentationml.slideLayout+xml"/>
  <Override PartName="/ppt/slideLayouts/slideLayout442.xml" ContentType="application/vnd.openxmlformats-officedocument.presentationml.slideLayout+xml"/>
  <Override PartName="/ppt/slideLayouts/slideLayout443.xml" ContentType="application/vnd.openxmlformats-officedocument.presentationml.slideLayout+xml"/>
  <Override PartName="/ppt/slideLayouts/slideLayout444.xml" ContentType="application/vnd.openxmlformats-officedocument.presentationml.slideLayout+xml"/>
  <Override PartName="/ppt/slideLayouts/slideLayout445.xml" ContentType="application/vnd.openxmlformats-officedocument.presentationml.slideLayout+xml"/>
  <Override PartName="/ppt/slideLayouts/slideLayout446.xml" ContentType="application/vnd.openxmlformats-officedocument.presentationml.slideLayout+xml"/>
  <Override PartName="/ppt/slideLayouts/slideLayout447.xml" ContentType="application/vnd.openxmlformats-officedocument.presentationml.slideLayout+xml"/>
  <Override PartName="/ppt/theme/theme66.xml" ContentType="application/vnd.openxmlformats-officedocument.theme+xml"/>
  <Override PartName="/ppt/tags/tag76.xml" ContentType="application/vnd.openxmlformats-officedocument.presentationml.tags+xml"/>
  <Override PartName="/ppt/slideLayouts/slideLayout448.xml" ContentType="application/vnd.openxmlformats-officedocument.presentationml.slideLayout+xml"/>
  <Override PartName="/ppt/slideLayouts/slideLayout449.xml" ContentType="application/vnd.openxmlformats-officedocument.presentationml.slideLayout+xml"/>
  <Override PartName="/ppt/slideLayouts/slideLayout450.xml" ContentType="application/vnd.openxmlformats-officedocument.presentationml.slideLayout+xml"/>
  <Override PartName="/ppt/slideLayouts/slideLayout451.xml" ContentType="application/vnd.openxmlformats-officedocument.presentationml.slideLayout+xml"/>
  <Override PartName="/ppt/slideLayouts/slideLayout452.xml" ContentType="application/vnd.openxmlformats-officedocument.presentationml.slideLayout+xml"/>
  <Override PartName="/ppt/slideLayouts/slideLayout453.xml" ContentType="application/vnd.openxmlformats-officedocument.presentationml.slideLayout+xml"/>
  <Override PartName="/ppt/slideLayouts/slideLayout454.xml" ContentType="application/vnd.openxmlformats-officedocument.presentationml.slideLayout+xml"/>
  <Override PartName="/ppt/slideLayouts/slideLayout455.xml" ContentType="application/vnd.openxmlformats-officedocument.presentationml.slideLayout+xml"/>
  <Override PartName="/ppt/theme/theme67.xml" ContentType="application/vnd.openxmlformats-officedocument.theme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slideLayouts/slideLayout456.xml" ContentType="application/vnd.openxmlformats-officedocument.presentationml.slideLayout+xml"/>
  <Override PartName="/ppt/slideLayouts/slideLayout457.xml" ContentType="application/vnd.openxmlformats-officedocument.presentationml.slideLayout+xml"/>
  <Override PartName="/ppt/slideLayouts/slideLayout458.xml" ContentType="application/vnd.openxmlformats-officedocument.presentationml.slideLayout+xml"/>
  <Override PartName="/ppt/slideLayouts/slideLayout459.xml" ContentType="application/vnd.openxmlformats-officedocument.presentationml.slideLayout+xml"/>
  <Override PartName="/ppt/slideLayouts/slideLayout460.xml" ContentType="application/vnd.openxmlformats-officedocument.presentationml.slideLayout+xml"/>
  <Override PartName="/ppt/slideLayouts/slideLayout461.xml" ContentType="application/vnd.openxmlformats-officedocument.presentationml.slideLayout+xml"/>
  <Override PartName="/ppt/slideLayouts/slideLayout462.xml" ContentType="application/vnd.openxmlformats-officedocument.presentationml.slideLayout+xml"/>
  <Override PartName="/ppt/slideLayouts/slideLayout463.xml" ContentType="application/vnd.openxmlformats-officedocument.presentationml.slideLayout+xml"/>
  <Override PartName="/ppt/slideLayouts/slideLayout464.xml" ContentType="application/vnd.openxmlformats-officedocument.presentationml.slideLayout+xml"/>
  <Override PartName="/ppt/slideLayouts/slideLayout465.xml" ContentType="application/vnd.openxmlformats-officedocument.presentationml.slideLayout+xml"/>
  <Override PartName="/ppt/theme/theme68.xml" ContentType="application/vnd.openxmlformats-officedocument.theme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slideLayouts/slideLayout466.xml" ContentType="application/vnd.openxmlformats-officedocument.presentationml.slideLayout+xml"/>
  <Override PartName="/ppt/slideLayouts/slideLayout467.xml" ContentType="application/vnd.openxmlformats-officedocument.presentationml.slideLayout+xml"/>
  <Override PartName="/ppt/slideLayouts/slideLayout468.xml" ContentType="application/vnd.openxmlformats-officedocument.presentationml.slideLayout+xml"/>
  <Override PartName="/ppt/slideLayouts/slideLayout469.xml" ContentType="application/vnd.openxmlformats-officedocument.presentationml.slideLayout+xml"/>
  <Override PartName="/ppt/slideLayouts/slideLayout470.xml" ContentType="application/vnd.openxmlformats-officedocument.presentationml.slideLayout+xml"/>
  <Override PartName="/ppt/slideLayouts/slideLayout471.xml" ContentType="application/vnd.openxmlformats-officedocument.presentationml.slideLayout+xml"/>
  <Override PartName="/ppt/slideLayouts/slideLayout472.xml" ContentType="application/vnd.openxmlformats-officedocument.presentationml.slideLayout+xml"/>
  <Override PartName="/ppt/slideLayouts/slideLayout473.xml" ContentType="application/vnd.openxmlformats-officedocument.presentationml.slideLayout+xml"/>
  <Override PartName="/ppt/theme/theme69.xml" ContentType="application/vnd.openxmlformats-officedocument.theme+xml"/>
  <Override PartName="/ppt/slideLayouts/slideLayout474.xml" ContentType="application/vnd.openxmlformats-officedocument.presentationml.slideLayout+xml"/>
  <Override PartName="/ppt/slideLayouts/slideLayout475.xml" ContentType="application/vnd.openxmlformats-officedocument.presentationml.slideLayout+xml"/>
  <Override PartName="/ppt/slideLayouts/slideLayout476.xml" ContentType="application/vnd.openxmlformats-officedocument.presentationml.slideLayout+xml"/>
  <Override PartName="/ppt/slideLayouts/slideLayout477.xml" ContentType="application/vnd.openxmlformats-officedocument.presentationml.slideLayout+xml"/>
  <Override PartName="/ppt/slideLayouts/slideLayout478.xml" ContentType="application/vnd.openxmlformats-officedocument.presentationml.slideLayout+xml"/>
  <Override PartName="/ppt/slideLayouts/slideLayout479.xml" ContentType="application/vnd.openxmlformats-officedocument.presentationml.slideLayout+xml"/>
  <Override PartName="/ppt/slideLayouts/slideLayout480.xml" ContentType="application/vnd.openxmlformats-officedocument.presentationml.slideLayout+xml"/>
  <Override PartName="/ppt/slideLayouts/slideLayout481.xml" ContentType="application/vnd.openxmlformats-officedocument.presentationml.slideLayout+xml"/>
  <Override PartName="/ppt/slideLayouts/slideLayout482.xml" ContentType="application/vnd.openxmlformats-officedocument.presentationml.slideLayout+xml"/>
  <Override PartName="/ppt/slideLayouts/slideLayout483.xml" ContentType="application/vnd.openxmlformats-officedocument.presentationml.slideLayout+xml"/>
  <Override PartName="/ppt/theme/theme70.xml" ContentType="application/vnd.openxmlformats-officedocument.theme+xml"/>
  <Override PartName="/ppt/slideLayouts/slideLayout484.xml" ContentType="application/vnd.openxmlformats-officedocument.presentationml.slideLayout+xml"/>
  <Override PartName="/ppt/slideLayouts/slideLayout485.xml" ContentType="application/vnd.openxmlformats-officedocument.presentationml.slideLayout+xml"/>
  <Override PartName="/ppt/theme/theme71.xml" ContentType="application/vnd.openxmlformats-officedocument.theme+xml"/>
  <Override PartName="/ppt/tags/tag86.xml" ContentType="application/vnd.openxmlformats-officedocument.presentationml.tags+xml"/>
  <Override PartName="/ppt/slideLayouts/slideLayout486.xml" ContentType="application/vnd.openxmlformats-officedocument.presentationml.slideLayout+xml"/>
  <Override PartName="/ppt/slideLayouts/slideLayout487.xml" ContentType="application/vnd.openxmlformats-officedocument.presentationml.slideLayout+xml"/>
  <Override PartName="/ppt/slideLayouts/slideLayout488.xml" ContentType="application/vnd.openxmlformats-officedocument.presentationml.slideLayout+xml"/>
  <Override PartName="/ppt/slideLayouts/slideLayout489.xml" ContentType="application/vnd.openxmlformats-officedocument.presentationml.slideLayout+xml"/>
  <Override PartName="/ppt/slideLayouts/slideLayout490.xml" ContentType="application/vnd.openxmlformats-officedocument.presentationml.slideLayout+xml"/>
  <Override PartName="/ppt/slideLayouts/slideLayout491.xml" ContentType="application/vnd.openxmlformats-officedocument.presentationml.slideLayout+xml"/>
  <Override PartName="/ppt/slideLayouts/slideLayout492.xml" ContentType="application/vnd.openxmlformats-officedocument.presentationml.slideLayout+xml"/>
  <Override PartName="/ppt/slideLayouts/slideLayout493.xml" ContentType="application/vnd.openxmlformats-officedocument.presentationml.slideLayout+xml"/>
  <Override PartName="/ppt/theme/theme72.xml" ContentType="application/vnd.openxmlformats-officedocument.theme+xml"/>
  <Override PartName="/ppt/slideLayouts/slideLayout494.xml" ContentType="application/vnd.openxmlformats-officedocument.presentationml.slideLayout+xml"/>
  <Override PartName="/ppt/slideLayouts/slideLayout495.xml" ContentType="application/vnd.openxmlformats-officedocument.presentationml.slideLayout+xml"/>
  <Override PartName="/ppt/slideLayouts/slideLayout496.xml" ContentType="application/vnd.openxmlformats-officedocument.presentationml.slideLayout+xml"/>
  <Override PartName="/ppt/slideLayouts/slideLayout497.xml" ContentType="application/vnd.openxmlformats-officedocument.presentationml.slideLayout+xml"/>
  <Override PartName="/ppt/slideLayouts/slideLayout498.xml" ContentType="application/vnd.openxmlformats-officedocument.presentationml.slideLayout+xml"/>
  <Override PartName="/ppt/slideLayouts/slideLayout499.xml" ContentType="application/vnd.openxmlformats-officedocument.presentationml.slideLayout+xml"/>
  <Override PartName="/ppt/slideLayouts/slideLayout500.xml" ContentType="application/vnd.openxmlformats-officedocument.presentationml.slideLayout+xml"/>
  <Override PartName="/ppt/slideLayouts/slideLayout501.xml" ContentType="application/vnd.openxmlformats-officedocument.presentationml.slideLayout+xml"/>
  <Override PartName="/ppt/theme/theme73.xml" ContentType="application/vnd.openxmlformats-officedocument.theme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slideLayouts/slideLayout502.xml" ContentType="application/vnd.openxmlformats-officedocument.presentationml.slideLayout+xml"/>
  <Override PartName="/ppt/slideLayouts/slideLayout503.xml" ContentType="application/vnd.openxmlformats-officedocument.presentationml.slideLayout+xml"/>
  <Override PartName="/ppt/slideLayouts/slideLayout504.xml" ContentType="application/vnd.openxmlformats-officedocument.presentationml.slideLayout+xml"/>
  <Override PartName="/ppt/slideLayouts/slideLayout505.xml" ContentType="application/vnd.openxmlformats-officedocument.presentationml.slideLayout+xml"/>
  <Override PartName="/ppt/slideLayouts/slideLayout506.xml" ContentType="application/vnd.openxmlformats-officedocument.presentationml.slideLayout+xml"/>
  <Override PartName="/ppt/slideLayouts/slideLayout507.xml" ContentType="application/vnd.openxmlformats-officedocument.presentationml.slideLayout+xml"/>
  <Override PartName="/ppt/slideLayouts/slideLayout508.xml" ContentType="application/vnd.openxmlformats-officedocument.presentationml.slideLayout+xml"/>
  <Override PartName="/ppt/slideLayouts/slideLayout509.xml" ContentType="application/vnd.openxmlformats-officedocument.presentationml.slideLayout+xml"/>
  <Override PartName="/ppt/theme/theme74.xml" ContentType="application/vnd.openxmlformats-officedocument.theme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slideLayouts/slideLayout510.xml" ContentType="application/vnd.openxmlformats-officedocument.presentationml.slideLayout+xml"/>
  <Override PartName="/ppt/slideLayouts/slideLayout511.xml" ContentType="application/vnd.openxmlformats-officedocument.presentationml.slideLayout+xml"/>
  <Override PartName="/ppt/slideLayouts/slideLayout512.xml" ContentType="application/vnd.openxmlformats-officedocument.presentationml.slideLayout+xml"/>
  <Override PartName="/ppt/slideLayouts/slideLayout513.xml" ContentType="application/vnd.openxmlformats-officedocument.presentationml.slideLayout+xml"/>
  <Override PartName="/ppt/theme/theme75.xml" ContentType="application/vnd.openxmlformats-officedocument.theme+xml"/>
  <Override PartName="/ppt/slideLayouts/slideLayout514.xml" ContentType="application/vnd.openxmlformats-officedocument.presentationml.slideLayout+xml"/>
  <Override PartName="/ppt/slideLayouts/slideLayout515.xml" ContentType="application/vnd.openxmlformats-officedocument.presentationml.slideLayout+xml"/>
  <Override PartName="/ppt/slideLayouts/slideLayout516.xml" ContentType="application/vnd.openxmlformats-officedocument.presentationml.slideLayout+xml"/>
  <Override PartName="/ppt/slideLayouts/slideLayout517.xml" ContentType="application/vnd.openxmlformats-officedocument.presentationml.slideLayout+xml"/>
  <Override PartName="/ppt/slideLayouts/slideLayout518.xml" ContentType="application/vnd.openxmlformats-officedocument.presentationml.slideLayout+xml"/>
  <Override PartName="/ppt/slideLayouts/slideLayout519.xml" ContentType="application/vnd.openxmlformats-officedocument.presentationml.slideLayout+xml"/>
  <Override PartName="/ppt/slideLayouts/slideLayout520.xml" ContentType="application/vnd.openxmlformats-officedocument.presentationml.slideLayout+xml"/>
  <Override PartName="/ppt/slideLayouts/slideLayout521.xml" ContentType="application/vnd.openxmlformats-officedocument.presentationml.slideLayout+xml"/>
  <Override PartName="/ppt/slideLayouts/slideLayout522.xml" ContentType="application/vnd.openxmlformats-officedocument.presentationml.slideLayout+xml"/>
  <Override PartName="/ppt/slideLayouts/slideLayout523.xml" ContentType="application/vnd.openxmlformats-officedocument.presentationml.slideLayout+xml"/>
  <Override PartName="/ppt/slideLayouts/slideLayout524.xml" ContentType="application/vnd.openxmlformats-officedocument.presentationml.slideLayout+xml"/>
  <Override PartName="/ppt/theme/theme76.xml" ContentType="application/vnd.openxmlformats-officedocument.theme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slideLayouts/slideLayout525.xml" ContentType="application/vnd.openxmlformats-officedocument.presentationml.slideLayout+xml"/>
  <Override PartName="/ppt/slideLayouts/slideLayout526.xml" ContentType="application/vnd.openxmlformats-officedocument.presentationml.slideLayout+xml"/>
  <Override PartName="/ppt/slideLayouts/slideLayout527.xml" ContentType="application/vnd.openxmlformats-officedocument.presentationml.slideLayout+xml"/>
  <Override PartName="/ppt/slideLayouts/slideLayout528.xml" ContentType="application/vnd.openxmlformats-officedocument.presentationml.slideLayout+xml"/>
  <Override PartName="/ppt/theme/theme77.xml" ContentType="application/vnd.openxmlformats-officedocument.theme+xml"/>
  <Override PartName="/ppt/slideLayouts/slideLayout529.xml" ContentType="application/vnd.openxmlformats-officedocument.presentationml.slideLayout+xml"/>
  <Override PartName="/ppt/slideLayouts/slideLayout530.xml" ContentType="application/vnd.openxmlformats-officedocument.presentationml.slideLayout+xml"/>
  <Override PartName="/ppt/slideLayouts/slideLayout531.xml" ContentType="application/vnd.openxmlformats-officedocument.presentationml.slideLayout+xml"/>
  <Override PartName="/ppt/slideLayouts/slideLayout532.xml" ContentType="application/vnd.openxmlformats-officedocument.presentationml.slideLayout+xml"/>
  <Override PartName="/ppt/theme/theme78.xml" ContentType="application/vnd.openxmlformats-officedocument.theme+xml"/>
  <Override PartName="/ppt/slideLayouts/slideLayout533.xml" ContentType="application/vnd.openxmlformats-officedocument.presentationml.slideLayout+xml"/>
  <Override PartName="/ppt/slideLayouts/slideLayout534.xml" ContentType="application/vnd.openxmlformats-officedocument.presentationml.slideLayout+xml"/>
  <Override PartName="/ppt/slideLayouts/slideLayout535.xml" ContentType="application/vnd.openxmlformats-officedocument.presentationml.slideLayout+xml"/>
  <Override PartName="/ppt/slideLayouts/slideLayout536.xml" ContentType="application/vnd.openxmlformats-officedocument.presentationml.slideLayout+xml"/>
  <Override PartName="/ppt/theme/theme79.xml" ContentType="application/vnd.openxmlformats-officedocument.theme+xml"/>
  <Override PartName="/ppt/slideLayouts/slideLayout537.xml" ContentType="application/vnd.openxmlformats-officedocument.presentationml.slideLayout+xml"/>
  <Override PartName="/ppt/slideLayouts/slideLayout538.xml" ContentType="application/vnd.openxmlformats-officedocument.presentationml.slideLayout+xml"/>
  <Override PartName="/ppt/slideLayouts/slideLayout539.xml" ContentType="application/vnd.openxmlformats-officedocument.presentationml.slideLayout+xml"/>
  <Override PartName="/ppt/slideLayouts/slideLayout540.xml" ContentType="application/vnd.openxmlformats-officedocument.presentationml.slideLayout+xml"/>
  <Override PartName="/ppt/slideLayouts/slideLayout541.xml" ContentType="application/vnd.openxmlformats-officedocument.presentationml.slideLayout+xml"/>
  <Override PartName="/ppt/slideLayouts/slideLayout542.xml" ContentType="application/vnd.openxmlformats-officedocument.presentationml.slideLayout+xml"/>
  <Override PartName="/ppt/slideLayouts/slideLayout543.xml" ContentType="application/vnd.openxmlformats-officedocument.presentationml.slideLayout+xml"/>
  <Override PartName="/ppt/slideLayouts/slideLayout544.xml" ContentType="application/vnd.openxmlformats-officedocument.presentationml.slideLayout+xml"/>
  <Override PartName="/ppt/slideLayouts/slideLayout545.xml" ContentType="application/vnd.openxmlformats-officedocument.presentationml.slideLayout+xml"/>
  <Override PartName="/ppt/slideLayouts/slideLayout546.xml" ContentType="application/vnd.openxmlformats-officedocument.presentationml.slideLayout+xml"/>
  <Override PartName="/ppt/theme/theme80.xml" ContentType="application/vnd.openxmlformats-officedocument.theme+xml"/>
  <Override PartName="/ppt/slideLayouts/slideLayout547.xml" ContentType="application/vnd.openxmlformats-officedocument.presentationml.slideLayout+xml"/>
  <Override PartName="/ppt/slideLayouts/slideLayout548.xml" ContentType="application/vnd.openxmlformats-officedocument.presentationml.slideLayout+xml"/>
  <Override PartName="/ppt/theme/theme81.xml" ContentType="application/vnd.openxmlformats-officedocument.theme+xml"/>
  <Override PartName="/ppt/tags/tag97.xml" ContentType="application/vnd.openxmlformats-officedocument.presentationml.tags+xml"/>
  <Override PartName="/ppt/slideLayouts/slideLayout549.xml" ContentType="application/vnd.openxmlformats-officedocument.presentationml.slideLayout+xml"/>
  <Override PartName="/ppt/slideLayouts/slideLayout550.xml" ContentType="application/vnd.openxmlformats-officedocument.presentationml.slideLayout+xml"/>
  <Override PartName="/ppt/slideLayouts/slideLayout551.xml" ContentType="application/vnd.openxmlformats-officedocument.presentationml.slideLayout+xml"/>
  <Override PartName="/ppt/slideLayouts/slideLayout552.xml" ContentType="application/vnd.openxmlformats-officedocument.presentationml.slideLayout+xml"/>
  <Override PartName="/ppt/slideLayouts/slideLayout553.xml" ContentType="application/vnd.openxmlformats-officedocument.presentationml.slideLayout+xml"/>
  <Override PartName="/ppt/slideLayouts/slideLayout554.xml" ContentType="application/vnd.openxmlformats-officedocument.presentationml.slideLayout+xml"/>
  <Override PartName="/ppt/slideLayouts/slideLayout555.xml" ContentType="application/vnd.openxmlformats-officedocument.presentationml.slideLayout+xml"/>
  <Override PartName="/ppt/slideLayouts/slideLayout556.xml" ContentType="application/vnd.openxmlformats-officedocument.presentationml.slideLayout+xml"/>
  <Override PartName="/ppt/slideLayouts/slideLayout557.xml" ContentType="application/vnd.openxmlformats-officedocument.presentationml.slideLayout+xml"/>
  <Override PartName="/ppt/slideLayouts/slideLayout558.xml" ContentType="application/vnd.openxmlformats-officedocument.presentationml.slideLayout+xml"/>
  <Override PartName="/ppt/theme/theme82.xml" ContentType="application/vnd.openxmlformats-officedocument.theme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slideLayouts/slideLayout559.xml" ContentType="application/vnd.openxmlformats-officedocument.presentationml.slideLayout+xml"/>
  <Override PartName="/ppt/slideLayouts/slideLayout560.xml" ContentType="application/vnd.openxmlformats-officedocument.presentationml.slideLayout+xml"/>
  <Override PartName="/ppt/slideLayouts/slideLayout561.xml" ContentType="application/vnd.openxmlformats-officedocument.presentationml.slideLayout+xml"/>
  <Override PartName="/ppt/slideLayouts/slideLayout562.xml" ContentType="application/vnd.openxmlformats-officedocument.presentationml.slideLayout+xml"/>
  <Override PartName="/ppt/slideLayouts/slideLayout563.xml" ContentType="application/vnd.openxmlformats-officedocument.presentationml.slideLayout+xml"/>
  <Override PartName="/ppt/slideLayouts/slideLayout564.xml" ContentType="application/vnd.openxmlformats-officedocument.presentationml.slideLayout+xml"/>
  <Override PartName="/ppt/slideLayouts/slideLayout565.xml" ContentType="application/vnd.openxmlformats-officedocument.presentationml.slideLayout+xml"/>
  <Override PartName="/ppt/slideLayouts/slideLayout566.xml" ContentType="application/vnd.openxmlformats-officedocument.presentationml.slideLayout+xml"/>
  <Override PartName="/ppt/slideLayouts/slideLayout567.xml" ContentType="application/vnd.openxmlformats-officedocument.presentationml.slideLayout+xml"/>
  <Override PartName="/ppt/theme/theme83.xml" ContentType="application/vnd.openxmlformats-officedocument.theme+xml"/>
  <Override PartName="/ppt/slideLayouts/slideLayout568.xml" ContentType="application/vnd.openxmlformats-officedocument.presentationml.slideLayout+xml"/>
  <Override PartName="/ppt/slideLayouts/slideLayout569.xml" ContentType="application/vnd.openxmlformats-officedocument.presentationml.slideLayout+xml"/>
  <Override PartName="/ppt/slideLayouts/slideLayout570.xml" ContentType="application/vnd.openxmlformats-officedocument.presentationml.slideLayout+xml"/>
  <Override PartName="/ppt/slideLayouts/slideLayout571.xml" ContentType="application/vnd.openxmlformats-officedocument.presentationml.slideLayout+xml"/>
  <Override PartName="/ppt/slideLayouts/slideLayout572.xml" ContentType="application/vnd.openxmlformats-officedocument.presentationml.slideLayout+xml"/>
  <Override PartName="/ppt/slideLayouts/slideLayout573.xml" ContentType="application/vnd.openxmlformats-officedocument.presentationml.slideLayout+xml"/>
  <Override PartName="/ppt/slideLayouts/slideLayout574.xml" ContentType="application/vnd.openxmlformats-officedocument.presentationml.slideLayout+xml"/>
  <Override PartName="/ppt/slideLayouts/slideLayout575.xml" ContentType="application/vnd.openxmlformats-officedocument.presentationml.slideLayout+xml"/>
  <Override PartName="/ppt/theme/theme84.xml" ContentType="application/vnd.openxmlformats-officedocument.theme+xml"/>
  <Override PartName="/ppt/tags/tag103.xml" ContentType="application/vnd.openxmlformats-officedocument.presentationml.tags+xml"/>
  <Override PartName="/ppt/slideLayouts/slideLayout576.xml" ContentType="application/vnd.openxmlformats-officedocument.presentationml.slideLayout+xml"/>
  <Override PartName="/ppt/slideLayouts/slideLayout577.xml" ContentType="application/vnd.openxmlformats-officedocument.presentationml.slideLayout+xml"/>
  <Override PartName="/ppt/slideLayouts/slideLayout578.xml" ContentType="application/vnd.openxmlformats-officedocument.presentationml.slideLayout+xml"/>
  <Override PartName="/ppt/slideLayouts/slideLayout579.xml" ContentType="application/vnd.openxmlformats-officedocument.presentationml.slideLayout+xml"/>
  <Override PartName="/ppt/slideLayouts/slideLayout580.xml" ContentType="application/vnd.openxmlformats-officedocument.presentationml.slideLayout+xml"/>
  <Override PartName="/ppt/slideLayouts/slideLayout581.xml" ContentType="application/vnd.openxmlformats-officedocument.presentationml.slideLayout+xml"/>
  <Override PartName="/ppt/slideLayouts/slideLayout582.xml" ContentType="application/vnd.openxmlformats-officedocument.presentationml.slideLayout+xml"/>
  <Override PartName="/ppt/slideLayouts/slideLayout583.xml" ContentType="application/vnd.openxmlformats-officedocument.presentationml.slideLayout+xml"/>
  <Override PartName="/ppt/slideLayouts/slideLayout584.xml" ContentType="application/vnd.openxmlformats-officedocument.presentationml.slideLayout+xml"/>
  <Override PartName="/ppt/slideLayouts/slideLayout585.xml" ContentType="application/vnd.openxmlformats-officedocument.presentationml.slideLayout+xml"/>
  <Override PartName="/ppt/theme/theme85.xml" ContentType="application/vnd.openxmlformats-officedocument.theme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slideLayouts/slideLayout586.xml" ContentType="application/vnd.openxmlformats-officedocument.presentationml.slideLayout+xml"/>
  <Override PartName="/ppt/slideLayouts/slideLayout587.xml" ContentType="application/vnd.openxmlformats-officedocument.presentationml.slideLayout+xml"/>
  <Override PartName="/ppt/slideLayouts/slideLayout588.xml" ContentType="application/vnd.openxmlformats-officedocument.presentationml.slideLayout+xml"/>
  <Override PartName="/ppt/slideLayouts/slideLayout589.xml" ContentType="application/vnd.openxmlformats-officedocument.presentationml.slideLayout+xml"/>
  <Override PartName="/ppt/slideLayouts/slideLayout590.xml" ContentType="application/vnd.openxmlformats-officedocument.presentationml.slideLayout+xml"/>
  <Override PartName="/ppt/slideLayouts/slideLayout591.xml" ContentType="application/vnd.openxmlformats-officedocument.presentationml.slideLayout+xml"/>
  <Override PartName="/ppt/slideLayouts/slideLayout592.xml" ContentType="application/vnd.openxmlformats-officedocument.presentationml.slideLayout+xml"/>
  <Override PartName="/ppt/slideLayouts/slideLayout593.xml" ContentType="application/vnd.openxmlformats-officedocument.presentationml.slideLayout+xml"/>
  <Override PartName="/ppt/theme/theme86.xml" ContentType="application/vnd.openxmlformats-officedocument.theme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slideLayouts/slideLayout594.xml" ContentType="application/vnd.openxmlformats-officedocument.presentationml.slideLayout+xml"/>
  <Override PartName="/ppt/slideLayouts/slideLayout595.xml" ContentType="application/vnd.openxmlformats-officedocument.presentationml.slideLayout+xml"/>
  <Override PartName="/ppt/slideLayouts/slideLayout596.xml" ContentType="application/vnd.openxmlformats-officedocument.presentationml.slideLayout+xml"/>
  <Override PartName="/ppt/slideLayouts/slideLayout597.xml" ContentType="application/vnd.openxmlformats-officedocument.presentationml.slideLayout+xml"/>
  <Override PartName="/ppt/slideLayouts/slideLayout598.xml" ContentType="application/vnd.openxmlformats-officedocument.presentationml.slideLayout+xml"/>
  <Override PartName="/ppt/slideLayouts/slideLayout599.xml" ContentType="application/vnd.openxmlformats-officedocument.presentationml.slideLayout+xml"/>
  <Override PartName="/ppt/slideLayouts/slideLayout600.xml" ContentType="application/vnd.openxmlformats-officedocument.presentationml.slideLayout+xml"/>
  <Override PartName="/ppt/slideLayouts/slideLayout601.xml" ContentType="application/vnd.openxmlformats-officedocument.presentationml.slideLayout+xml"/>
  <Override PartName="/ppt/theme/theme87.xml" ContentType="application/vnd.openxmlformats-officedocument.theme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slideLayouts/slideLayout602.xml" ContentType="application/vnd.openxmlformats-officedocument.presentationml.slideLayout+xml"/>
  <Override PartName="/ppt/slideLayouts/slideLayout603.xml" ContentType="application/vnd.openxmlformats-officedocument.presentationml.slideLayout+xml"/>
  <Override PartName="/ppt/slideLayouts/slideLayout604.xml" ContentType="application/vnd.openxmlformats-officedocument.presentationml.slideLayout+xml"/>
  <Override PartName="/ppt/slideLayouts/slideLayout605.xml" ContentType="application/vnd.openxmlformats-officedocument.presentationml.slideLayout+xml"/>
  <Override PartName="/ppt/slideLayouts/slideLayout606.xml" ContentType="application/vnd.openxmlformats-officedocument.presentationml.slideLayout+xml"/>
  <Override PartName="/ppt/slideLayouts/slideLayout607.xml" ContentType="application/vnd.openxmlformats-officedocument.presentationml.slideLayout+xml"/>
  <Override PartName="/ppt/slideLayouts/slideLayout608.xml" ContentType="application/vnd.openxmlformats-officedocument.presentationml.slideLayout+xml"/>
  <Override PartName="/ppt/slideLayouts/slideLayout609.xml" ContentType="application/vnd.openxmlformats-officedocument.presentationml.slideLayout+xml"/>
  <Override PartName="/ppt/theme/theme88.xml" ContentType="application/vnd.openxmlformats-officedocument.theme+xml"/>
  <Override PartName="/ppt/tags/tag117.xml" ContentType="application/vnd.openxmlformats-officedocument.presentationml.tags+xml"/>
  <Override PartName="/ppt/slideLayouts/slideLayout610.xml" ContentType="application/vnd.openxmlformats-officedocument.presentationml.slideLayout+xml"/>
  <Override PartName="/ppt/slideLayouts/slideLayout611.xml" ContentType="application/vnd.openxmlformats-officedocument.presentationml.slideLayout+xml"/>
  <Override PartName="/ppt/slideLayouts/slideLayout612.xml" ContentType="application/vnd.openxmlformats-officedocument.presentationml.slideLayout+xml"/>
  <Override PartName="/ppt/slideLayouts/slideLayout613.xml" ContentType="application/vnd.openxmlformats-officedocument.presentationml.slideLayout+xml"/>
  <Override PartName="/ppt/slideLayouts/slideLayout614.xml" ContentType="application/vnd.openxmlformats-officedocument.presentationml.slideLayout+xml"/>
  <Override PartName="/ppt/slideLayouts/slideLayout615.xml" ContentType="application/vnd.openxmlformats-officedocument.presentationml.slideLayout+xml"/>
  <Override PartName="/ppt/slideLayouts/slideLayout616.xml" ContentType="application/vnd.openxmlformats-officedocument.presentationml.slideLayout+xml"/>
  <Override PartName="/ppt/slideLayouts/slideLayout617.xml" ContentType="application/vnd.openxmlformats-officedocument.presentationml.slideLayout+xml"/>
  <Override PartName="/ppt/theme/theme89.xml" ContentType="application/vnd.openxmlformats-officedocument.theme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slideLayouts/slideLayout618.xml" ContentType="application/vnd.openxmlformats-officedocument.presentationml.slideLayout+xml"/>
  <Override PartName="/ppt/slideLayouts/slideLayout619.xml" ContentType="application/vnd.openxmlformats-officedocument.presentationml.slideLayout+xml"/>
  <Override PartName="/ppt/slideLayouts/slideLayout620.xml" ContentType="application/vnd.openxmlformats-officedocument.presentationml.slideLayout+xml"/>
  <Override PartName="/ppt/slideLayouts/slideLayout621.xml" ContentType="application/vnd.openxmlformats-officedocument.presentationml.slideLayout+xml"/>
  <Override PartName="/ppt/slideLayouts/slideLayout622.xml" ContentType="application/vnd.openxmlformats-officedocument.presentationml.slideLayout+xml"/>
  <Override PartName="/ppt/slideLayouts/slideLayout623.xml" ContentType="application/vnd.openxmlformats-officedocument.presentationml.slideLayout+xml"/>
  <Override PartName="/ppt/slideLayouts/slideLayout624.xml" ContentType="application/vnd.openxmlformats-officedocument.presentationml.slideLayout+xml"/>
  <Override PartName="/ppt/slideLayouts/slideLayout625.xml" ContentType="application/vnd.openxmlformats-officedocument.presentationml.slideLayout+xml"/>
  <Override PartName="/ppt/theme/theme90.xml" ContentType="application/vnd.openxmlformats-officedocument.theme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slideLayouts/slideLayout626.xml" ContentType="application/vnd.openxmlformats-officedocument.presentationml.slideLayout+xml"/>
  <Override PartName="/ppt/slideLayouts/slideLayout627.xml" ContentType="application/vnd.openxmlformats-officedocument.presentationml.slideLayout+xml"/>
  <Override PartName="/ppt/slideLayouts/slideLayout628.xml" ContentType="application/vnd.openxmlformats-officedocument.presentationml.slideLayout+xml"/>
  <Override PartName="/ppt/slideLayouts/slideLayout629.xml" ContentType="application/vnd.openxmlformats-officedocument.presentationml.slideLayout+xml"/>
  <Override PartName="/ppt/slideLayouts/slideLayout630.xml" ContentType="application/vnd.openxmlformats-officedocument.presentationml.slideLayout+xml"/>
  <Override PartName="/ppt/slideLayouts/slideLayout631.xml" ContentType="application/vnd.openxmlformats-officedocument.presentationml.slideLayout+xml"/>
  <Override PartName="/ppt/slideLayouts/slideLayout632.xml" ContentType="application/vnd.openxmlformats-officedocument.presentationml.slideLayout+xml"/>
  <Override PartName="/ppt/slideLayouts/slideLayout633.xml" ContentType="application/vnd.openxmlformats-officedocument.presentationml.slideLayout+xml"/>
  <Override PartName="/ppt/theme/theme91.xml" ContentType="application/vnd.openxmlformats-officedocument.theme+xml"/>
  <Override PartName="/ppt/tags/tag126.xml" ContentType="application/vnd.openxmlformats-officedocument.presentationml.tags+xml"/>
  <Override PartName="/ppt/slideLayouts/slideLayout634.xml" ContentType="application/vnd.openxmlformats-officedocument.presentationml.slideLayout+xml"/>
  <Override PartName="/ppt/slideLayouts/slideLayout635.xml" ContentType="application/vnd.openxmlformats-officedocument.presentationml.slideLayout+xml"/>
  <Override PartName="/ppt/slideLayouts/slideLayout636.xml" ContentType="application/vnd.openxmlformats-officedocument.presentationml.slideLayout+xml"/>
  <Override PartName="/ppt/slideLayouts/slideLayout637.xml" ContentType="application/vnd.openxmlformats-officedocument.presentationml.slideLayout+xml"/>
  <Override PartName="/ppt/theme/theme92.xml" ContentType="application/vnd.openxmlformats-officedocument.theme+xml"/>
  <Override PartName="/ppt/slideLayouts/slideLayout638.xml" ContentType="application/vnd.openxmlformats-officedocument.presentationml.slideLayout+xml"/>
  <Override PartName="/ppt/slideLayouts/slideLayout639.xml" ContentType="application/vnd.openxmlformats-officedocument.presentationml.slideLayout+xml"/>
  <Override PartName="/ppt/slideLayouts/slideLayout640.xml" ContentType="application/vnd.openxmlformats-officedocument.presentationml.slideLayout+xml"/>
  <Override PartName="/ppt/slideLayouts/slideLayout641.xml" ContentType="application/vnd.openxmlformats-officedocument.presentationml.slideLayout+xml"/>
  <Override PartName="/ppt/theme/theme93.xml" ContentType="application/vnd.openxmlformats-officedocument.theme+xml"/>
  <Override PartName="/ppt/slideLayouts/slideLayout642.xml" ContentType="application/vnd.openxmlformats-officedocument.presentationml.slideLayout+xml"/>
  <Override PartName="/ppt/slideLayouts/slideLayout643.xml" ContentType="application/vnd.openxmlformats-officedocument.presentationml.slideLayout+xml"/>
  <Override PartName="/ppt/slideLayouts/slideLayout644.xml" ContentType="application/vnd.openxmlformats-officedocument.presentationml.slideLayout+xml"/>
  <Override PartName="/ppt/slideLayouts/slideLayout645.xml" ContentType="application/vnd.openxmlformats-officedocument.presentationml.slideLayout+xml"/>
  <Override PartName="/ppt/theme/theme94.xml" ContentType="application/vnd.openxmlformats-officedocument.theme+xml"/>
  <Override PartName="/ppt/slideLayouts/slideLayout646.xml" ContentType="application/vnd.openxmlformats-officedocument.presentationml.slideLayout+xml"/>
  <Override PartName="/ppt/slideLayouts/slideLayout647.xml" ContentType="application/vnd.openxmlformats-officedocument.presentationml.slideLayout+xml"/>
  <Override PartName="/ppt/slideLayouts/slideLayout648.xml" ContentType="application/vnd.openxmlformats-officedocument.presentationml.slideLayout+xml"/>
  <Override PartName="/ppt/slideLayouts/slideLayout649.xml" ContentType="application/vnd.openxmlformats-officedocument.presentationml.slideLayout+xml"/>
  <Override PartName="/ppt/theme/theme95.xml" ContentType="application/vnd.openxmlformats-officedocument.theme+xml"/>
  <Override PartName="/ppt/slideLayouts/slideLayout650.xml" ContentType="application/vnd.openxmlformats-officedocument.presentationml.slideLayout+xml"/>
  <Override PartName="/ppt/slideLayouts/slideLayout651.xml" ContentType="application/vnd.openxmlformats-officedocument.presentationml.slideLayout+xml"/>
  <Override PartName="/ppt/slideLayouts/slideLayout652.xml" ContentType="application/vnd.openxmlformats-officedocument.presentationml.slideLayout+xml"/>
  <Override PartName="/ppt/slideLayouts/slideLayout653.xml" ContentType="application/vnd.openxmlformats-officedocument.presentationml.slideLayout+xml"/>
  <Override PartName="/ppt/slideLayouts/slideLayout654.xml" ContentType="application/vnd.openxmlformats-officedocument.presentationml.slideLayout+xml"/>
  <Override PartName="/ppt/slideLayouts/slideLayout655.xml" ContentType="application/vnd.openxmlformats-officedocument.presentationml.slideLayout+xml"/>
  <Override PartName="/ppt/slideLayouts/slideLayout656.xml" ContentType="application/vnd.openxmlformats-officedocument.presentationml.slideLayout+xml"/>
  <Override PartName="/ppt/slideLayouts/slideLayout657.xml" ContentType="application/vnd.openxmlformats-officedocument.presentationml.slideLayout+xml"/>
  <Override PartName="/ppt/slideLayouts/slideLayout658.xml" ContentType="application/vnd.openxmlformats-officedocument.presentationml.slideLayout+xml"/>
  <Override PartName="/ppt/slideLayouts/slideLayout659.xml" ContentType="application/vnd.openxmlformats-officedocument.presentationml.slideLayout+xml"/>
  <Override PartName="/ppt/slideLayouts/slideLayout660.xml" ContentType="application/vnd.openxmlformats-officedocument.presentationml.slideLayout+xml"/>
  <Override PartName="/ppt/theme/theme96.xml" ContentType="application/vnd.openxmlformats-officedocument.theme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slideLayouts/slideLayout661.xml" ContentType="application/vnd.openxmlformats-officedocument.presentationml.slideLayout+xml"/>
  <Override PartName="/ppt/slideLayouts/slideLayout662.xml" ContentType="application/vnd.openxmlformats-officedocument.presentationml.slideLayout+xml"/>
  <Override PartName="/ppt/slideLayouts/slideLayout663.xml" ContentType="application/vnd.openxmlformats-officedocument.presentationml.slideLayout+xml"/>
  <Override PartName="/ppt/slideLayouts/slideLayout664.xml" ContentType="application/vnd.openxmlformats-officedocument.presentationml.slideLayout+xml"/>
  <Override PartName="/ppt/theme/theme97.xml" ContentType="application/vnd.openxmlformats-officedocument.theme+xml"/>
  <Override PartName="/ppt/slideLayouts/slideLayout665.xml" ContentType="application/vnd.openxmlformats-officedocument.presentationml.slideLayout+xml"/>
  <Override PartName="/ppt/slideLayouts/slideLayout666.xml" ContentType="application/vnd.openxmlformats-officedocument.presentationml.slideLayout+xml"/>
  <Override PartName="/ppt/slideLayouts/slideLayout667.xml" ContentType="application/vnd.openxmlformats-officedocument.presentationml.slideLayout+xml"/>
  <Override PartName="/ppt/slideLayouts/slideLayout668.xml" ContentType="application/vnd.openxmlformats-officedocument.presentationml.slideLayout+xml"/>
  <Override PartName="/ppt/slideLayouts/slideLayout669.xml" ContentType="application/vnd.openxmlformats-officedocument.presentationml.slideLayout+xml"/>
  <Override PartName="/ppt/slideLayouts/slideLayout670.xml" ContentType="application/vnd.openxmlformats-officedocument.presentationml.slideLayout+xml"/>
  <Override PartName="/ppt/slideLayouts/slideLayout671.xml" ContentType="application/vnd.openxmlformats-officedocument.presentationml.slideLayout+xml"/>
  <Override PartName="/ppt/slideLayouts/slideLayout672.xml" ContentType="application/vnd.openxmlformats-officedocument.presentationml.slideLayout+xml"/>
  <Override PartName="/ppt/theme/theme98.xml" ContentType="application/vnd.openxmlformats-officedocument.theme+xml"/>
  <Override PartName="/ppt/slideLayouts/slideLayout673.xml" ContentType="application/vnd.openxmlformats-officedocument.presentationml.slideLayout+xml"/>
  <Override PartName="/ppt/slideLayouts/slideLayout674.xml" ContentType="application/vnd.openxmlformats-officedocument.presentationml.slideLayout+xml"/>
  <Override PartName="/ppt/slideLayouts/slideLayout675.xml" ContentType="application/vnd.openxmlformats-officedocument.presentationml.slideLayout+xml"/>
  <Override PartName="/ppt/slideLayouts/slideLayout676.xml" ContentType="application/vnd.openxmlformats-officedocument.presentationml.slideLayout+xml"/>
  <Override PartName="/ppt/slideLayouts/slideLayout677.xml" ContentType="application/vnd.openxmlformats-officedocument.presentationml.slideLayout+xml"/>
  <Override PartName="/ppt/slideLayouts/slideLayout678.xml" ContentType="application/vnd.openxmlformats-officedocument.presentationml.slideLayout+xml"/>
  <Override PartName="/ppt/slideLayouts/slideLayout679.xml" ContentType="application/vnd.openxmlformats-officedocument.presentationml.slideLayout+xml"/>
  <Override PartName="/ppt/slideLayouts/slideLayout680.xml" ContentType="application/vnd.openxmlformats-officedocument.presentationml.slideLayout+xml"/>
  <Override PartName="/ppt/slideLayouts/slideLayout681.xml" ContentType="application/vnd.openxmlformats-officedocument.presentationml.slideLayout+xml"/>
  <Override PartName="/ppt/slideLayouts/slideLayout682.xml" ContentType="application/vnd.openxmlformats-officedocument.presentationml.slideLayout+xml"/>
  <Override PartName="/ppt/theme/theme99.xml" ContentType="application/vnd.openxmlformats-officedocument.theme+xml"/>
  <Override PartName="/ppt/slideLayouts/slideLayout683.xml" ContentType="application/vnd.openxmlformats-officedocument.presentationml.slideLayout+xml"/>
  <Override PartName="/ppt/slideLayouts/slideLayout684.xml" ContentType="application/vnd.openxmlformats-officedocument.presentationml.slideLayout+xml"/>
  <Override PartName="/ppt/slideLayouts/slideLayout685.xml" ContentType="application/vnd.openxmlformats-officedocument.presentationml.slideLayout+xml"/>
  <Override PartName="/ppt/slideLayouts/slideLayout686.xml" ContentType="application/vnd.openxmlformats-officedocument.presentationml.slideLayout+xml"/>
  <Override PartName="/ppt/slideLayouts/slideLayout687.xml" ContentType="application/vnd.openxmlformats-officedocument.presentationml.slideLayout+xml"/>
  <Override PartName="/ppt/slideLayouts/slideLayout688.xml" ContentType="application/vnd.openxmlformats-officedocument.presentationml.slideLayout+xml"/>
  <Override PartName="/ppt/slideLayouts/slideLayout689.xml" ContentType="application/vnd.openxmlformats-officedocument.presentationml.slideLayout+xml"/>
  <Override PartName="/ppt/slideLayouts/slideLayout690.xml" ContentType="application/vnd.openxmlformats-officedocument.presentationml.slideLayout+xml"/>
  <Override PartName="/ppt/theme/theme100.xml" ContentType="application/vnd.openxmlformats-officedocument.theme+xml"/>
  <Override PartName="/ppt/slideLayouts/slideLayout691.xml" ContentType="application/vnd.openxmlformats-officedocument.presentationml.slideLayout+xml"/>
  <Override PartName="/ppt/slideLayouts/slideLayout692.xml" ContentType="application/vnd.openxmlformats-officedocument.presentationml.slideLayout+xml"/>
  <Override PartName="/ppt/theme/theme101.xml" ContentType="application/vnd.openxmlformats-officedocument.theme+xml"/>
  <Override PartName="/ppt/tags/tag129.xml" ContentType="application/vnd.openxmlformats-officedocument.presentationml.tags+xml"/>
  <Override PartName="/ppt/slideLayouts/slideLayout693.xml" ContentType="application/vnd.openxmlformats-officedocument.presentationml.slideLayout+xml"/>
  <Override PartName="/ppt/slideLayouts/slideLayout694.xml" ContentType="application/vnd.openxmlformats-officedocument.presentationml.slideLayout+xml"/>
  <Override PartName="/ppt/slideLayouts/slideLayout695.xml" ContentType="application/vnd.openxmlformats-officedocument.presentationml.slideLayout+xml"/>
  <Override PartName="/ppt/slideLayouts/slideLayout696.xml" ContentType="application/vnd.openxmlformats-officedocument.presentationml.slideLayout+xml"/>
  <Override PartName="/ppt/slideLayouts/slideLayout697.xml" ContentType="application/vnd.openxmlformats-officedocument.presentationml.slideLayout+xml"/>
  <Override PartName="/ppt/slideLayouts/slideLayout698.xml" ContentType="application/vnd.openxmlformats-officedocument.presentationml.slideLayout+xml"/>
  <Override PartName="/ppt/slideLayouts/slideLayout699.xml" ContentType="application/vnd.openxmlformats-officedocument.presentationml.slideLayout+xml"/>
  <Override PartName="/ppt/slideLayouts/slideLayout700.xml" ContentType="application/vnd.openxmlformats-officedocument.presentationml.slideLayout+xml"/>
  <Override PartName="/ppt/theme/theme102.xml" ContentType="application/vnd.openxmlformats-officedocument.theme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slideLayouts/slideLayout701.xml" ContentType="application/vnd.openxmlformats-officedocument.presentationml.slideLayout+xml"/>
  <Override PartName="/ppt/slideLayouts/slideLayout702.xml" ContentType="application/vnd.openxmlformats-officedocument.presentationml.slideLayout+xml"/>
  <Override PartName="/ppt/slideLayouts/slideLayout703.xml" ContentType="application/vnd.openxmlformats-officedocument.presentationml.slideLayout+xml"/>
  <Override PartName="/ppt/slideLayouts/slideLayout704.xml" ContentType="application/vnd.openxmlformats-officedocument.presentationml.slideLayout+xml"/>
  <Override PartName="/ppt/slideLayouts/slideLayout705.xml" ContentType="application/vnd.openxmlformats-officedocument.presentationml.slideLayout+xml"/>
  <Override PartName="/ppt/slideLayouts/slideLayout706.xml" ContentType="application/vnd.openxmlformats-officedocument.presentationml.slideLayout+xml"/>
  <Override PartName="/ppt/slideLayouts/slideLayout707.xml" ContentType="application/vnd.openxmlformats-officedocument.presentationml.slideLayout+xml"/>
  <Override PartName="/ppt/slideLayouts/slideLayout708.xml" ContentType="application/vnd.openxmlformats-officedocument.presentationml.slideLayout+xml"/>
  <Override PartName="/ppt/theme/theme103.xml" ContentType="application/vnd.openxmlformats-officedocument.theme+xml"/>
  <Override PartName="/ppt/slideLayouts/slideLayout709.xml" ContentType="application/vnd.openxmlformats-officedocument.presentationml.slideLayout+xml"/>
  <Override PartName="/ppt/slideLayouts/slideLayout710.xml" ContentType="application/vnd.openxmlformats-officedocument.presentationml.slideLayout+xml"/>
  <Override PartName="/ppt/slideLayouts/slideLayout711.xml" ContentType="application/vnd.openxmlformats-officedocument.presentationml.slideLayout+xml"/>
  <Override PartName="/ppt/slideLayouts/slideLayout712.xml" ContentType="application/vnd.openxmlformats-officedocument.presentationml.slideLayout+xml"/>
  <Override PartName="/ppt/slideLayouts/slideLayout713.xml" ContentType="application/vnd.openxmlformats-officedocument.presentationml.slideLayout+xml"/>
  <Override PartName="/ppt/slideLayouts/slideLayout714.xml" ContentType="application/vnd.openxmlformats-officedocument.presentationml.slideLayout+xml"/>
  <Override PartName="/ppt/slideLayouts/slideLayout715.xml" ContentType="application/vnd.openxmlformats-officedocument.presentationml.slideLayout+xml"/>
  <Override PartName="/ppt/slideLayouts/slideLayout716.xml" ContentType="application/vnd.openxmlformats-officedocument.presentationml.slideLayout+xml"/>
  <Override PartName="/ppt/theme/theme104.xml" ContentType="application/vnd.openxmlformats-officedocument.theme+xml"/>
  <Override PartName="/ppt/slideLayouts/slideLayout717.xml" ContentType="application/vnd.openxmlformats-officedocument.presentationml.slideLayout+xml"/>
  <Override PartName="/ppt/slideLayouts/slideLayout718.xml" ContentType="application/vnd.openxmlformats-officedocument.presentationml.slideLayout+xml"/>
  <Override PartName="/ppt/slideLayouts/slideLayout719.xml" ContentType="application/vnd.openxmlformats-officedocument.presentationml.slideLayout+xml"/>
  <Override PartName="/ppt/slideLayouts/slideLayout720.xml" ContentType="application/vnd.openxmlformats-officedocument.presentationml.slideLayout+xml"/>
  <Override PartName="/ppt/slideLayouts/slideLayout721.xml" ContentType="application/vnd.openxmlformats-officedocument.presentationml.slideLayout+xml"/>
  <Override PartName="/ppt/slideLayouts/slideLayout722.xml" ContentType="application/vnd.openxmlformats-officedocument.presentationml.slideLayout+xml"/>
  <Override PartName="/ppt/slideLayouts/slideLayout723.xml" ContentType="application/vnd.openxmlformats-officedocument.presentationml.slideLayout+xml"/>
  <Override PartName="/ppt/slideLayouts/slideLayout724.xml" ContentType="application/vnd.openxmlformats-officedocument.presentationml.slideLayout+xml"/>
  <Override PartName="/ppt/theme/theme105.xml" ContentType="application/vnd.openxmlformats-officedocument.theme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slideLayouts/slideLayout725.xml" ContentType="application/vnd.openxmlformats-officedocument.presentationml.slideLayout+xml"/>
  <Override PartName="/ppt/slideLayouts/slideLayout726.xml" ContentType="application/vnd.openxmlformats-officedocument.presentationml.slideLayout+xml"/>
  <Override PartName="/ppt/slideLayouts/slideLayout727.xml" ContentType="application/vnd.openxmlformats-officedocument.presentationml.slideLayout+xml"/>
  <Override PartName="/ppt/slideLayouts/slideLayout728.xml" ContentType="application/vnd.openxmlformats-officedocument.presentationml.slideLayout+xml"/>
  <Override PartName="/ppt/theme/theme106.xml" ContentType="application/vnd.openxmlformats-officedocument.theme+xml"/>
  <Override PartName="/ppt/slideLayouts/slideLayout729.xml" ContentType="application/vnd.openxmlformats-officedocument.presentationml.slideLayout+xml"/>
  <Override PartName="/ppt/slideLayouts/slideLayout730.xml" ContentType="application/vnd.openxmlformats-officedocument.presentationml.slideLayout+xml"/>
  <Override PartName="/ppt/slideLayouts/slideLayout731.xml" ContentType="application/vnd.openxmlformats-officedocument.presentationml.slideLayout+xml"/>
  <Override PartName="/ppt/slideLayouts/slideLayout732.xml" ContentType="application/vnd.openxmlformats-officedocument.presentationml.slideLayout+xml"/>
  <Override PartName="/ppt/slideLayouts/slideLayout733.xml" ContentType="application/vnd.openxmlformats-officedocument.presentationml.slideLayout+xml"/>
  <Override PartName="/ppt/slideLayouts/slideLayout734.xml" ContentType="application/vnd.openxmlformats-officedocument.presentationml.slideLayout+xml"/>
  <Override PartName="/ppt/slideLayouts/slideLayout735.xml" ContentType="application/vnd.openxmlformats-officedocument.presentationml.slideLayout+xml"/>
  <Override PartName="/ppt/slideLayouts/slideLayout736.xml" ContentType="application/vnd.openxmlformats-officedocument.presentationml.slideLayout+xml"/>
  <Override PartName="/ppt/theme/theme107.xml" ContentType="application/vnd.openxmlformats-officedocument.theme+xml"/>
  <Override PartName="/ppt/slideLayouts/slideLayout737.xml" ContentType="application/vnd.openxmlformats-officedocument.presentationml.slideLayout+xml"/>
  <Override PartName="/ppt/slideLayouts/slideLayout738.xml" ContentType="application/vnd.openxmlformats-officedocument.presentationml.slideLayout+xml"/>
  <Override PartName="/ppt/slideLayouts/slideLayout739.xml" ContentType="application/vnd.openxmlformats-officedocument.presentationml.slideLayout+xml"/>
  <Override PartName="/ppt/slideLayouts/slideLayout740.xml" ContentType="application/vnd.openxmlformats-officedocument.presentationml.slideLayout+xml"/>
  <Override PartName="/ppt/slideLayouts/slideLayout741.xml" ContentType="application/vnd.openxmlformats-officedocument.presentationml.slideLayout+xml"/>
  <Override PartName="/ppt/slideLayouts/slideLayout742.xml" ContentType="application/vnd.openxmlformats-officedocument.presentationml.slideLayout+xml"/>
  <Override PartName="/ppt/slideLayouts/slideLayout743.xml" ContentType="application/vnd.openxmlformats-officedocument.presentationml.slideLayout+xml"/>
  <Override PartName="/ppt/slideLayouts/slideLayout744.xml" ContentType="application/vnd.openxmlformats-officedocument.presentationml.slideLayout+xml"/>
  <Override PartName="/ppt/slideLayouts/slideLayout745.xml" ContentType="application/vnd.openxmlformats-officedocument.presentationml.slideLayout+xml"/>
  <Override PartName="/ppt/theme/theme108.xml" ContentType="application/vnd.openxmlformats-officedocument.theme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slideLayouts/slideLayout746.xml" ContentType="application/vnd.openxmlformats-officedocument.presentationml.slideLayout+xml"/>
  <Override PartName="/ppt/slideLayouts/slideLayout747.xml" ContentType="application/vnd.openxmlformats-officedocument.presentationml.slideLayout+xml"/>
  <Override PartName="/ppt/slideLayouts/slideLayout748.xml" ContentType="application/vnd.openxmlformats-officedocument.presentationml.slideLayout+xml"/>
  <Override PartName="/ppt/slideLayouts/slideLayout749.xml" ContentType="application/vnd.openxmlformats-officedocument.presentationml.slideLayout+xml"/>
  <Override PartName="/ppt/slideLayouts/slideLayout750.xml" ContentType="application/vnd.openxmlformats-officedocument.presentationml.slideLayout+xml"/>
  <Override PartName="/ppt/slideLayouts/slideLayout751.xml" ContentType="application/vnd.openxmlformats-officedocument.presentationml.slideLayout+xml"/>
  <Override PartName="/ppt/slideLayouts/slideLayout752.xml" ContentType="application/vnd.openxmlformats-officedocument.presentationml.slideLayout+xml"/>
  <Override PartName="/ppt/slideLayouts/slideLayout753.xml" ContentType="application/vnd.openxmlformats-officedocument.presentationml.slideLayout+xml"/>
  <Override PartName="/ppt/slideLayouts/slideLayout754.xml" ContentType="application/vnd.openxmlformats-officedocument.presentationml.slideLayout+xml"/>
  <Override PartName="/ppt/slideLayouts/slideLayout755.xml" ContentType="application/vnd.openxmlformats-officedocument.presentationml.slideLayout+xml"/>
  <Override PartName="/ppt/theme/theme109.xml" ContentType="application/vnd.openxmlformats-officedocument.theme+xml"/>
  <Override PartName="/ppt/slideLayouts/slideLayout756.xml" ContentType="application/vnd.openxmlformats-officedocument.presentationml.slideLayout+xml"/>
  <Override PartName="/ppt/slideLayouts/slideLayout757.xml" ContentType="application/vnd.openxmlformats-officedocument.presentationml.slideLayout+xml"/>
  <Override PartName="/ppt/slideLayouts/slideLayout758.xml" ContentType="application/vnd.openxmlformats-officedocument.presentationml.slideLayout+xml"/>
  <Override PartName="/ppt/slideLayouts/slideLayout759.xml" ContentType="application/vnd.openxmlformats-officedocument.presentationml.slideLayout+xml"/>
  <Override PartName="/ppt/slideLayouts/slideLayout760.xml" ContentType="application/vnd.openxmlformats-officedocument.presentationml.slideLayout+xml"/>
  <Override PartName="/ppt/slideLayouts/slideLayout761.xml" ContentType="application/vnd.openxmlformats-officedocument.presentationml.slideLayout+xml"/>
  <Override PartName="/ppt/slideLayouts/slideLayout762.xml" ContentType="application/vnd.openxmlformats-officedocument.presentationml.slideLayout+xml"/>
  <Override PartName="/ppt/slideLayouts/slideLayout763.xml" ContentType="application/vnd.openxmlformats-officedocument.presentationml.slideLayout+xml"/>
  <Override PartName="/ppt/theme/theme110.xml" ContentType="application/vnd.openxmlformats-officedocument.theme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slideLayouts/slideLayout764.xml" ContentType="application/vnd.openxmlformats-officedocument.presentationml.slideLayout+xml"/>
  <Override PartName="/ppt/slideLayouts/slideLayout765.xml" ContentType="application/vnd.openxmlformats-officedocument.presentationml.slideLayout+xml"/>
  <Override PartName="/ppt/slideLayouts/slideLayout766.xml" ContentType="application/vnd.openxmlformats-officedocument.presentationml.slideLayout+xml"/>
  <Override PartName="/ppt/slideLayouts/slideLayout767.xml" ContentType="application/vnd.openxmlformats-officedocument.presentationml.slideLayout+xml"/>
  <Override PartName="/ppt/slideLayouts/slideLayout768.xml" ContentType="application/vnd.openxmlformats-officedocument.presentationml.slideLayout+xml"/>
  <Override PartName="/ppt/slideLayouts/slideLayout769.xml" ContentType="application/vnd.openxmlformats-officedocument.presentationml.slideLayout+xml"/>
  <Override PartName="/ppt/slideLayouts/slideLayout770.xml" ContentType="application/vnd.openxmlformats-officedocument.presentationml.slideLayout+xml"/>
  <Override PartName="/ppt/slideLayouts/slideLayout771.xml" ContentType="application/vnd.openxmlformats-officedocument.presentationml.slideLayout+xml"/>
  <Override PartName="/ppt/theme/theme111.xml" ContentType="application/vnd.openxmlformats-officedocument.theme+xml"/>
  <Override PartName="/ppt/tags/tag146.xml" ContentType="application/vnd.openxmlformats-officedocument.presentationml.tags+xml"/>
  <Override PartName="/ppt/slideLayouts/slideLayout772.xml" ContentType="application/vnd.openxmlformats-officedocument.presentationml.slideLayout+xml"/>
  <Override PartName="/ppt/slideLayouts/slideLayout773.xml" ContentType="application/vnd.openxmlformats-officedocument.presentationml.slideLayout+xml"/>
  <Override PartName="/ppt/slideLayouts/slideLayout774.xml" ContentType="application/vnd.openxmlformats-officedocument.presentationml.slideLayout+xml"/>
  <Override PartName="/ppt/slideLayouts/slideLayout775.xml" ContentType="application/vnd.openxmlformats-officedocument.presentationml.slideLayout+xml"/>
  <Override PartName="/ppt/slideLayouts/slideLayout776.xml" ContentType="application/vnd.openxmlformats-officedocument.presentationml.slideLayout+xml"/>
  <Override PartName="/ppt/slideLayouts/slideLayout777.xml" ContentType="application/vnd.openxmlformats-officedocument.presentationml.slideLayout+xml"/>
  <Override PartName="/ppt/slideLayouts/slideLayout778.xml" ContentType="application/vnd.openxmlformats-officedocument.presentationml.slideLayout+xml"/>
  <Override PartName="/ppt/slideLayouts/slideLayout779.xml" ContentType="application/vnd.openxmlformats-officedocument.presentationml.slideLayout+xml"/>
  <Override PartName="/ppt/theme/theme112.xml" ContentType="application/vnd.openxmlformats-officedocument.theme+xml"/>
  <Override PartName="/ppt/slideLayouts/slideLayout780.xml" ContentType="application/vnd.openxmlformats-officedocument.presentationml.slideLayout+xml"/>
  <Override PartName="/ppt/slideLayouts/slideLayout781.xml" ContentType="application/vnd.openxmlformats-officedocument.presentationml.slideLayout+xml"/>
  <Override PartName="/ppt/slideLayouts/slideLayout782.xml" ContentType="application/vnd.openxmlformats-officedocument.presentationml.slideLayout+xml"/>
  <Override PartName="/ppt/slideLayouts/slideLayout783.xml" ContentType="application/vnd.openxmlformats-officedocument.presentationml.slideLayout+xml"/>
  <Override PartName="/ppt/slideLayouts/slideLayout784.xml" ContentType="application/vnd.openxmlformats-officedocument.presentationml.slideLayout+xml"/>
  <Override PartName="/ppt/slideLayouts/slideLayout785.xml" ContentType="application/vnd.openxmlformats-officedocument.presentationml.slideLayout+xml"/>
  <Override PartName="/ppt/slideLayouts/slideLayout786.xml" ContentType="application/vnd.openxmlformats-officedocument.presentationml.slideLayout+xml"/>
  <Override PartName="/ppt/slideLayouts/slideLayout787.xml" ContentType="application/vnd.openxmlformats-officedocument.presentationml.slideLayout+xml"/>
  <Override PartName="/ppt/slideLayouts/slideLayout788.xml" ContentType="application/vnd.openxmlformats-officedocument.presentationml.slideLayout+xml"/>
  <Override PartName="/ppt/slideLayouts/slideLayout789.xml" ContentType="application/vnd.openxmlformats-officedocument.presentationml.slideLayout+xml"/>
  <Override PartName="/ppt/theme/theme113.xml" ContentType="application/vnd.openxmlformats-officedocument.theme+xml"/>
  <Override PartName="/ppt/slideLayouts/slideLayout790.xml" ContentType="application/vnd.openxmlformats-officedocument.presentationml.slideLayout+xml"/>
  <Override PartName="/ppt/slideLayouts/slideLayout791.xml" ContentType="application/vnd.openxmlformats-officedocument.presentationml.slideLayout+xml"/>
  <Override PartName="/ppt/slideLayouts/slideLayout792.xml" ContentType="application/vnd.openxmlformats-officedocument.presentationml.slideLayout+xml"/>
  <Override PartName="/ppt/slideLayouts/slideLayout793.xml" ContentType="application/vnd.openxmlformats-officedocument.presentationml.slideLayout+xml"/>
  <Override PartName="/ppt/slideLayouts/slideLayout794.xml" ContentType="application/vnd.openxmlformats-officedocument.presentationml.slideLayout+xml"/>
  <Override PartName="/ppt/slideLayouts/slideLayout795.xml" ContentType="application/vnd.openxmlformats-officedocument.presentationml.slideLayout+xml"/>
  <Override PartName="/ppt/slideLayouts/slideLayout796.xml" ContentType="application/vnd.openxmlformats-officedocument.presentationml.slideLayout+xml"/>
  <Override PartName="/ppt/slideLayouts/slideLayout797.xml" ContentType="application/vnd.openxmlformats-officedocument.presentationml.slideLayout+xml"/>
  <Override PartName="/ppt/slideLayouts/slideLayout798.xml" ContentType="application/vnd.openxmlformats-officedocument.presentationml.slideLayout+xml"/>
  <Override PartName="/ppt/slideLayouts/slideLayout799.xml" ContentType="application/vnd.openxmlformats-officedocument.presentationml.slideLayout+xml"/>
  <Override PartName="/ppt/theme/theme114.xml" ContentType="application/vnd.openxmlformats-officedocument.theme+xml"/>
  <Override PartName="/ppt/slideLayouts/slideLayout800.xml" ContentType="application/vnd.openxmlformats-officedocument.presentationml.slideLayout+xml"/>
  <Override PartName="/ppt/slideLayouts/slideLayout801.xml" ContentType="application/vnd.openxmlformats-officedocument.presentationml.slideLayout+xml"/>
  <Override PartName="/ppt/slideLayouts/slideLayout802.xml" ContentType="application/vnd.openxmlformats-officedocument.presentationml.slideLayout+xml"/>
  <Override PartName="/ppt/slideLayouts/slideLayout803.xml" ContentType="application/vnd.openxmlformats-officedocument.presentationml.slideLayout+xml"/>
  <Override PartName="/ppt/slideLayouts/slideLayout804.xml" ContentType="application/vnd.openxmlformats-officedocument.presentationml.slideLayout+xml"/>
  <Override PartName="/ppt/slideLayouts/slideLayout805.xml" ContentType="application/vnd.openxmlformats-officedocument.presentationml.slideLayout+xml"/>
  <Override PartName="/ppt/slideLayouts/slideLayout806.xml" ContentType="application/vnd.openxmlformats-officedocument.presentationml.slideLayout+xml"/>
  <Override PartName="/ppt/slideLayouts/slideLayout807.xml" ContentType="application/vnd.openxmlformats-officedocument.presentationml.slideLayout+xml"/>
  <Override PartName="/ppt/theme/theme115.xml" ContentType="application/vnd.openxmlformats-officedocument.theme+xml"/>
  <Override PartName="/ppt/tags/tag147.xml" ContentType="application/vnd.openxmlformats-officedocument.presentationml.tags+xml"/>
  <Override PartName="/ppt/slideLayouts/slideLayout808.xml" ContentType="application/vnd.openxmlformats-officedocument.presentationml.slideLayout+xml"/>
  <Override PartName="/ppt/slideLayouts/slideLayout809.xml" ContentType="application/vnd.openxmlformats-officedocument.presentationml.slideLayout+xml"/>
  <Override PartName="/ppt/slideLayouts/slideLayout810.xml" ContentType="application/vnd.openxmlformats-officedocument.presentationml.slideLayout+xml"/>
  <Override PartName="/ppt/slideLayouts/slideLayout811.xml" ContentType="application/vnd.openxmlformats-officedocument.presentationml.slideLayout+xml"/>
  <Override PartName="/ppt/slideLayouts/slideLayout812.xml" ContentType="application/vnd.openxmlformats-officedocument.presentationml.slideLayout+xml"/>
  <Override PartName="/ppt/slideLayouts/slideLayout813.xml" ContentType="application/vnd.openxmlformats-officedocument.presentationml.slideLayout+xml"/>
  <Override PartName="/ppt/slideLayouts/slideLayout814.xml" ContentType="application/vnd.openxmlformats-officedocument.presentationml.slideLayout+xml"/>
  <Override PartName="/ppt/slideLayouts/slideLayout815.xml" ContentType="application/vnd.openxmlformats-officedocument.presentationml.slideLayout+xml"/>
  <Override PartName="/ppt/slideLayouts/slideLayout816.xml" ContentType="application/vnd.openxmlformats-officedocument.presentationml.slideLayout+xml"/>
  <Override PartName="/ppt/theme/theme116.xml" ContentType="application/vnd.openxmlformats-officedocument.theme+xml"/>
  <Override PartName="/ppt/slideLayouts/slideLayout817.xml" ContentType="application/vnd.openxmlformats-officedocument.presentationml.slideLayout+xml"/>
  <Override PartName="/ppt/slideLayouts/slideLayout818.xml" ContentType="application/vnd.openxmlformats-officedocument.presentationml.slideLayout+xml"/>
  <Override PartName="/ppt/slideLayouts/slideLayout819.xml" ContentType="application/vnd.openxmlformats-officedocument.presentationml.slideLayout+xml"/>
  <Override PartName="/ppt/slideLayouts/slideLayout820.xml" ContentType="application/vnd.openxmlformats-officedocument.presentationml.slideLayout+xml"/>
  <Override PartName="/ppt/slideLayouts/slideLayout821.xml" ContentType="application/vnd.openxmlformats-officedocument.presentationml.slideLayout+xml"/>
  <Override PartName="/ppt/slideLayouts/slideLayout822.xml" ContentType="application/vnd.openxmlformats-officedocument.presentationml.slideLayout+xml"/>
  <Override PartName="/ppt/slideLayouts/slideLayout823.xml" ContentType="application/vnd.openxmlformats-officedocument.presentationml.slideLayout+xml"/>
  <Override PartName="/ppt/slideLayouts/slideLayout824.xml" ContentType="application/vnd.openxmlformats-officedocument.presentationml.slideLayout+xml"/>
  <Override PartName="/ppt/slideLayouts/slideLayout825.xml" ContentType="application/vnd.openxmlformats-officedocument.presentationml.slideLayout+xml"/>
  <Override PartName="/ppt/slideLayouts/slideLayout826.xml" ContentType="application/vnd.openxmlformats-officedocument.presentationml.slideLayout+xml"/>
  <Override PartName="/ppt/slideLayouts/slideLayout827.xml" ContentType="application/vnd.openxmlformats-officedocument.presentationml.slideLayout+xml"/>
  <Override PartName="/ppt/theme/theme117.xml" ContentType="application/vnd.openxmlformats-officedocument.theme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slideLayouts/slideLayout828.xml" ContentType="application/vnd.openxmlformats-officedocument.presentationml.slideLayout+xml"/>
  <Override PartName="/ppt/slideLayouts/slideLayout829.xml" ContentType="application/vnd.openxmlformats-officedocument.presentationml.slideLayout+xml"/>
  <Override PartName="/ppt/slideLayouts/slideLayout830.xml" ContentType="application/vnd.openxmlformats-officedocument.presentationml.slideLayout+xml"/>
  <Override PartName="/ppt/slideLayouts/slideLayout831.xml" ContentType="application/vnd.openxmlformats-officedocument.presentationml.slideLayout+xml"/>
  <Override PartName="/ppt/theme/theme118.xml" ContentType="application/vnd.openxmlformats-officedocument.theme+xml"/>
  <Override PartName="/ppt/tags/tag150.xml" ContentType="application/vnd.openxmlformats-officedocument.presentationml.tags+xml"/>
  <Override PartName="/ppt/slideLayouts/slideLayout832.xml" ContentType="application/vnd.openxmlformats-officedocument.presentationml.slideLayout+xml"/>
  <Override PartName="/ppt/slideLayouts/slideLayout833.xml" ContentType="application/vnd.openxmlformats-officedocument.presentationml.slideLayout+xml"/>
  <Override PartName="/ppt/slideLayouts/slideLayout834.xml" ContentType="application/vnd.openxmlformats-officedocument.presentationml.slideLayout+xml"/>
  <Override PartName="/ppt/slideLayouts/slideLayout835.xml" ContentType="application/vnd.openxmlformats-officedocument.presentationml.slideLayout+xml"/>
  <Override PartName="/ppt/theme/theme119.xml" ContentType="application/vnd.openxmlformats-officedocument.theme+xml"/>
  <Override PartName="/ppt/slideLayouts/slideLayout836.xml" ContentType="application/vnd.openxmlformats-officedocument.presentationml.slideLayout+xml"/>
  <Override PartName="/ppt/slideLayouts/slideLayout837.xml" ContentType="application/vnd.openxmlformats-officedocument.presentationml.slideLayout+xml"/>
  <Override PartName="/ppt/slideLayouts/slideLayout838.xml" ContentType="application/vnd.openxmlformats-officedocument.presentationml.slideLayout+xml"/>
  <Override PartName="/ppt/slideLayouts/slideLayout839.xml" ContentType="application/vnd.openxmlformats-officedocument.presentationml.slideLayout+xml"/>
  <Override PartName="/ppt/theme/theme120.xml" ContentType="application/vnd.openxmlformats-officedocument.theme+xml"/>
  <Override PartName="/ppt/slideLayouts/slideLayout840.xml" ContentType="application/vnd.openxmlformats-officedocument.presentationml.slideLayout+xml"/>
  <Override PartName="/ppt/slideLayouts/slideLayout841.xml" ContentType="application/vnd.openxmlformats-officedocument.presentationml.slideLayout+xml"/>
  <Override PartName="/ppt/slideLayouts/slideLayout842.xml" ContentType="application/vnd.openxmlformats-officedocument.presentationml.slideLayout+xml"/>
  <Override PartName="/ppt/slideLayouts/slideLayout843.xml" ContentType="application/vnd.openxmlformats-officedocument.presentationml.slideLayout+xml"/>
  <Override PartName="/ppt/theme/theme121.xml" ContentType="application/vnd.openxmlformats-officedocument.theme+xml"/>
  <Override PartName="/ppt/slideLayouts/slideLayout844.xml" ContentType="application/vnd.openxmlformats-officedocument.presentationml.slideLayout+xml"/>
  <Override PartName="/ppt/slideLayouts/slideLayout845.xml" ContentType="application/vnd.openxmlformats-officedocument.presentationml.slideLayout+xml"/>
  <Override PartName="/ppt/slideLayouts/slideLayout846.xml" ContentType="application/vnd.openxmlformats-officedocument.presentationml.slideLayout+xml"/>
  <Override PartName="/ppt/slideLayouts/slideLayout847.xml" ContentType="application/vnd.openxmlformats-officedocument.presentationml.slideLayout+xml"/>
  <Override PartName="/ppt/theme/theme122.xml" ContentType="application/vnd.openxmlformats-officedocument.theme+xml"/>
  <Override PartName="/ppt/slideLayouts/slideLayout848.xml" ContentType="application/vnd.openxmlformats-officedocument.presentationml.slideLayout+xml"/>
  <Override PartName="/ppt/slideLayouts/slideLayout849.xml" ContentType="application/vnd.openxmlformats-officedocument.presentationml.slideLayout+xml"/>
  <Override PartName="/ppt/slideLayouts/slideLayout850.xml" ContentType="application/vnd.openxmlformats-officedocument.presentationml.slideLayout+xml"/>
  <Override PartName="/ppt/slideLayouts/slideLayout851.xml" ContentType="application/vnd.openxmlformats-officedocument.presentationml.slideLayout+xml"/>
  <Override PartName="/ppt/slideLayouts/slideLayout852.xml" ContentType="application/vnd.openxmlformats-officedocument.presentationml.slideLayout+xml"/>
  <Override PartName="/ppt/slideLayouts/slideLayout853.xml" ContentType="application/vnd.openxmlformats-officedocument.presentationml.slideLayout+xml"/>
  <Override PartName="/ppt/slideLayouts/slideLayout854.xml" ContentType="application/vnd.openxmlformats-officedocument.presentationml.slideLayout+xml"/>
  <Override PartName="/ppt/slideLayouts/slideLayout855.xml" ContentType="application/vnd.openxmlformats-officedocument.presentationml.slideLayout+xml"/>
  <Override PartName="/ppt/theme/theme123.xml" ContentType="application/vnd.openxmlformats-officedocument.theme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slideLayouts/slideLayout856.xml" ContentType="application/vnd.openxmlformats-officedocument.presentationml.slideLayout+xml"/>
  <Override PartName="/ppt/slideLayouts/slideLayout857.xml" ContentType="application/vnd.openxmlformats-officedocument.presentationml.slideLayout+xml"/>
  <Override PartName="/ppt/slideLayouts/slideLayout858.xml" ContentType="application/vnd.openxmlformats-officedocument.presentationml.slideLayout+xml"/>
  <Override PartName="/ppt/theme/theme124.xml" ContentType="application/vnd.openxmlformats-officedocument.theme+xml"/>
  <Override PartName="/ppt/slideLayouts/slideLayout859.xml" ContentType="application/vnd.openxmlformats-officedocument.presentationml.slideLayout+xml"/>
  <Override PartName="/ppt/slideLayouts/slideLayout860.xml" ContentType="application/vnd.openxmlformats-officedocument.presentationml.slideLayout+xml"/>
  <Override PartName="/ppt/slideLayouts/slideLayout861.xml" ContentType="application/vnd.openxmlformats-officedocument.presentationml.slideLayout+xml"/>
  <Override PartName="/ppt/slideLayouts/slideLayout862.xml" ContentType="application/vnd.openxmlformats-officedocument.presentationml.slideLayout+xml"/>
  <Override PartName="/ppt/slideLayouts/slideLayout863.xml" ContentType="application/vnd.openxmlformats-officedocument.presentationml.slideLayout+xml"/>
  <Override PartName="/ppt/slideLayouts/slideLayout864.xml" ContentType="application/vnd.openxmlformats-officedocument.presentationml.slideLayout+xml"/>
  <Override PartName="/ppt/slideLayouts/slideLayout865.xml" ContentType="application/vnd.openxmlformats-officedocument.presentationml.slideLayout+xml"/>
  <Override PartName="/ppt/slideLayouts/slideLayout866.xml" ContentType="application/vnd.openxmlformats-officedocument.presentationml.slideLayout+xml"/>
  <Override PartName="/ppt/slideLayouts/slideLayout867.xml" ContentType="application/vnd.openxmlformats-officedocument.presentationml.slideLayout+xml"/>
  <Override PartName="/ppt/theme/theme125.xml" ContentType="application/vnd.openxmlformats-officedocument.theme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slideLayouts/slideLayout868.xml" ContentType="application/vnd.openxmlformats-officedocument.presentationml.slideLayout+xml"/>
  <Override PartName="/ppt/slideLayouts/slideLayout869.xml" ContentType="application/vnd.openxmlformats-officedocument.presentationml.slideLayout+xml"/>
  <Override PartName="/ppt/slideLayouts/slideLayout870.xml" ContentType="application/vnd.openxmlformats-officedocument.presentationml.slideLayout+xml"/>
  <Override PartName="/ppt/slideLayouts/slideLayout871.xml" ContentType="application/vnd.openxmlformats-officedocument.presentationml.slideLayout+xml"/>
  <Override PartName="/ppt/slideLayouts/slideLayout872.xml" ContentType="application/vnd.openxmlformats-officedocument.presentationml.slideLayout+xml"/>
  <Override PartName="/ppt/slideLayouts/slideLayout873.xml" ContentType="application/vnd.openxmlformats-officedocument.presentationml.slideLayout+xml"/>
  <Override PartName="/ppt/slideLayouts/slideLayout874.xml" ContentType="application/vnd.openxmlformats-officedocument.presentationml.slideLayout+xml"/>
  <Override PartName="/ppt/slideLayouts/slideLayout875.xml" ContentType="application/vnd.openxmlformats-officedocument.presentationml.slideLayout+xml"/>
  <Override PartName="/ppt/theme/theme126.xml" ContentType="application/vnd.openxmlformats-officedocument.theme+xml"/>
  <Override PartName="/ppt/slideLayouts/slideLayout876.xml" ContentType="application/vnd.openxmlformats-officedocument.presentationml.slideLayout+xml"/>
  <Override PartName="/ppt/slideLayouts/slideLayout877.xml" ContentType="application/vnd.openxmlformats-officedocument.presentationml.slideLayout+xml"/>
  <Override PartName="/ppt/slideLayouts/slideLayout878.xml" ContentType="application/vnd.openxmlformats-officedocument.presentationml.slideLayout+xml"/>
  <Override PartName="/ppt/slideLayouts/slideLayout879.xml" ContentType="application/vnd.openxmlformats-officedocument.presentationml.slideLayout+xml"/>
  <Override PartName="/ppt/theme/theme127.xml" ContentType="application/vnd.openxmlformats-officedocument.theme+xml"/>
  <Override PartName="/ppt/slideLayouts/slideLayout880.xml" ContentType="application/vnd.openxmlformats-officedocument.presentationml.slideLayout+xml"/>
  <Override PartName="/ppt/slideLayouts/slideLayout881.xml" ContentType="application/vnd.openxmlformats-officedocument.presentationml.slideLayout+xml"/>
  <Override PartName="/ppt/slideLayouts/slideLayout882.xml" ContentType="application/vnd.openxmlformats-officedocument.presentationml.slideLayout+xml"/>
  <Override PartName="/ppt/slideLayouts/slideLayout883.xml" ContentType="application/vnd.openxmlformats-officedocument.presentationml.slideLayout+xml"/>
  <Override PartName="/ppt/slideLayouts/slideLayout884.xml" ContentType="application/vnd.openxmlformats-officedocument.presentationml.slideLayout+xml"/>
  <Override PartName="/ppt/slideLayouts/slideLayout885.xml" ContentType="application/vnd.openxmlformats-officedocument.presentationml.slideLayout+xml"/>
  <Override PartName="/ppt/slideLayouts/slideLayout886.xml" ContentType="application/vnd.openxmlformats-officedocument.presentationml.slideLayout+xml"/>
  <Override PartName="/ppt/slideLayouts/slideLayout887.xml" ContentType="application/vnd.openxmlformats-officedocument.presentationml.slideLayout+xml"/>
  <Override PartName="/ppt/theme/theme128.xml" ContentType="application/vnd.openxmlformats-officedocument.theme+xml"/>
  <Override PartName="/ppt/tags/tag159.xml" ContentType="application/vnd.openxmlformats-officedocument.presentationml.tags+xml"/>
  <Override PartName="/ppt/slideLayouts/slideLayout888.xml" ContentType="application/vnd.openxmlformats-officedocument.presentationml.slideLayout+xml"/>
  <Override PartName="/ppt/slideLayouts/slideLayout889.xml" ContentType="application/vnd.openxmlformats-officedocument.presentationml.slideLayout+xml"/>
  <Override PartName="/ppt/slideLayouts/slideLayout890.xml" ContentType="application/vnd.openxmlformats-officedocument.presentationml.slideLayout+xml"/>
  <Override PartName="/ppt/slideLayouts/slideLayout891.xml" ContentType="application/vnd.openxmlformats-officedocument.presentationml.slideLayout+xml"/>
  <Override PartName="/ppt/slideLayouts/slideLayout892.xml" ContentType="application/vnd.openxmlformats-officedocument.presentationml.slideLayout+xml"/>
  <Override PartName="/ppt/slideLayouts/slideLayout893.xml" ContentType="application/vnd.openxmlformats-officedocument.presentationml.slideLayout+xml"/>
  <Override PartName="/ppt/slideLayouts/slideLayout894.xml" ContentType="application/vnd.openxmlformats-officedocument.presentationml.slideLayout+xml"/>
  <Override PartName="/ppt/slideLayouts/slideLayout895.xml" ContentType="application/vnd.openxmlformats-officedocument.presentationml.slideLayout+xml"/>
  <Override PartName="/ppt/theme/theme129.xml" ContentType="application/vnd.openxmlformats-officedocument.theme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slideLayouts/slideLayout896.xml" ContentType="application/vnd.openxmlformats-officedocument.presentationml.slideLayout+xml"/>
  <Override PartName="/ppt/slideLayouts/slideLayout897.xml" ContentType="application/vnd.openxmlformats-officedocument.presentationml.slideLayout+xml"/>
  <Override PartName="/ppt/slideLayouts/slideLayout898.xml" ContentType="application/vnd.openxmlformats-officedocument.presentationml.slideLayout+xml"/>
  <Override PartName="/ppt/slideLayouts/slideLayout899.xml" ContentType="application/vnd.openxmlformats-officedocument.presentationml.slideLayout+xml"/>
  <Override PartName="/ppt/slideLayouts/slideLayout900.xml" ContentType="application/vnd.openxmlformats-officedocument.presentationml.slideLayout+xml"/>
  <Override PartName="/ppt/slideLayouts/slideLayout901.xml" ContentType="application/vnd.openxmlformats-officedocument.presentationml.slideLayout+xml"/>
  <Override PartName="/ppt/slideLayouts/slideLayout902.xml" ContentType="application/vnd.openxmlformats-officedocument.presentationml.slideLayout+xml"/>
  <Override PartName="/ppt/slideLayouts/slideLayout903.xml" ContentType="application/vnd.openxmlformats-officedocument.presentationml.slideLayout+xml"/>
  <Override PartName="/ppt/theme/theme130.xml" ContentType="application/vnd.openxmlformats-officedocument.theme+xml"/>
  <Override PartName="/ppt/tags/tag164.xml" ContentType="application/vnd.openxmlformats-officedocument.presentationml.tags+xml"/>
  <Override PartName="/ppt/slideLayouts/slideLayout904.xml" ContentType="application/vnd.openxmlformats-officedocument.presentationml.slideLayout+xml"/>
  <Override PartName="/ppt/slideLayouts/slideLayout905.xml" ContentType="application/vnd.openxmlformats-officedocument.presentationml.slideLayout+xml"/>
  <Override PartName="/ppt/slideLayouts/slideLayout906.xml" ContentType="application/vnd.openxmlformats-officedocument.presentationml.slideLayout+xml"/>
  <Override PartName="/ppt/slideLayouts/slideLayout907.xml" ContentType="application/vnd.openxmlformats-officedocument.presentationml.slideLayout+xml"/>
  <Override PartName="/ppt/slideLayouts/slideLayout908.xml" ContentType="application/vnd.openxmlformats-officedocument.presentationml.slideLayout+xml"/>
  <Override PartName="/ppt/slideLayouts/slideLayout909.xml" ContentType="application/vnd.openxmlformats-officedocument.presentationml.slideLayout+xml"/>
  <Override PartName="/ppt/slideLayouts/slideLayout910.xml" ContentType="application/vnd.openxmlformats-officedocument.presentationml.slideLayout+xml"/>
  <Override PartName="/ppt/slideLayouts/slideLayout911.xml" ContentType="application/vnd.openxmlformats-officedocument.presentationml.slideLayout+xml"/>
  <Override PartName="/ppt/theme/theme131.xml" ContentType="application/vnd.openxmlformats-officedocument.theme+xml"/>
  <Override PartName="/ppt/slideLayouts/slideLayout912.xml" ContentType="application/vnd.openxmlformats-officedocument.presentationml.slideLayout+xml"/>
  <Override PartName="/ppt/slideLayouts/slideLayout913.xml" ContentType="application/vnd.openxmlformats-officedocument.presentationml.slideLayout+xml"/>
  <Override PartName="/ppt/slideLayouts/slideLayout914.xml" ContentType="application/vnd.openxmlformats-officedocument.presentationml.slideLayout+xml"/>
  <Override PartName="/ppt/slideLayouts/slideLayout915.xml" ContentType="application/vnd.openxmlformats-officedocument.presentationml.slideLayout+xml"/>
  <Override PartName="/ppt/slideLayouts/slideLayout916.xml" ContentType="application/vnd.openxmlformats-officedocument.presentationml.slideLayout+xml"/>
  <Override PartName="/ppt/slideLayouts/slideLayout917.xml" ContentType="application/vnd.openxmlformats-officedocument.presentationml.slideLayout+xml"/>
  <Override PartName="/ppt/slideLayouts/slideLayout918.xml" ContentType="application/vnd.openxmlformats-officedocument.presentationml.slideLayout+xml"/>
  <Override PartName="/ppt/slideLayouts/slideLayout919.xml" ContentType="application/vnd.openxmlformats-officedocument.presentationml.slideLayout+xml"/>
  <Override PartName="/ppt/theme/theme132.xml" ContentType="application/vnd.openxmlformats-officedocument.theme+xml"/>
  <Override PartName="/ppt/tags/tag165.xml" ContentType="application/vnd.openxmlformats-officedocument.presentationml.tags+xml"/>
  <Override PartName="/ppt/slideLayouts/slideLayout920.xml" ContentType="application/vnd.openxmlformats-officedocument.presentationml.slideLayout+xml"/>
  <Override PartName="/ppt/slideLayouts/slideLayout921.xml" ContentType="application/vnd.openxmlformats-officedocument.presentationml.slideLayout+xml"/>
  <Override PartName="/ppt/slideLayouts/slideLayout922.xml" ContentType="application/vnd.openxmlformats-officedocument.presentationml.slideLayout+xml"/>
  <Override PartName="/ppt/slideLayouts/slideLayout923.xml" ContentType="application/vnd.openxmlformats-officedocument.presentationml.slideLayout+xml"/>
  <Override PartName="/ppt/theme/theme133.xml" ContentType="application/vnd.openxmlformats-officedocument.theme+xml"/>
  <Override PartName="/ppt/slideLayouts/slideLayout924.xml" ContentType="application/vnd.openxmlformats-officedocument.presentationml.slideLayout+xml"/>
  <Override PartName="/ppt/slideLayouts/slideLayout925.xml" ContentType="application/vnd.openxmlformats-officedocument.presentationml.slideLayout+xml"/>
  <Override PartName="/ppt/slideLayouts/slideLayout926.xml" ContentType="application/vnd.openxmlformats-officedocument.presentationml.slideLayout+xml"/>
  <Override PartName="/ppt/slideLayouts/slideLayout927.xml" ContentType="application/vnd.openxmlformats-officedocument.presentationml.slideLayout+xml"/>
  <Override PartName="/ppt/slideLayouts/slideLayout928.xml" ContentType="application/vnd.openxmlformats-officedocument.presentationml.slideLayout+xml"/>
  <Override PartName="/ppt/slideLayouts/slideLayout929.xml" ContentType="application/vnd.openxmlformats-officedocument.presentationml.slideLayout+xml"/>
  <Override PartName="/ppt/slideLayouts/slideLayout930.xml" ContentType="application/vnd.openxmlformats-officedocument.presentationml.slideLayout+xml"/>
  <Override PartName="/ppt/slideLayouts/slideLayout931.xml" ContentType="application/vnd.openxmlformats-officedocument.presentationml.slideLayout+xml"/>
  <Override PartName="/ppt/theme/theme134.xml" ContentType="application/vnd.openxmlformats-officedocument.theme+xml"/>
  <Override PartName="/ppt/slideLayouts/slideLayout932.xml" ContentType="application/vnd.openxmlformats-officedocument.presentationml.slideLayout+xml"/>
  <Override PartName="/ppt/slideLayouts/slideLayout933.xml" ContentType="application/vnd.openxmlformats-officedocument.presentationml.slideLayout+xml"/>
  <Override PartName="/ppt/slideLayouts/slideLayout934.xml" ContentType="application/vnd.openxmlformats-officedocument.presentationml.slideLayout+xml"/>
  <Override PartName="/ppt/slideLayouts/slideLayout935.xml" ContentType="application/vnd.openxmlformats-officedocument.presentationml.slideLayout+xml"/>
  <Override PartName="/ppt/theme/theme135.xml" ContentType="application/vnd.openxmlformats-officedocument.theme+xml"/>
  <Override PartName="/ppt/slideLayouts/slideLayout936.xml" ContentType="application/vnd.openxmlformats-officedocument.presentationml.slideLayout+xml"/>
  <Override PartName="/ppt/slideLayouts/slideLayout937.xml" ContentType="application/vnd.openxmlformats-officedocument.presentationml.slideLayout+xml"/>
  <Override PartName="/ppt/slideLayouts/slideLayout938.xml" ContentType="application/vnd.openxmlformats-officedocument.presentationml.slideLayout+xml"/>
  <Override PartName="/ppt/slideLayouts/slideLayout939.xml" ContentType="application/vnd.openxmlformats-officedocument.presentationml.slideLayout+xml"/>
  <Override PartName="/ppt/theme/theme136.xml" ContentType="application/vnd.openxmlformats-officedocument.theme+xml"/>
  <Override PartName="/ppt/slideLayouts/slideLayout940.xml" ContentType="application/vnd.openxmlformats-officedocument.presentationml.slideLayout+xml"/>
  <Override PartName="/ppt/slideLayouts/slideLayout941.xml" ContentType="application/vnd.openxmlformats-officedocument.presentationml.slideLayout+xml"/>
  <Override PartName="/ppt/slideLayouts/slideLayout942.xml" ContentType="application/vnd.openxmlformats-officedocument.presentationml.slideLayout+xml"/>
  <Override PartName="/ppt/slideLayouts/slideLayout943.xml" ContentType="application/vnd.openxmlformats-officedocument.presentationml.slideLayout+xml"/>
  <Override PartName="/ppt/slideLayouts/slideLayout944.xml" ContentType="application/vnd.openxmlformats-officedocument.presentationml.slideLayout+xml"/>
  <Override PartName="/ppt/slideLayouts/slideLayout945.xml" ContentType="application/vnd.openxmlformats-officedocument.presentationml.slideLayout+xml"/>
  <Override PartName="/ppt/slideLayouts/slideLayout946.xml" ContentType="application/vnd.openxmlformats-officedocument.presentationml.slideLayout+xml"/>
  <Override PartName="/ppt/slideLayouts/slideLayout947.xml" ContentType="application/vnd.openxmlformats-officedocument.presentationml.slideLayout+xml"/>
  <Override PartName="/ppt/slideLayouts/slideLayout948.xml" ContentType="application/vnd.openxmlformats-officedocument.presentationml.slideLayout+xml"/>
  <Override PartName="/ppt/slideLayouts/slideLayout949.xml" ContentType="application/vnd.openxmlformats-officedocument.presentationml.slideLayout+xml"/>
  <Override PartName="/ppt/theme/theme137.xml" ContentType="application/vnd.openxmlformats-officedocument.theme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slideLayouts/slideLayout950.xml" ContentType="application/vnd.openxmlformats-officedocument.presentationml.slideLayout+xml"/>
  <Override PartName="/ppt/slideLayouts/slideLayout951.xml" ContentType="application/vnd.openxmlformats-officedocument.presentationml.slideLayout+xml"/>
  <Override PartName="/ppt/slideLayouts/slideLayout952.xml" ContentType="application/vnd.openxmlformats-officedocument.presentationml.slideLayout+xml"/>
  <Override PartName="/ppt/slideLayouts/slideLayout953.xml" ContentType="application/vnd.openxmlformats-officedocument.presentationml.slideLayout+xml"/>
  <Override PartName="/ppt/theme/theme138.xml" ContentType="application/vnd.openxmlformats-officedocument.theme+xml"/>
  <Override PartName="/ppt/tags/tag170.xml" ContentType="application/vnd.openxmlformats-officedocument.presentationml.tags+xml"/>
  <Override PartName="/ppt/slideLayouts/slideLayout954.xml" ContentType="application/vnd.openxmlformats-officedocument.presentationml.slideLayout+xml"/>
  <Override PartName="/ppt/slideLayouts/slideLayout955.xml" ContentType="application/vnd.openxmlformats-officedocument.presentationml.slideLayout+xml"/>
  <Override PartName="/ppt/slideLayouts/slideLayout956.xml" ContentType="application/vnd.openxmlformats-officedocument.presentationml.slideLayout+xml"/>
  <Override PartName="/ppt/slideLayouts/slideLayout957.xml" ContentType="application/vnd.openxmlformats-officedocument.presentationml.slideLayout+xml"/>
  <Override PartName="/ppt/theme/theme139.xml" ContentType="application/vnd.openxmlformats-officedocument.theme+xml"/>
  <Override PartName="/ppt/tags/tag171.xml" ContentType="application/vnd.openxmlformats-officedocument.presentationml.tags+xml"/>
  <Override PartName="/ppt/slideLayouts/slideLayout958.xml" ContentType="application/vnd.openxmlformats-officedocument.presentationml.slideLayout+xml"/>
  <Override PartName="/ppt/slideLayouts/slideLayout959.xml" ContentType="application/vnd.openxmlformats-officedocument.presentationml.slideLayout+xml"/>
  <Override PartName="/ppt/slideLayouts/slideLayout960.xml" ContentType="application/vnd.openxmlformats-officedocument.presentationml.slideLayout+xml"/>
  <Override PartName="/ppt/slideLayouts/slideLayout961.xml" ContentType="application/vnd.openxmlformats-officedocument.presentationml.slideLayout+xml"/>
  <Override PartName="/ppt/slideLayouts/slideLayout962.xml" ContentType="application/vnd.openxmlformats-officedocument.presentationml.slideLayout+xml"/>
  <Override PartName="/ppt/slideLayouts/slideLayout963.xml" ContentType="application/vnd.openxmlformats-officedocument.presentationml.slideLayout+xml"/>
  <Override PartName="/ppt/slideLayouts/slideLayout964.xml" ContentType="application/vnd.openxmlformats-officedocument.presentationml.slideLayout+xml"/>
  <Override PartName="/ppt/slideLayouts/slideLayout965.xml" ContentType="application/vnd.openxmlformats-officedocument.presentationml.slideLayout+xml"/>
  <Override PartName="/ppt/theme/theme140.xml" ContentType="application/vnd.openxmlformats-officedocument.theme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slideLayouts/slideLayout966.xml" ContentType="application/vnd.openxmlformats-officedocument.presentationml.slideLayout+xml"/>
  <Override PartName="/ppt/slideLayouts/slideLayout967.xml" ContentType="application/vnd.openxmlformats-officedocument.presentationml.slideLayout+xml"/>
  <Override PartName="/ppt/slideLayouts/slideLayout968.xml" ContentType="application/vnd.openxmlformats-officedocument.presentationml.slideLayout+xml"/>
  <Override PartName="/ppt/slideLayouts/slideLayout969.xml" ContentType="application/vnd.openxmlformats-officedocument.presentationml.slideLayout+xml"/>
  <Override PartName="/ppt/slideLayouts/slideLayout970.xml" ContentType="application/vnd.openxmlformats-officedocument.presentationml.slideLayout+xml"/>
  <Override PartName="/ppt/slideLayouts/slideLayout971.xml" ContentType="application/vnd.openxmlformats-officedocument.presentationml.slideLayout+xml"/>
  <Override PartName="/ppt/slideLayouts/slideLayout972.xml" ContentType="application/vnd.openxmlformats-officedocument.presentationml.slideLayout+xml"/>
  <Override PartName="/ppt/slideLayouts/slideLayout973.xml" ContentType="application/vnd.openxmlformats-officedocument.presentationml.slideLayout+xml"/>
  <Override PartName="/ppt/slideLayouts/slideLayout974.xml" ContentType="application/vnd.openxmlformats-officedocument.presentationml.slideLayout+xml"/>
  <Override PartName="/ppt/slideLayouts/slideLayout975.xml" ContentType="application/vnd.openxmlformats-officedocument.presentationml.slideLayout+xml"/>
  <Override PartName="/ppt/theme/theme141.xml" ContentType="application/vnd.openxmlformats-officedocument.theme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slideLayouts/slideLayout976.xml" ContentType="application/vnd.openxmlformats-officedocument.presentationml.slideLayout+xml"/>
  <Override PartName="/ppt/slideLayouts/slideLayout977.xml" ContentType="application/vnd.openxmlformats-officedocument.presentationml.slideLayout+xml"/>
  <Override PartName="/ppt/slideLayouts/slideLayout978.xml" ContentType="application/vnd.openxmlformats-officedocument.presentationml.slideLayout+xml"/>
  <Override PartName="/ppt/slideLayouts/slideLayout979.xml" ContentType="application/vnd.openxmlformats-officedocument.presentationml.slideLayout+xml"/>
  <Override PartName="/ppt/slideLayouts/slideLayout980.xml" ContentType="application/vnd.openxmlformats-officedocument.presentationml.slideLayout+xml"/>
  <Override PartName="/ppt/slideLayouts/slideLayout981.xml" ContentType="application/vnd.openxmlformats-officedocument.presentationml.slideLayout+xml"/>
  <Override PartName="/ppt/slideLayouts/slideLayout982.xml" ContentType="application/vnd.openxmlformats-officedocument.presentationml.slideLayout+xml"/>
  <Override PartName="/ppt/slideLayouts/slideLayout983.xml" ContentType="application/vnd.openxmlformats-officedocument.presentationml.slideLayout+xml"/>
  <Override PartName="/ppt/slideLayouts/slideLayout984.xml" ContentType="application/vnd.openxmlformats-officedocument.presentationml.slideLayout+xml"/>
  <Override PartName="/ppt/slideLayouts/slideLayout985.xml" ContentType="application/vnd.openxmlformats-officedocument.presentationml.slideLayout+xml"/>
  <Override PartName="/ppt/theme/theme142.xml" ContentType="application/vnd.openxmlformats-officedocument.theme+xml"/>
  <Override PartName="/ppt/slideLayouts/slideLayout986.xml" ContentType="application/vnd.openxmlformats-officedocument.presentationml.slideLayout+xml"/>
  <Override PartName="/ppt/slideLayouts/slideLayout987.xml" ContentType="application/vnd.openxmlformats-officedocument.presentationml.slideLayout+xml"/>
  <Override PartName="/ppt/slideLayouts/slideLayout988.xml" ContentType="application/vnd.openxmlformats-officedocument.presentationml.slideLayout+xml"/>
  <Override PartName="/ppt/slideLayouts/slideLayout989.xml" ContentType="application/vnd.openxmlformats-officedocument.presentationml.slideLayout+xml"/>
  <Override PartName="/ppt/slideLayouts/slideLayout990.xml" ContentType="application/vnd.openxmlformats-officedocument.presentationml.slideLayout+xml"/>
  <Override PartName="/ppt/slideLayouts/slideLayout991.xml" ContentType="application/vnd.openxmlformats-officedocument.presentationml.slideLayout+xml"/>
  <Override PartName="/ppt/slideLayouts/slideLayout992.xml" ContentType="application/vnd.openxmlformats-officedocument.presentationml.slideLayout+xml"/>
  <Override PartName="/ppt/slideLayouts/slideLayout993.xml" ContentType="application/vnd.openxmlformats-officedocument.presentationml.slideLayout+xml"/>
  <Override PartName="/ppt/theme/theme143.xml" ContentType="application/vnd.openxmlformats-officedocument.theme+xml"/>
  <Override PartName="/ppt/slideLayouts/slideLayout994.xml" ContentType="application/vnd.openxmlformats-officedocument.presentationml.slideLayout+xml"/>
  <Override PartName="/ppt/slideLayouts/slideLayout995.xml" ContentType="application/vnd.openxmlformats-officedocument.presentationml.slideLayout+xml"/>
  <Override PartName="/ppt/slideLayouts/slideLayout996.xml" ContentType="application/vnd.openxmlformats-officedocument.presentationml.slideLayout+xml"/>
  <Override PartName="/ppt/slideLayouts/slideLayout997.xml" ContentType="application/vnd.openxmlformats-officedocument.presentationml.slideLayout+xml"/>
  <Override PartName="/ppt/slideLayouts/slideLayout998.xml" ContentType="application/vnd.openxmlformats-officedocument.presentationml.slideLayout+xml"/>
  <Override PartName="/ppt/slideLayouts/slideLayout999.xml" ContentType="application/vnd.openxmlformats-officedocument.presentationml.slideLayout+xml"/>
  <Override PartName="/ppt/slideLayouts/slideLayout1000.xml" ContentType="application/vnd.openxmlformats-officedocument.presentationml.slideLayout+xml"/>
  <Override PartName="/ppt/slideLayouts/slideLayout1001.xml" ContentType="application/vnd.openxmlformats-officedocument.presentationml.slideLayout+xml"/>
  <Override PartName="/ppt/slideLayouts/slideLayout1002.xml" ContentType="application/vnd.openxmlformats-officedocument.presentationml.slideLayout+xml"/>
  <Override PartName="/ppt/slideLayouts/slideLayout1003.xml" ContentType="application/vnd.openxmlformats-officedocument.presentationml.slideLayout+xml"/>
  <Override PartName="/ppt/theme/theme144.xml" ContentType="application/vnd.openxmlformats-officedocument.theme+xml"/>
  <Override PartName="/ppt/slideLayouts/slideLayout1004.xml" ContentType="application/vnd.openxmlformats-officedocument.presentationml.slideLayout+xml"/>
  <Override PartName="/ppt/slideLayouts/slideLayout1005.xml" ContentType="application/vnd.openxmlformats-officedocument.presentationml.slideLayout+xml"/>
  <Override PartName="/ppt/slideLayouts/slideLayout1006.xml" ContentType="application/vnd.openxmlformats-officedocument.presentationml.slideLayout+xml"/>
  <Override PartName="/ppt/slideLayouts/slideLayout1007.xml" ContentType="application/vnd.openxmlformats-officedocument.presentationml.slideLayout+xml"/>
  <Override PartName="/ppt/slideLayouts/slideLayout1008.xml" ContentType="application/vnd.openxmlformats-officedocument.presentationml.slideLayout+xml"/>
  <Override PartName="/ppt/slideLayouts/slideLayout1009.xml" ContentType="application/vnd.openxmlformats-officedocument.presentationml.slideLayout+xml"/>
  <Override PartName="/ppt/slideLayouts/slideLayout1010.xml" ContentType="application/vnd.openxmlformats-officedocument.presentationml.slideLayout+xml"/>
  <Override PartName="/ppt/slideLayouts/slideLayout1011.xml" ContentType="application/vnd.openxmlformats-officedocument.presentationml.slideLayout+xml"/>
  <Override PartName="/ppt/slideLayouts/slideLayout1012.xml" ContentType="application/vnd.openxmlformats-officedocument.presentationml.slideLayout+xml"/>
  <Override PartName="/ppt/slideLayouts/slideLayout1013.xml" ContentType="application/vnd.openxmlformats-officedocument.presentationml.slideLayout+xml"/>
  <Override PartName="/ppt/theme/theme145.xml" ContentType="application/vnd.openxmlformats-officedocument.theme+xml"/>
  <Override PartName="/ppt/slideLayouts/slideLayout1014.xml" ContentType="application/vnd.openxmlformats-officedocument.presentationml.slideLayout+xml"/>
  <Override PartName="/ppt/slideLayouts/slideLayout1015.xml" ContentType="application/vnd.openxmlformats-officedocument.presentationml.slideLayout+xml"/>
  <Override PartName="/ppt/slideLayouts/slideLayout1016.xml" ContentType="application/vnd.openxmlformats-officedocument.presentationml.slideLayout+xml"/>
  <Override PartName="/ppt/slideLayouts/slideLayout1017.xml" ContentType="application/vnd.openxmlformats-officedocument.presentationml.slideLayout+xml"/>
  <Override PartName="/ppt/slideLayouts/slideLayout1018.xml" ContentType="application/vnd.openxmlformats-officedocument.presentationml.slideLayout+xml"/>
  <Override PartName="/ppt/slideLayouts/slideLayout1019.xml" ContentType="application/vnd.openxmlformats-officedocument.presentationml.slideLayout+xml"/>
  <Override PartName="/ppt/slideLayouts/slideLayout1020.xml" ContentType="application/vnd.openxmlformats-officedocument.presentationml.slideLayout+xml"/>
  <Override PartName="/ppt/slideLayouts/slideLayout1021.xml" ContentType="application/vnd.openxmlformats-officedocument.presentationml.slideLayout+xml"/>
  <Override PartName="/ppt/theme/theme146.xml" ContentType="application/vnd.openxmlformats-officedocument.theme+xml"/>
  <Override PartName="/ppt/slideLayouts/slideLayout1022.xml" ContentType="application/vnd.openxmlformats-officedocument.presentationml.slideLayout+xml"/>
  <Override PartName="/ppt/slideLayouts/slideLayout1023.xml" ContentType="application/vnd.openxmlformats-officedocument.presentationml.slideLayout+xml"/>
  <Override PartName="/ppt/slideLayouts/slideLayout1024.xml" ContentType="application/vnd.openxmlformats-officedocument.presentationml.slideLayout+xml"/>
  <Override PartName="/ppt/slideLayouts/slideLayout1025.xml" ContentType="application/vnd.openxmlformats-officedocument.presentationml.slideLayout+xml"/>
  <Override PartName="/ppt/slideLayouts/slideLayout1026.xml" ContentType="application/vnd.openxmlformats-officedocument.presentationml.slideLayout+xml"/>
  <Override PartName="/ppt/slideLayouts/slideLayout1027.xml" ContentType="application/vnd.openxmlformats-officedocument.presentationml.slideLayout+xml"/>
  <Override PartName="/ppt/slideLayouts/slideLayout1028.xml" ContentType="application/vnd.openxmlformats-officedocument.presentationml.slideLayout+xml"/>
  <Override PartName="/ppt/slideLayouts/slideLayout1029.xml" ContentType="application/vnd.openxmlformats-officedocument.presentationml.slideLayout+xml"/>
  <Override PartName="/ppt/slideLayouts/slideLayout1030.xml" ContentType="application/vnd.openxmlformats-officedocument.presentationml.slideLayout+xml"/>
  <Override PartName="/ppt/slideLayouts/slideLayout1031.xml" ContentType="application/vnd.openxmlformats-officedocument.presentationml.slideLayout+xml"/>
  <Override PartName="/ppt/theme/theme147.xml" ContentType="application/vnd.openxmlformats-officedocument.theme+xml"/>
  <Override PartName="/ppt/slideLayouts/slideLayout1032.xml" ContentType="application/vnd.openxmlformats-officedocument.presentationml.slideLayout+xml"/>
  <Override PartName="/ppt/slideLayouts/slideLayout1033.xml" ContentType="application/vnd.openxmlformats-officedocument.presentationml.slideLayout+xml"/>
  <Override PartName="/ppt/slideLayouts/slideLayout1034.xml" ContentType="application/vnd.openxmlformats-officedocument.presentationml.slideLayout+xml"/>
  <Override PartName="/ppt/slideLayouts/slideLayout1035.xml" ContentType="application/vnd.openxmlformats-officedocument.presentationml.slideLayout+xml"/>
  <Override PartName="/ppt/slideLayouts/slideLayout1036.xml" ContentType="application/vnd.openxmlformats-officedocument.presentationml.slideLayout+xml"/>
  <Override PartName="/ppt/slideLayouts/slideLayout1037.xml" ContentType="application/vnd.openxmlformats-officedocument.presentationml.slideLayout+xml"/>
  <Override PartName="/ppt/slideLayouts/slideLayout1038.xml" ContentType="application/vnd.openxmlformats-officedocument.presentationml.slideLayout+xml"/>
  <Override PartName="/ppt/slideLayouts/slideLayout1039.xml" ContentType="application/vnd.openxmlformats-officedocument.presentationml.slideLayout+xml"/>
  <Override PartName="/ppt/theme/theme148.xml" ContentType="application/vnd.openxmlformats-officedocument.theme+xml"/>
  <Override PartName="/ppt/slideLayouts/slideLayout1040.xml" ContentType="application/vnd.openxmlformats-officedocument.presentationml.slideLayout+xml"/>
  <Override PartName="/ppt/slideLayouts/slideLayout1041.xml" ContentType="application/vnd.openxmlformats-officedocument.presentationml.slideLayout+xml"/>
  <Override PartName="/ppt/slideLayouts/slideLayout1042.xml" ContentType="application/vnd.openxmlformats-officedocument.presentationml.slideLayout+xml"/>
  <Override PartName="/ppt/slideLayouts/slideLayout1043.xml" ContentType="application/vnd.openxmlformats-officedocument.presentationml.slideLayout+xml"/>
  <Override PartName="/ppt/slideLayouts/slideLayout1044.xml" ContentType="application/vnd.openxmlformats-officedocument.presentationml.slideLayout+xml"/>
  <Override PartName="/ppt/theme/theme149.xml" ContentType="application/vnd.openxmlformats-officedocument.theme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slideLayouts/slideLayout1045.xml" ContentType="application/vnd.openxmlformats-officedocument.presentationml.slideLayout+xml"/>
  <Override PartName="/ppt/slideLayouts/slideLayout1046.xml" ContentType="application/vnd.openxmlformats-officedocument.presentationml.slideLayout+xml"/>
  <Override PartName="/ppt/slideLayouts/slideLayout1047.xml" ContentType="application/vnd.openxmlformats-officedocument.presentationml.slideLayout+xml"/>
  <Override PartName="/ppt/slideLayouts/slideLayout1048.xml" ContentType="application/vnd.openxmlformats-officedocument.presentationml.slideLayout+xml"/>
  <Override PartName="/ppt/slideLayouts/slideLayout1049.xml" ContentType="application/vnd.openxmlformats-officedocument.presentationml.slideLayout+xml"/>
  <Override PartName="/ppt/slideLayouts/slideLayout1050.xml" ContentType="application/vnd.openxmlformats-officedocument.presentationml.slideLayout+xml"/>
  <Override PartName="/ppt/slideLayouts/slideLayout1051.xml" ContentType="application/vnd.openxmlformats-officedocument.presentationml.slideLayout+xml"/>
  <Override PartName="/ppt/slideLayouts/slideLayout1052.xml" ContentType="application/vnd.openxmlformats-officedocument.presentationml.slideLayout+xml"/>
  <Override PartName="/ppt/theme/theme150.xml" ContentType="application/vnd.openxmlformats-officedocument.theme+xml"/>
  <Override PartName="/ppt/tags/tag182.xml" ContentType="application/vnd.openxmlformats-officedocument.presentationml.tags+xml"/>
  <Override PartName="/ppt/slideLayouts/slideLayout1053.xml" ContentType="application/vnd.openxmlformats-officedocument.presentationml.slideLayout+xml"/>
  <Override PartName="/ppt/slideLayouts/slideLayout1054.xml" ContentType="application/vnd.openxmlformats-officedocument.presentationml.slideLayout+xml"/>
  <Override PartName="/ppt/slideLayouts/slideLayout1055.xml" ContentType="application/vnd.openxmlformats-officedocument.presentationml.slideLayout+xml"/>
  <Override PartName="/ppt/slideLayouts/slideLayout1056.xml" ContentType="application/vnd.openxmlformats-officedocument.presentationml.slideLayout+xml"/>
  <Override PartName="/ppt/slideLayouts/slideLayout1057.xml" ContentType="application/vnd.openxmlformats-officedocument.presentationml.slideLayout+xml"/>
  <Override PartName="/ppt/slideLayouts/slideLayout1058.xml" ContentType="application/vnd.openxmlformats-officedocument.presentationml.slideLayout+xml"/>
  <Override PartName="/ppt/slideLayouts/slideLayout1059.xml" ContentType="application/vnd.openxmlformats-officedocument.presentationml.slideLayout+xml"/>
  <Override PartName="/ppt/slideLayouts/slideLayout1060.xml" ContentType="application/vnd.openxmlformats-officedocument.presentationml.slideLayout+xml"/>
  <Override PartName="/ppt/theme/theme151.xml" ContentType="application/vnd.openxmlformats-officedocument.theme+xml"/>
  <Override PartName="/ppt/tags/tag183.xml" ContentType="application/vnd.openxmlformats-officedocument.presentationml.tags+xml"/>
  <Override PartName="/ppt/slideLayouts/slideLayout1061.xml" ContentType="application/vnd.openxmlformats-officedocument.presentationml.slideLayout+xml"/>
  <Override PartName="/ppt/slideLayouts/slideLayout1062.xml" ContentType="application/vnd.openxmlformats-officedocument.presentationml.slideLayout+xml"/>
  <Override PartName="/ppt/slideLayouts/slideLayout1063.xml" ContentType="application/vnd.openxmlformats-officedocument.presentationml.slideLayout+xml"/>
  <Override PartName="/ppt/slideLayouts/slideLayout1064.xml" ContentType="application/vnd.openxmlformats-officedocument.presentationml.slideLayout+xml"/>
  <Override PartName="/ppt/slideLayouts/slideLayout1065.xml" ContentType="application/vnd.openxmlformats-officedocument.presentationml.slideLayout+xml"/>
  <Override PartName="/ppt/slideLayouts/slideLayout1066.xml" ContentType="application/vnd.openxmlformats-officedocument.presentationml.slideLayout+xml"/>
  <Override PartName="/ppt/slideLayouts/slideLayout1067.xml" ContentType="application/vnd.openxmlformats-officedocument.presentationml.slideLayout+xml"/>
  <Override PartName="/ppt/slideLayouts/slideLayout1068.xml" ContentType="application/vnd.openxmlformats-officedocument.presentationml.slideLayout+xml"/>
  <Override PartName="/ppt/slideLayouts/slideLayout1069.xml" ContentType="application/vnd.openxmlformats-officedocument.presentationml.slideLayout+xml"/>
  <Override PartName="/ppt/slideLayouts/slideLayout1070.xml" ContentType="application/vnd.openxmlformats-officedocument.presentationml.slideLayout+xml"/>
  <Override PartName="/ppt/theme/theme152.xml" ContentType="application/vnd.openxmlformats-officedocument.theme+xml"/>
  <Override PartName="/ppt/slideLayouts/slideLayout1071.xml" ContentType="application/vnd.openxmlformats-officedocument.presentationml.slideLayout+xml"/>
  <Override PartName="/ppt/slideLayouts/slideLayout1072.xml" ContentType="application/vnd.openxmlformats-officedocument.presentationml.slideLayout+xml"/>
  <Override PartName="/ppt/slideLayouts/slideLayout1073.xml" ContentType="application/vnd.openxmlformats-officedocument.presentationml.slideLayout+xml"/>
  <Override PartName="/ppt/slideLayouts/slideLayout1074.xml" ContentType="application/vnd.openxmlformats-officedocument.presentationml.slideLayout+xml"/>
  <Override PartName="/ppt/slideLayouts/slideLayout1075.xml" ContentType="application/vnd.openxmlformats-officedocument.presentationml.slideLayout+xml"/>
  <Override PartName="/ppt/slideLayouts/slideLayout1076.xml" ContentType="application/vnd.openxmlformats-officedocument.presentationml.slideLayout+xml"/>
  <Override PartName="/ppt/slideLayouts/slideLayout1077.xml" ContentType="application/vnd.openxmlformats-officedocument.presentationml.slideLayout+xml"/>
  <Override PartName="/ppt/slideLayouts/slideLayout1078.xml" ContentType="application/vnd.openxmlformats-officedocument.presentationml.slideLayout+xml"/>
  <Override PartName="/ppt/theme/theme153.xml" ContentType="application/vnd.openxmlformats-officedocument.theme+xml"/>
  <Override PartName="/ppt/slideLayouts/slideLayout1079.xml" ContentType="application/vnd.openxmlformats-officedocument.presentationml.slideLayout+xml"/>
  <Override PartName="/ppt/slideLayouts/slideLayout1080.xml" ContentType="application/vnd.openxmlformats-officedocument.presentationml.slideLayout+xml"/>
  <Override PartName="/ppt/slideLayouts/slideLayout1081.xml" ContentType="application/vnd.openxmlformats-officedocument.presentationml.slideLayout+xml"/>
  <Override PartName="/ppt/slideLayouts/slideLayout1082.xml" ContentType="application/vnd.openxmlformats-officedocument.presentationml.slideLayout+xml"/>
  <Override PartName="/ppt/slideLayouts/slideLayout1083.xml" ContentType="application/vnd.openxmlformats-officedocument.presentationml.slideLayout+xml"/>
  <Override PartName="/ppt/slideLayouts/slideLayout1084.xml" ContentType="application/vnd.openxmlformats-officedocument.presentationml.slideLayout+xml"/>
  <Override PartName="/ppt/slideLayouts/slideLayout1085.xml" ContentType="application/vnd.openxmlformats-officedocument.presentationml.slideLayout+xml"/>
  <Override PartName="/ppt/slideLayouts/slideLayout1086.xml" ContentType="application/vnd.openxmlformats-officedocument.presentationml.slideLayout+xml"/>
  <Override PartName="/ppt/slideLayouts/slideLayout1087.xml" ContentType="application/vnd.openxmlformats-officedocument.presentationml.slideLayout+xml"/>
  <Override PartName="/ppt/slideLayouts/slideLayout1088.xml" ContentType="application/vnd.openxmlformats-officedocument.presentationml.slideLayout+xml"/>
  <Override PartName="/ppt/theme/theme154.xml" ContentType="application/vnd.openxmlformats-officedocument.theme+xml"/>
  <Override PartName="/ppt/slideLayouts/slideLayout1089.xml" ContentType="application/vnd.openxmlformats-officedocument.presentationml.slideLayout+xml"/>
  <Override PartName="/ppt/slideLayouts/slideLayout1090.xml" ContentType="application/vnd.openxmlformats-officedocument.presentationml.slideLayout+xml"/>
  <Override PartName="/ppt/slideLayouts/slideLayout1091.xml" ContentType="application/vnd.openxmlformats-officedocument.presentationml.slideLayout+xml"/>
  <Override PartName="/ppt/slideLayouts/slideLayout1092.xml" ContentType="application/vnd.openxmlformats-officedocument.presentationml.slideLayout+xml"/>
  <Override PartName="/ppt/slideLayouts/slideLayout1093.xml" ContentType="application/vnd.openxmlformats-officedocument.presentationml.slideLayout+xml"/>
  <Override PartName="/ppt/slideLayouts/slideLayout1094.xml" ContentType="application/vnd.openxmlformats-officedocument.presentationml.slideLayout+xml"/>
  <Override PartName="/ppt/slideLayouts/slideLayout1095.xml" ContentType="application/vnd.openxmlformats-officedocument.presentationml.slideLayout+xml"/>
  <Override PartName="/ppt/slideLayouts/slideLayout1096.xml" ContentType="application/vnd.openxmlformats-officedocument.presentationml.slideLayout+xml"/>
  <Override PartName="/ppt/slideLayouts/slideLayout1097.xml" ContentType="application/vnd.openxmlformats-officedocument.presentationml.slideLayout+xml"/>
  <Override PartName="/ppt/theme/theme155.xml" ContentType="application/vnd.openxmlformats-officedocument.theme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slideLayouts/slideLayout1098.xml" ContentType="application/vnd.openxmlformats-officedocument.presentationml.slideLayout+xml"/>
  <Override PartName="/ppt/slideLayouts/slideLayout1099.xml" ContentType="application/vnd.openxmlformats-officedocument.presentationml.slideLayout+xml"/>
  <Override PartName="/ppt/slideLayouts/slideLayout1100.xml" ContentType="application/vnd.openxmlformats-officedocument.presentationml.slideLayout+xml"/>
  <Override PartName="/ppt/slideLayouts/slideLayout1101.xml" ContentType="application/vnd.openxmlformats-officedocument.presentationml.slideLayout+xml"/>
  <Override PartName="/ppt/slideLayouts/slideLayout1102.xml" ContentType="application/vnd.openxmlformats-officedocument.presentationml.slideLayout+xml"/>
  <Override PartName="/ppt/slideLayouts/slideLayout1103.xml" ContentType="application/vnd.openxmlformats-officedocument.presentationml.slideLayout+xml"/>
  <Override PartName="/ppt/slideLayouts/slideLayout1104.xml" ContentType="application/vnd.openxmlformats-officedocument.presentationml.slideLayout+xml"/>
  <Override PartName="/ppt/slideLayouts/slideLayout1105.xml" ContentType="application/vnd.openxmlformats-officedocument.presentationml.slideLayout+xml"/>
  <Override PartName="/ppt/slideLayouts/slideLayout1106.xml" ContentType="application/vnd.openxmlformats-officedocument.presentationml.slideLayout+xml"/>
  <Override PartName="/ppt/slideLayouts/slideLayout1107.xml" ContentType="application/vnd.openxmlformats-officedocument.presentationml.slideLayout+xml"/>
  <Override PartName="/ppt/theme/theme156.xml" ContentType="application/vnd.openxmlformats-officedocument.theme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slideLayouts/slideLayout1108.xml" ContentType="application/vnd.openxmlformats-officedocument.presentationml.slideLayout+xml"/>
  <Override PartName="/ppt/slideLayouts/slideLayout1109.xml" ContentType="application/vnd.openxmlformats-officedocument.presentationml.slideLayout+xml"/>
  <Override PartName="/ppt/slideLayouts/slideLayout1110.xml" ContentType="application/vnd.openxmlformats-officedocument.presentationml.slideLayout+xml"/>
  <Override PartName="/ppt/theme/theme157.xml" ContentType="application/vnd.openxmlformats-officedocument.theme+xml"/>
  <Override PartName="/ppt/slideLayouts/slideLayout1111.xml" ContentType="application/vnd.openxmlformats-officedocument.presentationml.slideLayout+xml"/>
  <Override PartName="/ppt/slideLayouts/slideLayout1112.xml" ContentType="application/vnd.openxmlformats-officedocument.presentationml.slideLayout+xml"/>
  <Override PartName="/ppt/slideLayouts/slideLayout1113.xml" ContentType="application/vnd.openxmlformats-officedocument.presentationml.slideLayout+xml"/>
  <Override PartName="/ppt/slideLayouts/slideLayout1114.xml" ContentType="application/vnd.openxmlformats-officedocument.presentationml.slideLayout+xml"/>
  <Override PartName="/ppt/slideLayouts/slideLayout1115.xml" ContentType="application/vnd.openxmlformats-officedocument.presentationml.slideLayout+xml"/>
  <Override PartName="/ppt/slideLayouts/slideLayout1116.xml" ContentType="application/vnd.openxmlformats-officedocument.presentationml.slideLayout+xml"/>
  <Override PartName="/ppt/slideLayouts/slideLayout1117.xml" ContentType="application/vnd.openxmlformats-officedocument.presentationml.slideLayout+xml"/>
  <Override PartName="/ppt/slideLayouts/slideLayout1118.xml" ContentType="application/vnd.openxmlformats-officedocument.presentationml.slideLayout+xml"/>
  <Override PartName="/ppt/theme/theme158.xml" ContentType="application/vnd.openxmlformats-officedocument.theme+xml"/>
  <Override PartName="/ppt/slideLayouts/slideLayout1119.xml" ContentType="application/vnd.openxmlformats-officedocument.presentationml.slideLayout+xml"/>
  <Override PartName="/ppt/slideLayouts/slideLayout1120.xml" ContentType="application/vnd.openxmlformats-officedocument.presentationml.slideLayout+xml"/>
  <Override PartName="/ppt/slideLayouts/slideLayout1121.xml" ContentType="application/vnd.openxmlformats-officedocument.presentationml.slideLayout+xml"/>
  <Override PartName="/ppt/slideLayouts/slideLayout1122.xml" ContentType="application/vnd.openxmlformats-officedocument.presentationml.slideLayout+xml"/>
  <Override PartName="/ppt/theme/theme159.xml" ContentType="application/vnd.openxmlformats-officedocument.theme+xml"/>
  <Override PartName="/ppt/slideLayouts/slideLayout1123.xml" ContentType="application/vnd.openxmlformats-officedocument.presentationml.slideLayout+xml"/>
  <Override PartName="/ppt/slideLayouts/slideLayout1124.xml" ContentType="application/vnd.openxmlformats-officedocument.presentationml.slideLayout+xml"/>
  <Override PartName="/ppt/slideLayouts/slideLayout1125.xml" ContentType="application/vnd.openxmlformats-officedocument.presentationml.slideLayout+xml"/>
  <Override PartName="/ppt/slideLayouts/slideLayout1126.xml" ContentType="application/vnd.openxmlformats-officedocument.presentationml.slideLayout+xml"/>
  <Override PartName="/ppt/theme/theme160.xml" ContentType="application/vnd.openxmlformats-officedocument.theme+xml"/>
  <Override PartName="/ppt/slideLayouts/slideLayout1127.xml" ContentType="application/vnd.openxmlformats-officedocument.presentationml.slideLayout+xml"/>
  <Override PartName="/ppt/slideLayouts/slideLayout1128.xml" ContentType="application/vnd.openxmlformats-officedocument.presentationml.slideLayout+xml"/>
  <Override PartName="/ppt/slideLayouts/slideLayout1129.xml" ContentType="application/vnd.openxmlformats-officedocument.presentationml.slideLayout+xml"/>
  <Override PartName="/ppt/slideLayouts/slideLayout1130.xml" ContentType="application/vnd.openxmlformats-officedocument.presentationml.slideLayout+xml"/>
  <Override PartName="/ppt/theme/theme161.xml" ContentType="application/vnd.openxmlformats-officedocument.theme+xml"/>
  <Override PartName="/ppt/slideLayouts/slideLayout1131.xml" ContentType="application/vnd.openxmlformats-officedocument.presentationml.slideLayout+xml"/>
  <Override PartName="/ppt/slideLayouts/slideLayout1132.xml" ContentType="application/vnd.openxmlformats-officedocument.presentationml.slideLayout+xml"/>
  <Override PartName="/ppt/slideLayouts/slideLayout1133.xml" ContentType="application/vnd.openxmlformats-officedocument.presentationml.slideLayout+xml"/>
  <Override PartName="/ppt/slideLayouts/slideLayout1134.xml" ContentType="application/vnd.openxmlformats-officedocument.presentationml.slideLayout+xml"/>
  <Override PartName="/ppt/slideLayouts/slideLayout1135.xml" ContentType="application/vnd.openxmlformats-officedocument.presentationml.slideLayout+xml"/>
  <Override PartName="/ppt/slideLayouts/slideLayout1136.xml" ContentType="application/vnd.openxmlformats-officedocument.presentationml.slideLayout+xml"/>
  <Override PartName="/ppt/slideLayouts/slideLayout1137.xml" ContentType="application/vnd.openxmlformats-officedocument.presentationml.slideLayout+xml"/>
  <Override PartName="/ppt/slideLayouts/slideLayout1138.xml" ContentType="application/vnd.openxmlformats-officedocument.presentationml.slideLayout+xml"/>
  <Override PartName="/ppt/slideLayouts/slideLayout1139.xml" ContentType="application/vnd.openxmlformats-officedocument.presentationml.slideLayout+xml"/>
  <Override PartName="/ppt/slideLayouts/slideLayout1140.xml" ContentType="application/vnd.openxmlformats-officedocument.presentationml.slideLayout+xml"/>
  <Override PartName="/ppt/theme/theme162.xml" ContentType="application/vnd.openxmlformats-officedocument.theme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slideLayouts/slideLayout1141.xml" ContentType="application/vnd.openxmlformats-officedocument.presentationml.slideLayout+xml"/>
  <Override PartName="/ppt/slideLayouts/slideLayout1142.xml" ContentType="application/vnd.openxmlformats-officedocument.presentationml.slideLayout+xml"/>
  <Override PartName="/ppt/slideLayouts/slideLayout1143.xml" ContentType="application/vnd.openxmlformats-officedocument.presentationml.slideLayout+xml"/>
  <Override PartName="/ppt/slideLayouts/slideLayout1144.xml" ContentType="application/vnd.openxmlformats-officedocument.presentationml.slideLayout+xml"/>
  <Override PartName="/ppt/slideLayouts/slideLayout1145.xml" ContentType="application/vnd.openxmlformats-officedocument.presentationml.slideLayout+xml"/>
  <Override PartName="/ppt/slideLayouts/slideLayout1146.xml" ContentType="application/vnd.openxmlformats-officedocument.presentationml.slideLayout+xml"/>
  <Override PartName="/ppt/slideLayouts/slideLayout1147.xml" ContentType="application/vnd.openxmlformats-officedocument.presentationml.slideLayout+xml"/>
  <Override PartName="/ppt/slideLayouts/slideLayout1148.xml" ContentType="application/vnd.openxmlformats-officedocument.presentationml.slideLayout+xml"/>
  <Override PartName="/ppt/slideLayouts/slideLayout1149.xml" ContentType="application/vnd.openxmlformats-officedocument.presentationml.slideLayout+xml"/>
  <Override PartName="/ppt/slideLayouts/slideLayout1150.xml" ContentType="application/vnd.openxmlformats-officedocument.presentationml.slideLayout+xml"/>
  <Override PartName="/ppt/theme/theme163.xml" ContentType="application/vnd.openxmlformats-officedocument.theme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slideLayouts/slideLayout1151.xml" ContentType="application/vnd.openxmlformats-officedocument.presentationml.slideLayout+xml"/>
  <Override PartName="/ppt/slideLayouts/slideLayout1152.xml" ContentType="application/vnd.openxmlformats-officedocument.presentationml.slideLayout+xml"/>
  <Override PartName="/ppt/slideLayouts/slideLayout1153.xml" ContentType="application/vnd.openxmlformats-officedocument.presentationml.slideLayout+xml"/>
  <Override PartName="/ppt/slideLayouts/slideLayout1154.xml" ContentType="application/vnd.openxmlformats-officedocument.presentationml.slideLayout+xml"/>
  <Override PartName="/ppt/slideLayouts/slideLayout1155.xml" ContentType="application/vnd.openxmlformats-officedocument.presentationml.slideLayout+xml"/>
  <Override PartName="/ppt/slideLayouts/slideLayout1156.xml" ContentType="application/vnd.openxmlformats-officedocument.presentationml.slideLayout+xml"/>
  <Override PartName="/ppt/slideLayouts/slideLayout1157.xml" ContentType="application/vnd.openxmlformats-officedocument.presentationml.slideLayout+xml"/>
  <Override PartName="/ppt/slideLayouts/slideLayout1158.xml" ContentType="application/vnd.openxmlformats-officedocument.presentationml.slideLayout+xml"/>
  <Override PartName="/ppt/theme/theme164.xml" ContentType="application/vnd.openxmlformats-officedocument.theme+xml"/>
  <Override PartName="/ppt/slideLayouts/slideLayout1159.xml" ContentType="application/vnd.openxmlformats-officedocument.presentationml.slideLayout+xml"/>
  <Override PartName="/ppt/slideLayouts/slideLayout1160.xml" ContentType="application/vnd.openxmlformats-officedocument.presentationml.slideLayout+xml"/>
  <Override PartName="/ppt/slideLayouts/slideLayout1161.xml" ContentType="application/vnd.openxmlformats-officedocument.presentationml.slideLayout+xml"/>
  <Override PartName="/ppt/slideLayouts/slideLayout1162.xml" ContentType="application/vnd.openxmlformats-officedocument.presentationml.slideLayout+xml"/>
  <Override PartName="/ppt/theme/theme165.xml" ContentType="application/vnd.openxmlformats-officedocument.theme+xml"/>
  <Override PartName="/ppt/slideLayouts/slideLayout1163.xml" ContentType="application/vnd.openxmlformats-officedocument.presentationml.slideLayout+xml"/>
  <Override PartName="/ppt/slideLayouts/slideLayout1164.xml" ContentType="application/vnd.openxmlformats-officedocument.presentationml.slideLayout+xml"/>
  <Override PartName="/ppt/slideLayouts/slideLayout1165.xml" ContentType="application/vnd.openxmlformats-officedocument.presentationml.slideLayout+xml"/>
  <Override PartName="/ppt/slideLayouts/slideLayout1166.xml" ContentType="application/vnd.openxmlformats-officedocument.presentationml.slideLayout+xml"/>
  <Override PartName="/ppt/theme/theme166.xml" ContentType="application/vnd.openxmlformats-officedocument.theme+xml"/>
  <Override PartName="/ppt/tags/tag200.xml" ContentType="application/vnd.openxmlformats-officedocument.presentationml.tags+xml"/>
  <Override PartName="/ppt/slideLayouts/slideLayout1167.xml" ContentType="application/vnd.openxmlformats-officedocument.presentationml.slideLayout+xml"/>
  <Override PartName="/ppt/slideLayouts/slideLayout1168.xml" ContentType="application/vnd.openxmlformats-officedocument.presentationml.slideLayout+xml"/>
  <Override PartName="/ppt/slideLayouts/slideLayout1169.xml" ContentType="application/vnd.openxmlformats-officedocument.presentationml.slideLayout+xml"/>
  <Override PartName="/ppt/slideLayouts/slideLayout1170.xml" ContentType="application/vnd.openxmlformats-officedocument.presentationml.slideLayout+xml"/>
  <Override PartName="/ppt/theme/theme167.xml" ContentType="application/vnd.openxmlformats-officedocument.theme+xml"/>
  <Override PartName="/ppt/tags/tag201.xml" ContentType="application/vnd.openxmlformats-officedocument.presentationml.tags+xml"/>
  <Override PartName="/ppt/slideLayouts/slideLayout1171.xml" ContentType="application/vnd.openxmlformats-officedocument.presentationml.slideLayout+xml"/>
  <Override PartName="/ppt/slideLayouts/slideLayout1172.xml" ContentType="application/vnd.openxmlformats-officedocument.presentationml.slideLayout+xml"/>
  <Override PartName="/ppt/slideLayouts/slideLayout1173.xml" ContentType="application/vnd.openxmlformats-officedocument.presentationml.slideLayout+xml"/>
  <Override PartName="/ppt/slideLayouts/slideLayout1174.xml" ContentType="application/vnd.openxmlformats-officedocument.presentationml.slideLayout+xml"/>
  <Override PartName="/ppt/slideLayouts/slideLayout1175.xml" ContentType="application/vnd.openxmlformats-officedocument.presentationml.slideLayout+xml"/>
  <Override PartName="/ppt/slideLayouts/slideLayout1176.xml" ContentType="application/vnd.openxmlformats-officedocument.presentationml.slideLayout+xml"/>
  <Override PartName="/ppt/slideLayouts/slideLayout1177.xml" ContentType="application/vnd.openxmlformats-officedocument.presentationml.slideLayout+xml"/>
  <Override PartName="/ppt/slideLayouts/slideLayout1178.xml" ContentType="application/vnd.openxmlformats-officedocument.presentationml.slideLayout+xml"/>
  <Override PartName="/ppt/slideLayouts/slideLayout1179.xml" ContentType="application/vnd.openxmlformats-officedocument.presentationml.slideLayout+xml"/>
  <Override PartName="/ppt/slideLayouts/slideLayout1180.xml" ContentType="application/vnd.openxmlformats-officedocument.presentationml.slideLayout+xml"/>
  <Override PartName="/ppt/slideLayouts/slideLayout1181.xml" ContentType="application/vnd.openxmlformats-officedocument.presentationml.slideLayout+xml"/>
  <Override PartName="/ppt/theme/theme168.xml" ContentType="application/vnd.openxmlformats-officedocument.theme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slideLayouts/slideLayout1182.xml" ContentType="application/vnd.openxmlformats-officedocument.presentationml.slideLayout+xml"/>
  <Override PartName="/ppt/slideLayouts/slideLayout1183.xml" ContentType="application/vnd.openxmlformats-officedocument.presentationml.slideLayout+xml"/>
  <Override PartName="/ppt/slideLayouts/slideLayout1184.xml" ContentType="application/vnd.openxmlformats-officedocument.presentationml.slideLayout+xml"/>
  <Override PartName="/ppt/slideLayouts/slideLayout1185.xml" ContentType="application/vnd.openxmlformats-officedocument.presentationml.slideLayout+xml"/>
  <Override PartName="/ppt/slideLayouts/slideLayout1186.xml" ContentType="application/vnd.openxmlformats-officedocument.presentationml.slideLayout+xml"/>
  <Override PartName="/ppt/slideLayouts/slideLayout1187.xml" ContentType="application/vnd.openxmlformats-officedocument.presentationml.slideLayout+xml"/>
  <Override PartName="/ppt/slideLayouts/slideLayout1188.xml" ContentType="application/vnd.openxmlformats-officedocument.presentationml.slideLayout+xml"/>
  <Override PartName="/ppt/slideLayouts/slideLayout1189.xml" ContentType="application/vnd.openxmlformats-officedocument.presentationml.slideLayout+xml"/>
  <Override PartName="/ppt/theme/theme169.xml" ContentType="application/vnd.openxmlformats-officedocument.theme+xml"/>
  <Override PartName="/ppt/slideLayouts/slideLayout1190.xml" ContentType="application/vnd.openxmlformats-officedocument.presentationml.slideLayout+xml"/>
  <Override PartName="/ppt/slideLayouts/slideLayout1191.xml" ContentType="application/vnd.openxmlformats-officedocument.presentationml.slideLayout+xml"/>
  <Override PartName="/ppt/slideLayouts/slideLayout1192.xml" ContentType="application/vnd.openxmlformats-officedocument.presentationml.slideLayout+xml"/>
  <Override PartName="/ppt/theme/theme170.xml" ContentType="application/vnd.openxmlformats-officedocument.theme+xml"/>
  <Override PartName="/ppt/slideLayouts/slideLayout1193.xml" ContentType="application/vnd.openxmlformats-officedocument.presentationml.slideLayout+xml"/>
  <Override PartName="/ppt/slideLayouts/slideLayout1194.xml" ContentType="application/vnd.openxmlformats-officedocument.presentationml.slideLayout+xml"/>
  <Override PartName="/ppt/slideLayouts/slideLayout1195.xml" ContentType="application/vnd.openxmlformats-officedocument.presentationml.slideLayout+xml"/>
  <Override PartName="/ppt/slideLayouts/slideLayout1196.xml" ContentType="application/vnd.openxmlformats-officedocument.presentationml.slideLayout+xml"/>
  <Override PartName="/ppt/slideLayouts/slideLayout1197.xml" ContentType="application/vnd.openxmlformats-officedocument.presentationml.slideLayout+xml"/>
  <Override PartName="/ppt/slideLayouts/slideLayout1198.xml" ContentType="application/vnd.openxmlformats-officedocument.presentationml.slideLayout+xml"/>
  <Override PartName="/ppt/slideLayouts/slideLayout1199.xml" ContentType="application/vnd.openxmlformats-officedocument.presentationml.slideLayout+xml"/>
  <Override PartName="/ppt/slideLayouts/slideLayout1200.xml" ContentType="application/vnd.openxmlformats-officedocument.presentationml.slideLayout+xml"/>
  <Override PartName="/ppt/slideLayouts/slideLayout1201.xml" ContentType="application/vnd.openxmlformats-officedocument.presentationml.slideLayout+xml"/>
  <Override PartName="/ppt/slideLayouts/slideLayout1202.xml" ContentType="application/vnd.openxmlformats-officedocument.presentationml.slideLayout+xml"/>
  <Override PartName="/ppt/theme/theme171.xml" ContentType="application/vnd.openxmlformats-officedocument.theme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slideLayouts/slideLayout1203.xml" ContentType="application/vnd.openxmlformats-officedocument.presentationml.slideLayout+xml"/>
  <Override PartName="/ppt/slideLayouts/slideLayout1204.xml" ContentType="application/vnd.openxmlformats-officedocument.presentationml.slideLayout+xml"/>
  <Override PartName="/ppt/slideLayouts/slideLayout1205.xml" ContentType="application/vnd.openxmlformats-officedocument.presentationml.slideLayout+xml"/>
  <Override PartName="/ppt/slideLayouts/slideLayout1206.xml" ContentType="application/vnd.openxmlformats-officedocument.presentationml.slideLayout+xml"/>
  <Override PartName="/ppt/theme/theme172.xml" ContentType="application/vnd.openxmlformats-officedocument.theme+xml"/>
  <Override PartName="/ppt/tags/tag211.xml" ContentType="application/vnd.openxmlformats-officedocument.presentationml.tags+xml"/>
  <Override PartName="/ppt/slideLayouts/slideLayout1207.xml" ContentType="application/vnd.openxmlformats-officedocument.presentationml.slideLayout+xml"/>
  <Override PartName="/ppt/slideLayouts/slideLayout1208.xml" ContentType="application/vnd.openxmlformats-officedocument.presentationml.slideLayout+xml"/>
  <Override PartName="/ppt/slideLayouts/slideLayout1209.xml" ContentType="application/vnd.openxmlformats-officedocument.presentationml.slideLayout+xml"/>
  <Override PartName="/ppt/slideLayouts/slideLayout1210.xml" ContentType="application/vnd.openxmlformats-officedocument.presentationml.slideLayout+xml"/>
  <Override PartName="/ppt/theme/theme173.xml" ContentType="application/vnd.openxmlformats-officedocument.theme+xml"/>
  <Override PartName="/ppt/tags/tag212.xml" ContentType="application/vnd.openxmlformats-officedocument.presentationml.tags+xml"/>
  <Override PartName="/ppt/slideLayouts/slideLayout1211.xml" ContentType="application/vnd.openxmlformats-officedocument.presentationml.slideLayout+xml"/>
  <Override PartName="/ppt/slideLayouts/slideLayout1212.xml" ContentType="application/vnd.openxmlformats-officedocument.presentationml.slideLayout+xml"/>
  <Override PartName="/ppt/slideLayouts/slideLayout1213.xml" ContentType="application/vnd.openxmlformats-officedocument.presentationml.slideLayout+xml"/>
  <Override PartName="/ppt/slideLayouts/slideLayout1214.xml" ContentType="application/vnd.openxmlformats-officedocument.presentationml.slideLayout+xml"/>
  <Override PartName="/ppt/slideLayouts/slideLayout1215.xml" ContentType="application/vnd.openxmlformats-officedocument.presentationml.slideLayout+xml"/>
  <Override PartName="/ppt/slideLayouts/slideLayout1216.xml" ContentType="application/vnd.openxmlformats-officedocument.presentationml.slideLayout+xml"/>
  <Override PartName="/ppt/slideLayouts/slideLayout1217.xml" ContentType="application/vnd.openxmlformats-officedocument.presentationml.slideLayout+xml"/>
  <Override PartName="/ppt/slideLayouts/slideLayout1218.xml" ContentType="application/vnd.openxmlformats-officedocument.presentationml.slideLayout+xml"/>
  <Override PartName="/ppt/theme/theme174.xml" ContentType="application/vnd.openxmlformats-officedocument.theme+xml"/>
  <Override PartName="/ppt/tags/tag213.xml" ContentType="application/vnd.openxmlformats-officedocument.presentationml.tags+xml"/>
  <Override PartName="/ppt/slideLayouts/slideLayout1219.xml" ContentType="application/vnd.openxmlformats-officedocument.presentationml.slideLayout+xml"/>
  <Override PartName="/ppt/slideLayouts/slideLayout1220.xml" ContentType="application/vnd.openxmlformats-officedocument.presentationml.slideLayout+xml"/>
  <Override PartName="/ppt/slideLayouts/slideLayout1221.xml" ContentType="application/vnd.openxmlformats-officedocument.presentationml.slideLayout+xml"/>
  <Override PartName="/ppt/slideLayouts/slideLayout1222.xml" ContentType="application/vnd.openxmlformats-officedocument.presentationml.slideLayout+xml"/>
  <Override PartName="/ppt/slideLayouts/slideLayout1223.xml" ContentType="application/vnd.openxmlformats-officedocument.presentationml.slideLayout+xml"/>
  <Override PartName="/ppt/slideLayouts/slideLayout1224.xml" ContentType="application/vnd.openxmlformats-officedocument.presentationml.slideLayout+xml"/>
  <Override PartName="/ppt/slideLayouts/slideLayout1225.xml" ContentType="application/vnd.openxmlformats-officedocument.presentationml.slideLayout+xml"/>
  <Override PartName="/ppt/slideLayouts/slideLayout1226.xml" ContentType="application/vnd.openxmlformats-officedocument.presentationml.slideLayout+xml"/>
  <Override PartName="/ppt/theme/theme175.xml" ContentType="application/vnd.openxmlformats-officedocument.theme+xml"/>
  <Override PartName="/ppt/tags/tag214.xml" ContentType="application/vnd.openxmlformats-officedocument.presentationml.tags+xml"/>
  <Override PartName="/ppt/slideLayouts/slideLayout1227.xml" ContentType="application/vnd.openxmlformats-officedocument.presentationml.slideLayout+xml"/>
  <Override PartName="/ppt/slideLayouts/slideLayout1228.xml" ContentType="application/vnd.openxmlformats-officedocument.presentationml.slideLayout+xml"/>
  <Override PartName="/ppt/slideLayouts/slideLayout1229.xml" ContentType="application/vnd.openxmlformats-officedocument.presentationml.slideLayout+xml"/>
  <Override PartName="/ppt/slideLayouts/slideLayout1230.xml" ContentType="application/vnd.openxmlformats-officedocument.presentationml.slideLayout+xml"/>
  <Override PartName="/ppt/slideLayouts/slideLayout1231.xml" ContentType="application/vnd.openxmlformats-officedocument.presentationml.slideLayout+xml"/>
  <Override PartName="/ppt/slideLayouts/slideLayout1232.xml" ContentType="application/vnd.openxmlformats-officedocument.presentationml.slideLayout+xml"/>
  <Override PartName="/ppt/slideLayouts/slideLayout1233.xml" ContentType="application/vnd.openxmlformats-officedocument.presentationml.slideLayout+xml"/>
  <Override PartName="/ppt/slideLayouts/slideLayout1234.xml" ContentType="application/vnd.openxmlformats-officedocument.presentationml.slideLayout+xml"/>
  <Override PartName="/ppt/theme/theme176.xml" ContentType="application/vnd.openxmlformats-officedocument.theme+xml"/>
  <Override PartName="/ppt/tags/tag215.xml" ContentType="application/vnd.openxmlformats-officedocument.presentationml.tags+xml"/>
  <Override PartName="/ppt/slideLayouts/slideLayout1235.xml" ContentType="application/vnd.openxmlformats-officedocument.presentationml.slideLayout+xml"/>
  <Override PartName="/ppt/slideLayouts/slideLayout1236.xml" ContentType="application/vnd.openxmlformats-officedocument.presentationml.slideLayout+xml"/>
  <Override PartName="/ppt/slideLayouts/slideLayout1237.xml" ContentType="application/vnd.openxmlformats-officedocument.presentationml.slideLayout+xml"/>
  <Override PartName="/ppt/slideLayouts/slideLayout1238.xml" ContentType="application/vnd.openxmlformats-officedocument.presentationml.slideLayout+xml"/>
  <Override PartName="/ppt/slideLayouts/slideLayout1239.xml" ContentType="application/vnd.openxmlformats-officedocument.presentationml.slideLayout+xml"/>
  <Override PartName="/ppt/slideLayouts/slideLayout1240.xml" ContentType="application/vnd.openxmlformats-officedocument.presentationml.slideLayout+xml"/>
  <Override PartName="/ppt/slideLayouts/slideLayout1241.xml" ContentType="application/vnd.openxmlformats-officedocument.presentationml.slideLayout+xml"/>
  <Override PartName="/ppt/slideLayouts/slideLayout1242.xml" ContentType="application/vnd.openxmlformats-officedocument.presentationml.slideLayout+xml"/>
  <Override PartName="/ppt/slideLayouts/slideLayout1243.xml" ContentType="application/vnd.openxmlformats-officedocument.presentationml.slideLayout+xml"/>
  <Override PartName="/ppt/slideLayouts/slideLayout1244.xml" ContentType="application/vnd.openxmlformats-officedocument.presentationml.slideLayout+xml"/>
  <Override PartName="/ppt/theme/theme177.xml" ContentType="application/vnd.openxmlformats-officedocument.theme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slideLayouts/slideLayout1245.xml" ContentType="application/vnd.openxmlformats-officedocument.presentationml.slideLayout+xml"/>
  <Override PartName="/ppt/slideLayouts/slideLayout1246.xml" ContentType="application/vnd.openxmlformats-officedocument.presentationml.slideLayout+xml"/>
  <Override PartName="/ppt/slideLayouts/slideLayout1247.xml" ContentType="application/vnd.openxmlformats-officedocument.presentationml.slideLayout+xml"/>
  <Override PartName="/ppt/slideLayouts/slideLayout1248.xml" ContentType="application/vnd.openxmlformats-officedocument.presentationml.slideLayout+xml"/>
  <Override PartName="/ppt/slideLayouts/slideLayout1249.xml" ContentType="application/vnd.openxmlformats-officedocument.presentationml.slideLayout+xml"/>
  <Override PartName="/ppt/slideLayouts/slideLayout1250.xml" ContentType="application/vnd.openxmlformats-officedocument.presentationml.slideLayout+xml"/>
  <Override PartName="/ppt/theme/theme178.xml" ContentType="application/vnd.openxmlformats-officedocument.theme+xml"/>
  <Override PartName="/ppt/slideLayouts/slideLayout1251.xml" ContentType="application/vnd.openxmlformats-officedocument.presentationml.slideLayout+xml"/>
  <Override PartName="/ppt/slideLayouts/slideLayout1252.xml" ContentType="application/vnd.openxmlformats-officedocument.presentationml.slideLayout+xml"/>
  <Override PartName="/ppt/slideLayouts/slideLayout1253.xml" ContentType="application/vnd.openxmlformats-officedocument.presentationml.slideLayout+xml"/>
  <Override PartName="/ppt/slideLayouts/slideLayout1254.xml" ContentType="application/vnd.openxmlformats-officedocument.presentationml.slideLayout+xml"/>
  <Override PartName="/ppt/slideLayouts/slideLayout1255.xml" ContentType="application/vnd.openxmlformats-officedocument.presentationml.slideLayout+xml"/>
  <Override PartName="/ppt/slideLayouts/slideLayout1256.xml" ContentType="application/vnd.openxmlformats-officedocument.presentationml.slideLayout+xml"/>
  <Override PartName="/ppt/slideLayouts/slideLayout1257.xml" ContentType="application/vnd.openxmlformats-officedocument.presentationml.slideLayout+xml"/>
  <Override PartName="/ppt/slideLayouts/slideLayout1258.xml" ContentType="application/vnd.openxmlformats-officedocument.presentationml.slideLayout+xml"/>
  <Override PartName="/ppt/slideLayouts/slideLayout1259.xml" ContentType="application/vnd.openxmlformats-officedocument.presentationml.slideLayout+xml"/>
  <Override PartName="/ppt/slideLayouts/slideLayout1260.xml" ContentType="application/vnd.openxmlformats-officedocument.presentationml.slideLayout+xml"/>
  <Override PartName="/ppt/slideLayouts/slideLayout1261.xml" ContentType="application/vnd.openxmlformats-officedocument.presentationml.slideLayout+xml"/>
  <Override PartName="/ppt/theme/theme179.xml" ContentType="application/vnd.openxmlformats-officedocument.theme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slideLayouts/slideLayout1262.xml" ContentType="application/vnd.openxmlformats-officedocument.presentationml.slideLayout+xml"/>
  <Override PartName="/ppt/slideLayouts/slideLayout1263.xml" ContentType="application/vnd.openxmlformats-officedocument.presentationml.slideLayout+xml"/>
  <Override PartName="/ppt/slideLayouts/slideLayout1264.xml" ContentType="application/vnd.openxmlformats-officedocument.presentationml.slideLayout+xml"/>
  <Override PartName="/ppt/slideLayouts/slideLayout1265.xml" ContentType="application/vnd.openxmlformats-officedocument.presentationml.slideLayout+xml"/>
  <Override PartName="/ppt/theme/theme180.xml" ContentType="application/vnd.openxmlformats-officedocument.theme+xml"/>
  <Override PartName="/ppt/slideLayouts/slideLayout1266.xml" ContentType="application/vnd.openxmlformats-officedocument.presentationml.slideLayout+xml"/>
  <Override PartName="/ppt/slideLayouts/slideLayout1267.xml" ContentType="application/vnd.openxmlformats-officedocument.presentationml.slideLayout+xml"/>
  <Override PartName="/ppt/slideLayouts/slideLayout1268.xml" ContentType="application/vnd.openxmlformats-officedocument.presentationml.slideLayout+xml"/>
  <Override PartName="/ppt/slideLayouts/slideLayout1269.xml" ContentType="application/vnd.openxmlformats-officedocument.presentationml.slideLayout+xml"/>
  <Override PartName="/ppt/slideLayouts/slideLayout1270.xml" ContentType="application/vnd.openxmlformats-officedocument.presentationml.slideLayout+xml"/>
  <Override PartName="/ppt/slideLayouts/slideLayout1271.xml" ContentType="application/vnd.openxmlformats-officedocument.presentationml.slideLayout+xml"/>
  <Override PartName="/ppt/slideLayouts/slideLayout1272.xml" ContentType="application/vnd.openxmlformats-officedocument.presentationml.slideLayout+xml"/>
  <Override PartName="/ppt/slideLayouts/slideLayout1273.xml" ContentType="application/vnd.openxmlformats-officedocument.presentationml.slideLayout+xml"/>
  <Override PartName="/ppt/theme/theme181.xml" ContentType="application/vnd.openxmlformats-officedocument.theme+xml"/>
  <Override PartName="/ppt/slideLayouts/slideLayout1274.xml" ContentType="application/vnd.openxmlformats-officedocument.presentationml.slideLayout+xml"/>
  <Override PartName="/ppt/slideLayouts/slideLayout1275.xml" ContentType="application/vnd.openxmlformats-officedocument.presentationml.slideLayout+xml"/>
  <Override PartName="/ppt/slideLayouts/slideLayout1276.xml" ContentType="application/vnd.openxmlformats-officedocument.presentationml.slideLayout+xml"/>
  <Override PartName="/ppt/slideLayouts/slideLayout1277.xml" ContentType="application/vnd.openxmlformats-officedocument.presentationml.slideLayout+xml"/>
  <Override PartName="/ppt/slideLayouts/slideLayout1278.xml" ContentType="application/vnd.openxmlformats-officedocument.presentationml.slideLayout+xml"/>
  <Override PartName="/ppt/slideLayouts/slideLayout1279.xml" ContentType="application/vnd.openxmlformats-officedocument.presentationml.slideLayout+xml"/>
  <Override PartName="/ppt/slideLayouts/slideLayout1280.xml" ContentType="application/vnd.openxmlformats-officedocument.presentationml.slideLayout+xml"/>
  <Override PartName="/ppt/slideLayouts/slideLayout1281.xml" ContentType="application/vnd.openxmlformats-officedocument.presentationml.slideLayout+xml"/>
  <Override PartName="/ppt/theme/theme182.xml" ContentType="application/vnd.openxmlformats-officedocument.theme+xml"/>
  <Override PartName="/ppt/slideLayouts/slideLayout1282.xml" ContentType="application/vnd.openxmlformats-officedocument.presentationml.slideLayout+xml"/>
  <Override PartName="/ppt/slideLayouts/slideLayout1283.xml" ContentType="application/vnd.openxmlformats-officedocument.presentationml.slideLayout+xml"/>
  <Override PartName="/ppt/slideLayouts/slideLayout1284.xml" ContentType="application/vnd.openxmlformats-officedocument.presentationml.slideLayout+xml"/>
  <Override PartName="/ppt/slideLayouts/slideLayout1285.xml" ContentType="application/vnd.openxmlformats-officedocument.presentationml.slideLayout+xml"/>
  <Override PartName="/ppt/slideLayouts/slideLayout1286.xml" ContentType="application/vnd.openxmlformats-officedocument.presentationml.slideLayout+xml"/>
  <Override PartName="/ppt/slideLayouts/slideLayout1287.xml" ContentType="application/vnd.openxmlformats-officedocument.presentationml.slideLayout+xml"/>
  <Override PartName="/ppt/slideLayouts/slideLayout1288.xml" ContentType="application/vnd.openxmlformats-officedocument.presentationml.slideLayout+xml"/>
  <Override PartName="/ppt/slideLayouts/slideLayout1289.xml" ContentType="application/vnd.openxmlformats-officedocument.presentationml.slideLayout+xml"/>
  <Override PartName="/ppt/theme/theme183.xml" ContentType="application/vnd.openxmlformats-officedocument.theme+xml"/>
  <Override PartName="/ppt/slideLayouts/slideLayout1290.xml" ContentType="application/vnd.openxmlformats-officedocument.presentationml.slideLayout+xml"/>
  <Override PartName="/ppt/slideLayouts/slideLayout1291.xml" ContentType="application/vnd.openxmlformats-officedocument.presentationml.slideLayout+xml"/>
  <Override PartName="/ppt/slideLayouts/slideLayout1292.xml" ContentType="application/vnd.openxmlformats-officedocument.presentationml.slideLayout+xml"/>
  <Override PartName="/ppt/slideLayouts/slideLayout1293.xml" ContentType="application/vnd.openxmlformats-officedocument.presentationml.slideLayout+xml"/>
  <Override PartName="/ppt/theme/theme184.xml" ContentType="application/vnd.openxmlformats-officedocument.theme+xml"/>
  <Override PartName="/ppt/slideLayouts/slideLayout1294.xml" ContentType="application/vnd.openxmlformats-officedocument.presentationml.slideLayout+xml"/>
  <Override PartName="/ppt/slideLayouts/slideLayout1295.xml" ContentType="application/vnd.openxmlformats-officedocument.presentationml.slideLayout+xml"/>
  <Override PartName="/ppt/slideLayouts/slideLayout1296.xml" ContentType="application/vnd.openxmlformats-officedocument.presentationml.slideLayout+xml"/>
  <Override PartName="/ppt/slideLayouts/slideLayout1297.xml" ContentType="application/vnd.openxmlformats-officedocument.presentationml.slideLayout+xml"/>
  <Override PartName="/ppt/slideLayouts/slideLayout1298.xml" ContentType="application/vnd.openxmlformats-officedocument.presentationml.slideLayout+xml"/>
  <Override PartName="/ppt/slideLayouts/slideLayout1299.xml" ContentType="application/vnd.openxmlformats-officedocument.presentationml.slideLayout+xml"/>
  <Override PartName="/ppt/slideLayouts/slideLayout1300.xml" ContentType="application/vnd.openxmlformats-officedocument.presentationml.slideLayout+xml"/>
  <Override PartName="/ppt/slideLayouts/slideLayout1301.xml" ContentType="application/vnd.openxmlformats-officedocument.presentationml.slideLayout+xml"/>
  <Override PartName="/ppt/slideLayouts/slideLayout1302.xml" ContentType="application/vnd.openxmlformats-officedocument.presentationml.slideLayout+xml"/>
  <Override PartName="/ppt/slideLayouts/slideLayout1303.xml" ContentType="application/vnd.openxmlformats-officedocument.presentationml.slideLayout+xml"/>
  <Override PartName="/ppt/theme/theme185.xml" ContentType="application/vnd.openxmlformats-officedocument.theme+xml"/>
  <Override PartName="/ppt/slideLayouts/slideLayout1304.xml" ContentType="application/vnd.openxmlformats-officedocument.presentationml.slideLayout+xml"/>
  <Override PartName="/ppt/slideLayouts/slideLayout1305.xml" ContentType="application/vnd.openxmlformats-officedocument.presentationml.slideLayout+xml"/>
  <Override PartName="/ppt/slideLayouts/slideLayout1306.xml" ContentType="application/vnd.openxmlformats-officedocument.presentationml.slideLayout+xml"/>
  <Override PartName="/ppt/slideLayouts/slideLayout1307.xml" ContentType="application/vnd.openxmlformats-officedocument.presentationml.slideLayout+xml"/>
  <Override PartName="/ppt/slideLayouts/slideLayout1308.xml" ContentType="application/vnd.openxmlformats-officedocument.presentationml.slideLayout+xml"/>
  <Override PartName="/ppt/slideLayouts/slideLayout1309.xml" ContentType="application/vnd.openxmlformats-officedocument.presentationml.slideLayout+xml"/>
  <Override PartName="/ppt/slideLayouts/slideLayout1310.xml" ContentType="application/vnd.openxmlformats-officedocument.presentationml.slideLayout+xml"/>
  <Override PartName="/ppt/slideLayouts/slideLayout1311.xml" ContentType="application/vnd.openxmlformats-officedocument.presentationml.slideLayout+xml"/>
  <Override PartName="/ppt/theme/theme186.xml" ContentType="application/vnd.openxmlformats-officedocument.theme+xml"/>
  <Override PartName="/ppt/slideLayouts/slideLayout1312.xml" ContentType="application/vnd.openxmlformats-officedocument.presentationml.slideLayout+xml"/>
  <Override PartName="/ppt/slideLayouts/slideLayout1313.xml" ContentType="application/vnd.openxmlformats-officedocument.presentationml.slideLayout+xml"/>
  <Override PartName="/ppt/slideLayouts/slideLayout1314.xml" ContentType="application/vnd.openxmlformats-officedocument.presentationml.slideLayout+xml"/>
  <Override PartName="/ppt/slideLayouts/slideLayout1315.xml" ContentType="application/vnd.openxmlformats-officedocument.presentationml.slideLayout+xml"/>
  <Override PartName="/ppt/slideLayouts/slideLayout1316.xml" ContentType="application/vnd.openxmlformats-officedocument.presentationml.slideLayout+xml"/>
  <Override PartName="/ppt/slideLayouts/slideLayout1317.xml" ContentType="application/vnd.openxmlformats-officedocument.presentationml.slideLayout+xml"/>
  <Override PartName="/ppt/slideLayouts/slideLayout1318.xml" ContentType="application/vnd.openxmlformats-officedocument.presentationml.slideLayout+xml"/>
  <Override PartName="/ppt/slideLayouts/slideLayout1319.xml" ContentType="application/vnd.openxmlformats-officedocument.presentationml.slideLayout+xml"/>
  <Override PartName="/ppt/slideLayouts/slideLayout1320.xml" ContentType="application/vnd.openxmlformats-officedocument.presentationml.slideLayout+xml"/>
  <Override PartName="/ppt/slideLayouts/slideLayout1321.xml" ContentType="application/vnd.openxmlformats-officedocument.presentationml.slideLayout+xml"/>
  <Override PartName="/ppt/theme/theme187.xml" ContentType="application/vnd.openxmlformats-officedocument.theme+xml"/>
  <Override PartName="/ppt/slideLayouts/slideLayout1322.xml" ContentType="application/vnd.openxmlformats-officedocument.presentationml.slideLayout+xml"/>
  <Override PartName="/ppt/slideLayouts/slideLayout1323.xml" ContentType="application/vnd.openxmlformats-officedocument.presentationml.slideLayout+xml"/>
  <Override PartName="/ppt/slideLayouts/slideLayout1324.xml" ContentType="application/vnd.openxmlformats-officedocument.presentationml.slideLayout+xml"/>
  <Override PartName="/ppt/theme/theme188.xml" ContentType="application/vnd.openxmlformats-officedocument.theme+xml"/>
  <Override PartName="/ppt/slideLayouts/slideLayout1325.xml" ContentType="application/vnd.openxmlformats-officedocument.presentationml.slideLayout+xml"/>
  <Override PartName="/ppt/slideLayouts/slideLayout1326.xml" ContentType="application/vnd.openxmlformats-officedocument.presentationml.slideLayout+xml"/>
  <Override PartName="/ppt/slideLayouts/slideLayout1327.xml" ContentType="application/vnd.openxmlformats-officedocument.presentationml.slideLayout+xml"/>
  <Override PartName="/ppt/slideLayouts/slideLayout1328.xml" ContentType="application/vnd.openxmlformats-officedocument.presentationml.slideLayout+xml"/>
  <Override PartName="/ppt/slideLayouts/slideLayout1329.xml" ContentType="application/vnd.openxmlformats-officedocument.presentationml.slideLayout+xml"/>
  <Override PartName="/ppt/slideLayouts/slideLayout1330.xml" ContentType="application/vnd.openxmlformats-officedocument.presentationml.slideLayout+xml"/>
  <Override PartName="/ppt/slideLayouts/slideLayout1331.xml" ContentType="application/vnd.openxmlformats-officedocument.presentationml.slideLayout+xml"/>
  <Override PartName="/ppt/slideLayouts/slideLayout1332.xml" ContentType="application/vnd.openxmlformats-officedocument.presentationml.slideLayout+xml"/>
  <Override PartName="/ppt/theme/theme189.xml" ContentType="application/vnd.openxmlformats-officedocument.theme+xml"/>
  <Override PartName="/ppt/slideLayouts/slideLayout1333.xml" ContentType="application/vnd.openxmlformats-officedocument.presentationml.slideLayout+xml"/>
  <Override PartName="/ppt/slideLayouts/slideLayout1334.xml" ContentType="application/vnd.openxmlformats-officedocument.presentationml.slideLayout+xml"/>
  <Override PartName="/ppt/slideLayouts/slideLayout1335.xml" ContentType="application/vnd.openxmlformats-officedocument.presentationml.slideLayout+xml"/>
  <Override PartName="/ppt/slideLayouts/slideLayout1336.xml" ContentType="application/vnd.openxmlformats-officedocument.presentationml.slideLayout+xml"/>
  <Override PartName="/ppt/theme/theme190.xml" ContentType="application/vnd.openxmlformats-officedocument.theme+xml"/>
  <Override PartName="/ppt/slideLayouts/slideLayout1337.xml" ContentType="application/vnd.openxmlformats-officedocument.presentationml.slideLayout+xml"/>
  <Override PartName="/ppt/slideLayouts/slideLayout1338.xml" ContentType="application/vnd.openxmlformats-officedocument.presentationml.slideLayout+xml"/>
  <Override PartName="/ppt/slideLayouts/slideLayout1339.xml" ContentType="application/vnd.openxmlformats-officedocument.presentationml.slideLayout+xml"/>
  <Override PartName="/ppt/slideLayouts/slideLayout1340.xml" ContentType="application/vnd.openxmlformats-officedocument.presentationml.slideLayout+xml"/>
  <Override PartName="/ppt/slideLayouts/slideLayout1341.xml" ContentType="application/vnd.openxmlformats-officedocument.presentationml.slideLayout+xml"/>
  <Override PartName="/ppt/slideLayouts/slideLayout1342.xml" ContentType="application/vnd.openxmlformats-officedocument.presentationml.slideLayout+xml"/>
  <Override PartName="/ppt/slideLayouts/slideLayout1343.xml" ContentType="application/vnd.openxmlformats-officedocument.presentationml.slideLayout+xml"/>
  <Override PartName="/ppt/slideLayouts/slideLayout1344.xml" ContentType="application/vnd.openxmlformats-officedocument.presentationml.slideLayout+xml"/>
  <Override PartName="/ppt/slideLayouts/slideLayout1345.xml" ContentType="application/vnd.openxmlformats-officedocument.presentationml.slideLayout+xml"/>
  <Override PartName="/ppt/slideLayouts/slideLayout1346.xml" ContentType="application/vnd.openxmlformats-officedocument.presentationml.slideLayout+xml"/>
  <Override PartName="/ppt/theme/theme191.xml" ContentType="application/vnd.openxmlformats-officedocument.theme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slideLayouts/slideLayout1347.xml" ContentType="application/vnd.openxmlformats-officedocument.presentationml.slideLayout+xml"/>
  <Override PartName="/ppt/slideLayouts/slideLayout1348.xml" ContentType="application/vnd.openxmlformats-officedocument.presentationml.slideLayout+xml"/>
  <Override PartName="/ppt/slideLayouts/slideLayout1349.xml" ContentType="application/vnd.openxmlformats-officedocument.presentationml.slideLayout+xml"/>
  <Override PartName="/ppt/slideLayouts/slideLayout1350.xml" ContentType="application/vnd.openxmlformats-officedocument.presentationml.slideLayout+xml"/>
  <Override PartName="/ppt/slideLayouts/slideLayout1351.xml" ContentType="application/vnd.openxmlformats-officedocument.presentationml.slideLayout+xml"/>
  <Override PartName="/ppt/slideLayouts/slideLayout1352.xml" ContentType="application/vnd.openxmlformats-officedocument.presentationml.slideLayout+xml"/>
  <Override PartName="/ppt/slideLayouts/slideLayout1353.xml" ContentType="application/vnd.openxmlformats-officedocument.presentationml.slideLayout+xml"/>
  <Override PartName="/ppt/slideLayouts/slideLayout1354.xml" ContentType="application/vnd.openxmlformats-officedocument.presentationml.slideLayout+xml"/>
  <Override PartName="/ppt/slideLayouts/slideLayout1355.xml" ContentType="application/vnd.openxmlformats-officedocument.presentationml.slideLayout+xml"/>
  <Override PartName="/ppt/slideLayouts/slideLayout1356.xml" ContentType="application/vnd.openxmlformats-officedocument.presentationml.slideLayout+xml"/>
  <Override PartName="/ppt/theme/theme192.xml" ContentType="application/vnd.openxmlformats-officedocument.theme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slideLayouts/slideLayout1357.xml" ContentType="application/vnd.openxmlformats-officedocument.presentationml.slideLayout+xml"/>
  <Override PartName="/ppt/slideLayouts/slideLayout1358.xml" ContentType="application/vnd.openxmlformats-officedocument.presentationml.slideLayout+xml"/>
  <Override PartName="/ppt/slideLayouts/slideLayout1359.xml" ContentType="application/vnd.openxmlformats-officedocument.presentationml.slideLayout+xml"/>
  <Override PartName="/ppt/slideLayouts/slideLayout1360.xml" ContentType="application/vnd.openxmlformats-officedocument.presentationml.slideLayout+xml"/>
  <Override PartName="/ppt/slideLayouts/slideLayout1361.xml" ContentType="application/vnd.openxmlformats-officedocument.presentationml.slideLayout+xml"/>
  <Override PartName="/ppt/slideLayouts/slideLayout1362.xml" ContentType="application/vnd.openxmlformats-officedocument.presentationml.slideLayout+xml"/>
  <Override PartName="/ppt/slideLayouts/slideLayout1363.xml" ContentType="application/vnd.openxmlformats-officedocument.presentationml.slideLayout+xml"/>
  <Override PartName="/ppt/slideLayouts/slideLayout1364.xml" ContentType="application/vnd.openxmlformats-officedocument.presentationml.slideLayout+xml"/>
  <Override PartName="/ppt/slideLayouts/slideLayout1365.xml" ContentType="application/vnd.openxmlformats-officedocument.presentationml.slideLayout+xml"/>
  <Override PartName="/ppt/slideLayouts/slideLayout1366.xml" ContentType="application/vnd.openxmlformats-officedocument.presentationml.slideLayout+xml"/>
  <Override PartName="/ppt/theme/theme193.xml" ContentType="application/vnd.openxmlformats-officedocument.theme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slideLayouts/slideLayout1367.xml" ContentType="application/vnd.openxmlformats-officedocument.presentationml.slideLayout+xml"/>
  <Override PartName="/ppt/slideLayouts/slideLayout1368.xml" ContentType="application/vnd.openxmlformats-officedocument.presentationml.slideLayout+xml"/>
  <Override PartName="/ppt/slideLayouts/slideLayout1369.xml" ContentType="application/vnd.openxmlformats-officedocument.presentationml.slideLayout+xml"/>
  <Override PartName="/ppt/slideLayouts/slideLayout1370.xml" ContentType="application/vnd.openxmlformats-officedocument.presentationml.slideLayout+xml"/>
  <Override PartName="/ppt/slideLayouts/slideLayout1371.xml" ContentType="application/vnd.openxmlformats-officedocument.presentationml.slideLayout+xml"/>
  <Override PartName="/ppt/slideLayouts/slideLayout1372.xml" ContentType="application/vnd.openxmlformats-officedocument.presentationml.slideLayout+xml"/>
  <Override PartName="/ppt/slideLayouts/slideLayout1373.xml" ContentType="application/vnd.openxmlformats-officedocument.presentationml.slideLayout+xml"/>
  <Override PartName="/ppt/slideLayouts/slideLayout1374.xml" ContentType="application/vnd.openxmlformats-officedocument.presentationml.slideLayout+xml"/>
  <Override PartName="/ppt/slideLayouts/slideLayout1375.xml" ContentType="application/vnd.openxmlformats-officedocument.presentationml.slideLayout+xml"/>
  <Override PartName="/ppt/slideLayouts/slideLayout1376.xml" ContentType="application/vnd.openxmlformats-officedocument.presentationml.slideLayout+xml"/>
  <Override PartName="/ppt/theme/theme194.xml" ContentType="application/vnd.openxmlformats-officedocument.theme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slideLayouts/slideLayout1377.xml" ContentType="application/vnd.openxmlformats-officedocument.presentationml.slideLayout+xml"/>
  <Override PartName="/ppt/slideLayouts/slideLayout1378.xml" ContentType="application/vnd.openxmlformats-officedocument.presentationml.slideLayout+xml"/>
  <Override PartName="/ppt/slideLayouts/slideLayout1379.xml" ContentType="application/vnd.openxmlformats-officedocument.presentationml.slideLayout+xml"/>
  <Override PartName="/ppt/slideLayouts/slideLayout1380.xml" ContentType="application/vnd.openxmlformats-officedocument.presentationml.slideLayout+xml"/>
  <Override PartName="/ppt/slideLayouts/slideLayout1381.xml" ContentType="application/vnd.openxmlformats-officedocument.presentationml.slideLayout+xml"/>
  <Override PartName="/ppt/slideLayouts/slideLayout1382.xml" ContentType="application/vnd.openxmlformats-officedocument.presentationml.slideLayout+xml"/>
  <Override PartName="/ppt/slideLayouts/slideLayout1383.xml" ContentType="application/vnd.openxmlformats-officedocument.presentationml.slideLayout+xml"/>
  <Override PartName="/ppt/slideLayouts/slideLayout1384.xml" ContentType="application/vnd.openxmlformats-officedocument.presentationml.slideLayout+xml"/>
  <Override PartName="/ppt/slideLayouts/slideLayout1385.xml" ContentType="application/vnd.openxmlformats-officedocument.presentationml.slideLayout+xml"/>
  <Override PartName="/ppt/theme/theme195.xml" ContentType="application/vnd.openxmlformats-officedocument.theme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slideLayouts/slideLayout1386.xml" ContentType="application/vnd.openxmlformats-officedocument.presentationml.slideLayout+xml"/>
  <Override PartName="/ppt/slideLayouts/slideLayout1387.xml" ContentType="application/vnd.openxmlformats-officedocument.presentationml.slideLayout+xml"/>
  <Override PartName="/ppt/slideLayouts/slideLayout1388.xml" ContentType="application/vnd.openxmlformats-officedocument.presentationml.slideLayout+xml"/>
  <Override PartName="/ppt/slideLayouts/slideLayout1389.xml" ContentType="application/vnd.openxmlformats-officedocument.presentationml.slideLayout+xml"/>
  <Override PartName="/ppt/slideLayouts/slideLayout1390.xml" ContentType="application/vnd.openxmlformats-officedocument.presentationml.slideLayout+xml"/>
  <Override PartName="/ppt/slideLayouts/slideLayout1391.xml" ContentType="application/vnd.openxmlformats-officedocument.presentationml.slideLayout+xml"/>
  <Override PartName="/ppt/slideLayouts/slideLayout1392.xml" ContentType="application/vnd.openxmlformats-officedocument.presentationml.slideLayout+xml"/>
  <Override PartName="/ppt/slideLayouts/slideLayout1393.xml" ContentType="application/vnd.openxmlformats-officedocument.presentationml.slideLayout+xml"/>
  <Override PartName="/ppt/slideLayouts/slideLayout1394.xml" ContentType="application/vnd.openxmlformats-officedocument.presentationml.slideLayout+xml"/>
  <Override PartName="/ppt/theme/theme196.xml" ContentType="application/vnd.openxmlformats-officedocument.theme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slideLayouts/slideLayout1395.xml" ContentType="application/vnd.openxmlformats-officedocument.presentationml.slideLayout+xml"/>
  <Override PartName="/ppt/slideLayouts/slideLayout1396.xml" ContentType="application/vnd.openxmlformats-officedocument.presentationml.slideLayout+xml"/>
  <Override PartName="/ppt/slideLayouts/slideLayout1397.xml" ContentType="application/vnd.openxmlformats-officedocument.presentationml.slideLayout+xml"/>
  <Override PartName="/ppt/slideLayouts/slideLayout1398.xml" ContentType="application/vnd.openxmlformats-officedocument.presentationml.slideLayout+xml"/>
  <Override PartName="/ppt/theme/theme197.xml" ContentType="application/vnd.openxmlformats-officedocument.theme+xml"/>
  <Override PartName="/ppt/slideLayouts/slideLayout1399.xml" ContentType="application/vnd.openxmlformats-officedocument.presentationml.slideLayout+xml"/>
  <Override PartName="/ppt/slideLayouts/slideLayout1400.xml" ContentType="application/vnd.openxmlformats-officedocument.presentationml.slideLayout+xml"/>
  <Override PartName="/ppt/slideLayouts/slideLayout1401.xml" ContentType="application/vnd.openxmlformats-officedocument.presentationml.slideLayout+xml"/>
  <Override PartName="/ppt/slideLayouts/slideLayout1402.xml" ContentType="application/vnd.openxmlformats-officedocument.presentationml.slideLayout+xml"/>
  <Override PartName="/ppt/slideLayouts/slideLayout1403.xml" ContentType="application/vnd.openxmlformats-officedocument.presentationml.slideLayout+xml"/>
  <Override PartName="/ppt/slideLayouts/slideLayout1404.xml" ContentType="application/vnd.openxmlformats-officedocument.presentationml.slideLayout+xml"/>
  <Override PartName="/ppt/slideLayouts/slideLayout1405.xml" ContentType="application/vnd.openxmlformats-officedocument.presentationml.slideLayout+xml"/>
  <Override PartName="/ppt/slideLayouts/slideLayout1406.xml" ContentType="application/vnd.openxmlformats-officedocument.presentationml.slideLayout+xml"/>
  <Override PartName="/ppt/theme/theme198.xml" ContentType="application/vnd.openxmlformats-officedocument.theme+xml"/>
  <Override PartName="/ppt/slideLayouts/slideLayout1407.xml" ContentType="application/vnd.openxmlformats-officedocument.presentationml.slideLayout+xml"/>
  <Override PartName="/ppt/slideLayouts/slideLayout1408.xml" ContentType="application/vnd.openxmlformats-officedocument.presentationml.slideLayout+xml"/>
  <Override PartName="/ppt/slideLayouts/slideLayout1409.xml" ContentType="application/vnd.openxmlformats-officedocument.presentationml.slideLayout+xml"/>
  <Override PartName="/ppt/slideLayouts/slideLayout1410.xml" ContentType="application/vnd.openxmlformats-officedocument.presentationml.slideLayout+xml"/>
  <Override PartName="/ppt/slideLayouts/slideLayout1411.xml" ContentType="application/vnd.openxmlformats-officedocument.presentationml.slideLayout+xml"/>
  <Override PartName="/ppt/slideLayouts/slideLayout1412.xml" ContentType="application/vnd.openxmlformats-officedocument.presentationml.slideLayout+xml"/>
  <Override PartName="/ppt/slideLayouts/slideLayout1413.xml" ContentType="application/vnd.openxmlformats-officedocument.presentationml.slideLayout+xml"/>
  <Override PartName="/ppt/slideLayouts/slideLayout1414.xml" ContentType="application/vnd.openxmlformats-officedocument.presentationml.slideLayout+xml"/>
  <Override PartName="/ppt/slideLayouts/slideLayout1415.xml" ContentType="application/vnd.openxmlformats-officedocument.presentationml.slideLayout+xml"/>
  <Override PartName="/ppt/slideLayouts/slideLayout1416.xml" ContentType="application/vnd.openxmlformats-officedocument.presentationml.slideLayout+xml"/>
  <Override PartName="/ppt/theme/theme199.xml" ContentType="application/vnd.openxmlformats-officedocument.theme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slideLayouts/slideLayout1417.xml" ContentType="application/vnd.openxmlformats-officedocument.presentationml.slideLayout+xml"/>
  <Override PartName="/ppt/slideLayouts/slideLayout1418.xml" ContentType="application/vnd.openxmlformats-officedocument.presentationml.slideLayout+xml"/>
  <Override PartName="/ppt/slideLayouts/slideLayout1419.xml" ContentType="application/vnd.openxmlformats-officedocument.presentationml.slideLayout+xml"/>
  <Override PartName="/ppt/slideLayouts/slideLayout1420.xml" ContentType="application/vnd.openxmlformats-officedocument.presentationml.slideLayout+xml"/>
  <Override PartName="/ppt/theme/theme200.xml" ContentType="application/vnd.openxmlformats-officedocument.theme+xml"/>
  <Override PartName="/ppt/slideLayouts/slideLayout1421.xml" ContentType="application/vnd.openxmlformats-officedocument.presentationml.slideLayout+xml"/>
  <Override PartName="/ppt/slideLayouts/slideLayout1422.xml" ContentType="application/vnd.openxmlformats-officedocument.presentationml.slideLayout+xml"/>
  <Override PartName="/ppt/slideLayouts/slideLayout1423.xml" ContentType="application/vnd.openxmlformats-officedocument.presentationml.slideLayout+xml"/>
  <Override PartName="/ppt/slideLayouts/slideLayout1424.xml" ContentType="application/vnd.openxmlformats-officedocument.presentationml.slideLayout+xml"/>
  <Override PartName="/ppt/slideLayouts/slideLayout1425.xml" ContentType="application/vnd.openxmlformats-officedocument.presentationml.slideLayout+xml"/>
  <Override PartName="/ppt/slideLayouts/slideLayout1426.xml" ContentType="application/vnd.openxmlformats-officedocument.presentationml.slideLayout+xml"/>
  <Override PartName="/ppt/slideLayouts/slideLayout1427.xml" ContentType="application/vnd.openxmlformats-officedocument.presentationml.slideLayout+xml"/>
  <Override PartName="/ppt/slideLayouts/slideLayout1428.xml" ContentType="application/vnd.openxmlformats-officedocument.presentationml.slideLayout+xml"/>
  <Override PartName="/ppt/theme/theme201.xml" ContentType="application/vnd.openxmlformats-officedocument.theme+xml"/>
  <Override PartName="/ppt/slideLayouts/slideLayout1429.xml" ContentType="application/vnd.openxmlformats-officedocument.presentationml.slideLayout+xml"/>
  <Override PartName="/ppt/slideLayouts/slideLayout1430.xml" ContentType="application/vnd.openxmlformats-officedocument.presentationml.slideLayout+xml"/>
  <Override PartName="/ppt/slideLayouts/slideLayout1431.xml" ContentType="application/vnd.openxmlformats-officedocument.presentationml.slideLayout+xml"/>
  <Override PartName="/ppt/slideLayouts/slideLayout1432.xml" ContentType="application/vnd.openxmlformats-officedocument.presentationml.slideLayout+xml"/>
  <Override PartName="/ppt/slideLayouts/slideLayout1433.xml" ContentType="application/vnd.openxmlformats-officedocument.presentationml.slideLayout+xml"/>
  <Override PartName="/ppt/slideLayouts/slideLayout1434.xml" ContentType="application/vnd.openxmlformats-officedocument.presentationml.slideLayout+xml"/>
  <Override PartName="/ppt/slideLayouts/slideLayout1435.xml" ContentType="application/vnd.openxmlformats-officedocument.presentationml.slideLayout+xml"/>
  <Override PartName="/ppt/slideLayouts/slideLayout1436.xml" ContentType="application/vnd.openxmlformats-officedocument.presentationml.slideLayout+xml"/>
  <Override PartName="/ppt/theme/theme202.xml" ContentType="application/vnd.openxmlformats-officedocument.theme+xml"/>
  <Override PartName="/ppt/slideLayouts/slideLayout1437.xml" ContentType="application/vnd.openxmlformats-officedocument.presentationml.slideLayout+xml"/>
  <Override PartName="/ppt/slideLayouts/slideLayout1438.xml" ContentType="application/vnd.openxmlformats-officedocument.presentationml.slideLayout+xml"/>
  <Override PartName="/ppt/slideLayouts/slideLayout1439.xml" ContentType="application/vnd.openxmlformats-officedocument.presentationml.slideLayout+xml"/>
  <Override PartName="/ppt/slideLayouts/slideLayout1440.xml" ContentType="application/vnd.openxmlformats-officedocument.presentationml.slideLayout+xml"/>
  <Override PartName="/ppt/theme/theme203.xml" ContentType="application/vnd.openxmlformats-officedocument.theme+xml"/>
  <Override PartName="/ppt/tags/tag252.xml" ContentType="application/vnd.openxmlformats-officedocument.presentationml.tags+xml"/>
  <Override PartName="/ppt/slideLayouts/slideLayout1441.xml" ContentType="application/vnd.openxmlformats-officedocument.presentationml.slideLayout+xml"/>
  <Override PartName="/ppt/slideLayouts/slideLayout1442.xml" ContentType="application/vnd.openxmlformats-officedocument.presentationml.slideLayout+xml"/>
  <Override PartName="/ppt/slideLayouts/slideLayout1443.xml" ContentType="application/vnd.openxmlformats-officedocument.presentationml.slideLayout+xml"/>
  <Override PartName="/ppt/slideLayouts/slideLayout1444.xml" ContentType="application/vnd.openxmlformats-officedocument.presentationml.slideLayout+xml"/>
  <Override PartName="/ppt/theme/theme204.xml" ContentType="application/vnd.openxmlformats-officedocument.theme+xml"/>
  <Override PartName="/ppt/tags/tag253.xml" ContentType="application/vnd.openxmlformats-officedocument.presentationml.tags+xml"/>
  <Override PartName="/ppt/slideLayouts/slideLayout1445.xml" ContentType="application/vnd.openxmlformats-officedocument.presentationml.slideLayout+xml"/>
  <Override PartName="/ppt/slideLayouts/slideLayout1446.xml" ContentType="application/vnd.openxmlformats-officedocument.presentationml.slideLayout+xml"/>
  <Override PartName="/ppt/slideLayouts/slideLayout1447.xml" ContentType="application/vnd.openxmlformats-officedocument.presentationml.slideLayout+xml"/>
  <Override PartName="/ppt/slideLayouts/slideLayout1448.xml" ContentType="application/vnd.openxmlformats-officedocument.presentationml.slideLayout+xml"/>
  <Override PartName="/ppt/slideLayouts/slideLayout1449.xml" ContentType="application/vnd.openxmlformats-officedocument.presentationml.slideLayout+xml"/>
  <Override PartName="/ppt/slideLayouts/slideLayout1450.xml" ContentType="application/vnd.openxmlformats-officedocument.presentationml.slideLayout+xml"/>
  <Override PartName="/ppt/slideLayouts/slideLayout1451.xml" ContentType="application/vnd.openxmlformats-officedocument.presentationml.slideLayout+xml"/>
  <Override PartName="/ppt/slideLayouts/slideLayout1452.xml" ContentType="application/vnd.openxmlformats-officedocument.presentationml.slideLayout+xml"/>
  <Override PartName="/ppt/theme/theme205.xml" ContentType="application/vnd.openxmlformats-officedocument.theme+xml"/>
  <Override PartName="/ppt/slideLayouts/slideLayout1453.xml" ContentType="application/vnd.openxmlformats-officedocument.presentationml.slideLayout+xml"/>
  <Override PartName="/ppt/slideLayouts/slideLayout1454.xml" ContentType="application/vnd.openxmlformats-officedocument.presentationml.slideLayout+xml"/>
  <Override PartName="/ppt/slideLayouts/slideLayout1455.xml" ContentType="application/vnd.openxmlformats-officedocument.presentationml.slideLayout+xml"/>
  <Override PartName="/ppt/theme/theme206.xml" ContentType="application/vnd.openxmlformats-officedocument.theme+xml"/>
  <Override PartName="/ppt/slideLayouts/slideLayout1456.xml" ContentType="application/vnd.openxmlformats-officedocument.presentationml.slideLayout+xml"/>
  <Override PartName="/ppt/slideLayouts/slideLayout1457.xml" ContentType="application/vnd.openxmlformats-officedocument.presentationml.slideLayout+xml"/>
  <Override PartName="/ppt/slideLayouts/slideLayout1458.xml" ContentType="application/vnd.openxmlformats-officedocument.presentationml.slideLayout+xml"/>
  <Override PartName="/ppt/slideLayouts/slideLayout1459.xml" ContentType="application/vnd.openxmlformats-officedocument.presentationml.slideLayout+xml"/>
  <Override PartName="/ppt/slideLayouts/slideLayout1460.xml" ContentType="application/vnd.openxmlformats-officedocument.presentationml.slideLayout+xml"/>
  <Override PartName="/ppt/slideLayouts/slideLayout1461.xml" ContentType="application/vnd.openxmlformats-officedocument.presentationml.slideLayout+xml"/>
  <Override PartName="/ppt/slideLayouts/slideLayout1462.xml" ContentType="application/vnd.openxmlformats-officedocument.presentationml.slideLayout+xml"/>
  <Override PartName="/ppt/slideLayouts/slideLayout1463.xml" ContentType="application/vnd.openxmlformats-officedocument.presentationml.slideLayout+xml"/>
  <Override PartName="/ppt/slideLayouts/slideLayout1464.xml" ContentType="application/vnd.openxmlformats-officedocument.presentationml.slideLayout+xml"/>
  <Override PartName="/ppt/slideLayouts/slideLayout1465.xml" ContentType="application/vnd.openxmlformats-officedocument.presentationml.slideLayout+xml"/>
  <Override PartName="/ppt/theme/theme207.xml" ContentType="application/vnd.openxmlformats-officedocument.theme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slideLayouts/slideLayout1466.xml" ContentType="application/vnd.openxmlformats-officedocument.presentationml.slideLayout+xml"/>
  <Override PartName="/ppt/slideLayouts/slideLayout1467.xml" ContentType="application/vnd.openxmlformats-officedocument.presentationml.slideLayout+xml"/>
  <Override PartName="/ppt/slideLayouts/slideLayout1468.xml" ContentType="application/vnd.openxmlformats-officedocument.presentationml.slideLayout+xml"/>
  <Override PartName="/ppt/slideLayouts/slideLayout1469.xml" ContentType="application/vnd.openxmlformats-officedocument.presentationml.slideLayout+xml"/>
  <Override PartName="/ppt/slideLayouts/slideLayout1470.xml" ContentType="application/vnd.openxmlformats-officedocument.presentationml.slideLayout+xml"/>
  <Override PartName="/ppt/slideLayouts/slideLayout1471.xml" ContentType="application/vnd.openxmlformats-officedocument.presentationml.slideLayout+xml"/>
  <Override PartName="/ppt/slideLayouts/slideLayout1472.xml" ContentType="application/vnd.openxmlformats-officedocument.presentationml.slideLayout+xml"/>
  <Override PartName="/ppt/slideLayouts/slideLayout1473.xml" ContentType="application/vnd.openxmlformats-officedocument.presentationml.slideLayout+xml"/>
  <Override PartName="/ppt/theme/theme208.xml" ContentType="application/vnd.openxmlformats-officedocument.theme+xml"/>
  <Override PartName="/ppt/slideLayouts/slideLayout1474.xml" ContentType="application/vnd.openxmlformats-officedocument.presentationml.slideLayout+xml"/>
  <Override PartName="/ppt/slideLayouts/slideLayout1475.xml" ContentType="application/vnd.openxmlformats-officedocument.presentationml.slideLayout+xml"/>
  <Override PartName="/ppt/slideLayouts/slideLayout1476.xml" ContentType="application/vnd.openxmlformats-officedocument.presentationml.slideLayout+xml"/>
  <Override PartName="/ppt/slideLayouts/slideLayout1477.xml" ContentType="application/vnd.openxmlformats-officedocument.presentationml.slideLayout+xml"/>
  <Override PartName="/ppt/slideLayouts/slideLayout1478.xml" ContentType="application/vnd.openxmlformats-officedocument.presentationml.slideLayout+xml"/>
  <Override PartName="/ppt/slideLayouts/slideLayout1479.xml" ContentType="application/vnd.openxmlformats-officedocument.presentationml.slideLayout+xml"/>
  <Override PartName="/ppt/slideLayouts/slideLayout1480.xml" ContentType="application/vnd.openxmlformats-officedocument.presentationml.slideLayout+xml"/>
  <Override PartName="/ppt/slideLayouts/slideLayout1481.xml" ContentType="application/vnd.openxmlformats-officedocument.presentationml.slideLayout+xml"/>
  <Override PartName="/ppt/theme/theme209.xml" ContentType="application/vnd.openxmlformats-officedocument.theme+xml"/>
  <Override PartName="/ppt/slideLayouts/slideLayout1482.xml" ContentType="application/vnd.openxmlformats-officedocument.presentationml.slideLayout+xml"/>
  <Override PartName="/ppt/slideLayouts/slideLayout1483.xml" ContentType="application/vnd.openxmlformats-officedocument.presentationml.slideLayout+xml"/>
  <Override PartName="/ppt/slideLayouts/slideLayout1484.xml" ContentType="application/vnd.openxmlformats-officedocument.presentationml.slideLayout+xml"/>
  <Override PartName="/ppt/slideLayouts/slideLayout1485.xml" ContentType="application/vnd.openxmlformats-officedocument.presentationml.slideLayout+xml"/>
  <Override PartName="/ppt/theme/theme210.xml" ContentType="application/vnd.openxmlformats-officedocument.theme+xml"/>
  <Override PartName="/ppt/slideLayouts/slideLayout1486.xml" ContentType="application/vnd.openxmlformats-officedocument.presentationml.slideLayout+xml"/>
  <Override PartName="/ppt/slideLayouts/slideLayout1487.xml" ContentType="application/vnd.openxmlformats-officedocument.presentationml.slideLayout+xml"/>
  <Override PartName="/ppt/slideLayouts/slideLayout1488.xml" ContentType="application/vnd.openxmlformats-officedocument.presentationml.slideLayout+xml"/>
  <Override PartName="/ppt/slideLayouts/slideLayout1489.xml" ContentType="application/vnd.openxmlformats-officedocument.presentationml.slideLayout+xml"/>
  <Override PartName="/ppt/theme/theme211.xml" ContentType="application/vnd.openxmlformats-officedocument.theme+xml"/>
  <Override PartName="/ppt/slideLayouts/slideLayout1490.xml" ContentType="application/vnd.openxmlformats-officedocument.presentationml.slideLayout+xml"/>
  <Override PartName="/ppt/slideLayouts/slideLayout1491.xml" ContentType="application/vnd.openxmlformats-officedocument.presentationml.slideLayout+xml"/>
  <Override PartName="/ppt/slideLayouts/slideLayout1492.xml" ContentType="application/vnd.openxmlformats-officedocument.presentationml.slideLayout+xml"/>
  <Override PartName="/ppt/slideLayouts/slideLayout1493.xml" ContentType="application/vnd.openxmlformats-officedocument.presentationml.slideLayout+xml"/>
  <Override PartName="/ppt/slideLayouts/slideLayout1494.xml" ContentType="application/vnd.openxmlformats-officedocument.presentationml.slideLayout+xml"/>
  <Override PartName="/ppt/theme/theme212.xml" ContentType="application/vnd.openxmlformats-officedocument.theme+xml"/>
  <Override PartName="/ppt/slideLayouts/slideLayout1495.xml" ContentType="application/vnd.openxmlformats-officedocument.presentationml.slideLayout+xml"/>
  <Override PartName="/ppt/slideLayouts/slideLayout1496.xml" ContentType="application/vnd.openxmlformats-officedocument.presentationml.slideLayout+xml"/>
  <Override PartName="/ppt/slideLayouts/slideLayout1497.xml" ContentType="application/vnd.openxmlformats-officedocument.presentationml.slideLayout+xml"/>
  <Override PartName="/ppt/slideLayouts/slideLayout1498.xml" ContentType="application/vnd.openxmlformats-officedocument.presentationml.slideLayout+xml"/>
  <Override PartName="/ppt/theme/theme213.xml" ContentType="application/vnd.openxmlformats-officedocument.theme+xml"/>
  <Override PartName="/ppt/slideLayouts/slideLayout1499.xml" ContentType="application/vnd.openxmlformats-officedocument.presentationml.slideLayout+xml"/>
  <Override PartName="/ppt/slideLayouts/slideLayout1500.xml" ContentType="application/vnd.openxmlformats-officedocument.presentationml.slideLayout+xml"/>
  <Override PartName="/ppt/slideLayouts/slideLayout1501.xml" ContentType="application/vnd.openxmlformats-officedocument.presentationml.slideLayout+xml"/>
  <Override PartName="/ppt/slideLayouts/slideLayout1502.xml" ContentType="application/vnd.openxmlformats-officedocument.presentationml.slideLayout+xml"/>
  <Override PartName="/ppt/slideLayouts/slideLayout1503.xml" ContentType="application/vnd.openxmlformats-officedocument.presentationml.slideLayout+xml"/>
  <Override PartName="/ppt/slideLayouts/slideLayout1504.xml" ContentType="application/vnd.openxmlformats-officedocument.presentationml.slideLayout+xml"/>
  <Override PartName="/ppt/slideLayouts/slideLayout1505.xml" ContentType="application/vnd.openxmlformats-officedocument.presentationml.slideLayout+xml"/>
  <Override PartName="/ppt/slideLayouts/slideLayout1506.xml" ContentType="application/vnd.openxmlformats-officedocument.presentationml.slideLayout+xml"/>
  <Override PartName="/ppt/slideLayouts/slideLayout1507.xml" ContentType="application/vnd.openxmlformats-officedocument.presentationml.slideLayout+xml"/>
  <Override PartName="/ppt/slideLayouts/slideLayout1508.xml" ContentType="application/vnd.openxmlformats-officedocument.presentationml.slideLayout+xml"/>
  <Override PartName="/ppt/theme/theme214.xml" ContentType="application/vnd.openxmlformats-officedocument.theme+xml"/>
  <Override PartName="/ppt/slideLayouts/slideLayout1509.xml" ContentType="application/vnd.openxmlformats-officedocument.presentationml.slideLayout+xml"/>
  <Override PartName="/ppt/slideLayouts/slideLayout1510.xml" ContentType="application/vnd.openxmlformats-officedocument.presentationml.slideLayout+xml"/>
  <Override PartName="/ppt/slideLayouts/slideLayout1511.xml" ContentType="application/vnd.openxmlformats-officedocument.presentationml.slideLayout+xml"/>
  <Override PartName="/ppt/slideLayouts/slideLayout1512.xml" ContentType="application/vnd.openxmlformats-officedocument.presentationml.slideLayout+xml"/>
  <Override PartName="/ppt/slideLayouts/slideLayout1513.xml" ContentType="application/vnd.openxmlformats-officedocument.presentationml.slideLayout+xml"/>
  <Override PartName="/ppt/slideLayouts/slideLayout1514.xml" ContentType="application/vnd.openxmlformats-officedocument.presentationml.slideLayout+xml"/>
  <Override PartName="/ppt/slideLayouts/slideLayout1515.xml" ContentType="application/vnd.openxmlformats-officedocument.presentationml.slideLayout+xml"/>
  <Override PartName="/ppt/slideLayouts/slideLayout1516.xml" ContentType="application/vnd.openxmlformats-officedocument.presentationml.slideLayout+xml"/>
  <Override PartName="/ppt/theme/theme215.xml" ContentType="application/vnd.openxmlformats-officedocument.theme+xml"/>
  <Override PartName="/ppt/slideLayouts/slideLayout1517.xml" ContentType="application/vnd.openxmlformats-officedocument.presentationml.slideLayout+xml"/>
  <Override PartName="/ppt/slideLayouts/slideLayout1518.xml" ContentType="application/vnd.openxmlformats-officedocument.presentationml.slideLayout+xml"/>
  <Override PartName="/ppt/slideLayouts/slideLayout1519.xml" ContentType="application/vnd.openxmlformats-officedocument.presentationml.slideLayout+xml"/>
  <Override PartName="/ppt/slideLayouts/slideLayout1520.xml" ContentType="application/vnd.openxmlformats-officedocument.presentationml.slideLayout+xml"/>
  <Override PartName="/ppt/slideLayouts/slideLayout1521.xml" ContentType="application/vnd.openxmlformats-officedocument.presentationml.slideLayout+xml"/>
  <Override PartName="/ppt/slideLayouts/slideLayout1522.xml" ContentType="application/vnd.openxmlformats-officedocument.presentationml.slideLayout+xml"/>
  <Override PartName="/ppt/slideLayouts/slideLayout1523.xml" ContentType="application/vnd.openxmlformats-officedocument.presentationml.slideLayout+xml"/>
  <Override PartName="/ppt/slideLayouts/slideLayout1524.xml" ContentType="application/vnd.openxmlformats-officedocument.presentationml.slideLayout+xml"/>
  <Override PartName="/ppt/slideLayouts/slideLayout1525.xml" ContentType="application/vnd.openxmlformats-officedocument.presentationml.slideLayout+xml"/>
  <Override PartName="/ppt/slideLayouts/slideLayout1526.xml" ContentType="application/vnd.openxmlformats-officedocument.presentationml.slideLayout+xml"/>
  <Override PartName="/ppt/theme/theme216.xml" ContentType="application/vnd.openxmlformats-officedocument.theme+xml"/>
  <Override PartName="/ppt/slideLayouts/slideLayout1527.xml" ContentType="application/vnd.openxmlformats-officedocument.presentationml.slideLayout+xml"/>
  <Override PartName="/ppt/slideLayouts/slideLayout1528.xml" ContentType="application/vnd.openxmlformats-officedocument.presentationml.slideLayout+xml"/>
  <Override PartName="/ppt/slideLayouts/slideLayout1529.xml" ContentType="application/vnd.openxmlformats-officedocument.presentationml.slideLayout+xml"/>
  <Override PartName="/ppt/slideLayouts/slideLayout1530.xml" ContentType="application/vnd.openxmlformats-officedocument.presentationml.slideLayout+xml"/>
  <Override PartName="/ppt/theme/theme217.xml" ContentType="application/vnd.openxmlformats-officedocument.theme+xml"/>
  <Override PartName="/ppt/slideLayouts/slideLayout1531.xml" ContentType="application/vnd.openxmlformats-officedocument.presentationml.slideLayout+xml"/>
  <Override PartName="/ppt/slideLayouts/slideLayout1532.xml" ContentType="application/vnd.openxmlformats-officedocument.presentationml.slideLayout+xml"/>
  <Override PartName="/ppt/slideLayouts/slideLayout1533.xml" ContentType="application/vnd.openxmlformats-officedocument.presentationml.slideLayout+xml"/>
  <Override PartName="/ppt/slideLayouts/slideLayout1534.xml" ContentType="application/vnd.openxmlformats-officedocument.presentationml.slideLayout+xml"/>
  <Override PartName="/ppt/slideLayouts/slideLayout1535.xml" ContentType="application/vnd.openxmlformats-officedocument.presentationml.slideLayout+xml"/>
  <Override PartName="/ppt/slideLayouts/slideLayout1536.xml" ContentType="application/vnd.openxmlformats-officedocument.presentationml.slideLayout+xml"/>
  <Override PartName="/ppt/theme/theme218.xml" ContentType="application/vnd.openxmlformats-officedocument.theme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slideLayouts/slideLayout1537.xml" ContentType="application/vnd.openxmlformats-officedocument.presentationml.slideLayout+xml"/>
  <Override PartName="/ppt/slideLayouts/slideLayout1538.xml" ContentType="application/vnd.openxmlformats-officedocument.presentationml.slideLayout+xml"/>
  <Override PartName="/ppt/slideLayouts/slideLayout1539.xml" ContentType="application/vnd.openxmlformats-officedocument.presentationml.slideLayout+xml"/>
  <Override PartName="/ppt/slideLayouts/slideLayout1540.xml" ContentType="application/vnd.openxmlformats-officedocument.presentationml.slideLayout+xml"/>
  <Override PartName="/ppt/slideLayouts/slideLayout1541.xml" ContentType="application/vnd.openxmlformats-officedocument.presentationml.slideLayout+xml"/>
  <Override PartName="/ppt/slideLayouts/slideLayout1542.xml" ContentType="application/vnd.openxmlformats-officedocument.presentationml.slideLayout+xml"/>
  <Override PartName="/ppt/theme/theme219.xml" ContentType="application/vnd.openxmlformats-officedocument.theme+xml"/>
  <Override PartName="/ppt/slideLayouts/slideLayout1543.xml" ContentType="application/vnd.openxmlformats-officedocument.presentationml.slideLayout+xml"/>
  <Override PartName="/ppt/slideLayouts/slideLayout1544.xml" ContentType="application/vnd.openxmlformats-officedocument.presentationml.slideLayout+xml"/>
  <Override PartName="/ppt/slideLayouts/slideLayout1545.xml" ContentType="application/vnd.openxmlformats-officedocument.presentationml.slideLayout+xml"/>
  <Override PartName="/ppt/slideLayouts/slideLayout1546.xml" ContentType="application/vnd.openxmlformats-officedocument.presentationml.slideLayout+xml"/>
  <Override PartName="/ppt/slideLayouts/slideLayout1547.xml" ContentType="application/vnd.openxmlformats-officedocument.presentationml.slideLayout+xml"/>
  <Override PartName="/ppt/slideLayouts/slideLayout1548.xml" ContentType="application/vnd.openxmlformats-officedocument.presentationml.slideLayout+xml"/>
  <Override PartName="/ppt/slideLayouts/slideLayout1549.xml" ContentType="application/vnd.openxmlformats-officedocument.presentationml.slideLayout+xml"/>
  <Override PartName="/ppt/slideLayouts/slideLayout1550.xml" ContentType="application/vnd.openxmlformats-officedocument.presentationml.slideLayout+xml"/>
  <Override PartName="/ppt/slideLayouts/slideLayout1551.xml" ContentType="application/vnd.openxmlformats-officedocument.presentationml.slideLayout+xml"/>
  <Override PartName="/ppt/theme/theme220.xml" ContentType="application/vnd.openxmlformats-officedocument.theme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slideLayouts/slideLayout1552.xml" ContentType="application/vnd.openxmlformats-officedocument.presentationml.slideLayout+xml"/>
  <Override PartName="/ppt/slideLayouts/slideLayout1553.xml" ContentType="application/vnd.openxmlformats-officedocument.presentationml.slideLayout+xml"/>
  <Override PartName="/ppt/slideLayouts/slideLayout1554.xml" ContentType="application/vnd.openxmlformats-officedocument.presentationml.slideLayout+xml"/>
  <Override PartName="/ppt/slideLayouts/slideLayout1555.xml" ContentType="application/vnd.openxmlformats-officedocument.presentationml.slideLayout+xml"/>
  <Override PartName="/ppt/slideLayouts/slideLayout1556.xml" ContentType="application/vnd.openxmlformats-officedocument.presentationml.slideLayout+xml"/>
  <Override PartName="/ppt/slideLayouts/slideLayout1557.xml" ContentType="application/vnd.openxmlformats-officedocument.presentationml.slideLayout+xml"/>
  <Override PartName="/ppt/slideLayouts/slideLayout1558.xml" ContentType="application/vnd.openxmlformats-officedocument.presentationml.slideLayout+xml"/>
  <Override PartName="/ppt/slideLayouts/slideLayout1559.xml" ContentType="application/vnd.openxmlformats-officedocument.presentationml.slideLayout+xml"/>
  <Override PartName="/ppt/slideLayouts/slideLayout1560.xml" ContentType="application/vnd.openxmlformats-officedocument.presentationml.slideLayout+xml"/>
  <Override PartName="/ppt/slideLayouts/slideLayout1561.xml" ContentType="application/vnd.openxmlformats-officedocument.presentationml.slideLayout+xml"/>
  <Override PartName="/ppt/slideLayouts/slideLayout1562.xml" ContentType="application/vnd.openxmlformats-officedocument.presentationml.slideLayout+xml"/>
  <Override PartName="/ppt/theme/theme221.xml" ContentType="application/vnd.openxmlformats-officedocument.theme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slideLayouts/slideLayout1563.xml" ContentType="application/vnd.openxmlformats-officedocument.presentationml.slideLayout+xml"/>
  <Override PartName="/ppt/slideLayouts/slideLayout1564.xml" ContentType="application/vnd.openxmlformats-officedocument.presentationml.slideLayout+xml"/>
  <Override PartName="/ppt/slideLayouts/slideLayout1565.xml" ContentType="application/vnd.openxmlformats-officedocument.presentationml.slideLayout+xml"/>
  <Override PartName="/ppt/slideLayouts/slideLayout1566.xml" ContentType="application/vnd.openxmlformats-officedocument.presentationml.slideLayout+xml"/>
  <Override PartName="/ppt/slideLayouts/slideLayout1567.xml" ContentType="application/vnd.openxmlformats-officedocument.presentationml.slideLayout+xml"/>
  <Override PartName="/ppt/slideLayouts/slideLayout1568.xml" ContentType="application/vnd.openxmlformats-officedocument.presentationml.slideLayout+xml"/>
  <Override PartName="/ppt/slideLayouts/slideLayout1569.xml" ContentType="application/vnd.openxmlformats-officedocument.presentationml.slideLayout+xml"/>
  <Override PartName="/ppt/slideLayouts/slideLayout1570.xml" ContentType="application/vnd.openxmlformats-officedocument.presentationml.slideLayout+xml"/>
  <Override PartName="/ppt/slideLayouts/slideLayout1571.xml" ContentType="application/vnd.openxmlformats-officedocument.presentationml.slideLayout+xml"/>
  <Override PartName="/ppt/slideLayouts/slideLayout1572.xml" ContentType="application/vnd.openxmlformats-officedocument.presentationml.slideLayout+xml"/>
  <Override PartName="/ppt/slideLayouts/slideLayout1573.xml" ContentType="application/vnd.openxmlformats-officedocument.presentationml.slideLayout+xml"/>
  <Override PartName="/ppt/slideLayouts/slideLayout1574.xml" ContentType="application/vnd.openxmlformats-officedocument.presentationml.slideLayout+xml"/>
  <Override PartName="/ppt/theme/theme222.xml" ContentType="application/vnd.openxmlformats-officedocument.theme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slideLayouts/slideLayout1575.xml" ContentType="application/vnd.openxmlformats-officedocument.presentationml.slideLayout+xml"/>
  <Override PartName="/ppt/slideLayouts/slideLayout1576.xml" ContentType="application/vnd.openxmlformats-officedocument.presentationml.slideLayout+xml"/>
  <Override PartName="/ppt/slideLayouts/slideLayout1577.xml" ContentType="application/vnd.openxmlformats-officedocument.presentationml.slideLayout+xml"/>
  <Override PartName="/ppt/slideLayouts/slideLayout1578.xml" ContentType="application/vnd.openxmlformats-officedocument.presentationml.slideLayout+xml"/>
  <Override PartName="/ppt/slideLayouts/slideLayout1579.xml" ContentType="application/vnd.openxmlformats-officedocument.presentationml.slideLayout+xml"/>
  <Override PartName="/ppt/slideLayouts/slideLayout1580.xml" ContentType="application/vnd.openxmlformats-officedocument.presentationml.slideLayout+xml"/>
  <Override PartName="/ppt/slideLayouts/slideLayout1581.xml" ContentType="application/vnd.openxmlformats-officedocument.presentationml.slideLayout+xml"/>
  <Override PartName="/ppt/slideLayouts/slideLayout1582.xml" ContentType="application/vnd.openxmlformats-officedocument.presentationml.slideLayout+xml"/>
  <Override PartName="/ppt/slideLayouts/slideLayout1583.xml" ContentType="application/vnd.openxmlformats-officedocument.presentationml.slideLayout+xml"/>
  <Override PartName="/ppt/slideLayouts/slideLayout1584.xml" ContentType="application/vnd.openxmlformats-officedocument.presentationml.slideLayout+xml"/>
  <Override PartName="/ppt/theme/theme223.xml" ContentType="application/vnd.openxmlformats-officedocument.theme+xml"/>
  <Override PartName="/ppt/slideLayouts/slideLayout1585.xml" ContentType="application/vnd.openxmlformats-officedocument.presentationml.slideLayout+xml"/>
  <Override PartName="/ppt/slideLayouts/slideLayout1586.xml" ContentType="application/vnd.openxmlformats-officedocument.presentationml.slideLayout+xml"/>
  <Override PartName="/ppt/slideLayouts/slideLayout1587.xml" ContentType="application/vnd.openxmlformats-officedocument.presentationml.slideLayout+xml"/>
  <Override PartName="/ppt/slideLayouts/slideLayout1588.xml" ContentType="application/vnd.openxmlformats-officedocument.presentationml.slideLayout+xml"/>
  <Override PartName="/ppt/slideLayouts/slideLayout1589.xml" ContentType="application/vnd.openxmlformats-officedocument.presentationml.slideLayout+xml"/>
  <Override PartName="/ppt/slideLayouts/slideLayout1590.xml" ContentType="application/vnd.openxmlformats-officedocument.presentationml.slideLayout+xml"/>
  <Override PartName="/ppt/slideLayouts/slideLayout1591.xml" ContentType="application/vnd.openxmlformats-officedocument.presentationml.slideLayout+xml"/>
  <Override PartName="/ppt/slideLayouts/slideLayout1592.xml" ContentType="application/vnd.openxmlformats-officedocument.presentationml.slideLayout+xml"/>
  <Override PartName="/ppt/slideLayouts/slideLayout1593.xml" ContentType="application/vnd.openxmlformats-officedocument.presentationml.slideLayout+xml"/>
  <Override PartName="/ppt/slideLayouts/slideLayout1594.xml" ContentType="application/vnd.openxmlformats-officedocument.presentationml.slideLayout+xml"/>
  <Override PartName="/ppt/slideLayouts/slideLayout1595.xml" ContentType="application/vnd.openxmlformats-officedocument.presentationml.slideLayout+xml"/>
  <Override PartName="/ppt/slideLayouts/slideLayout1596.xml" ContentType="application/vnd.openxmlformats-officedocument.presentationml.slideLayout+xml"/>
  <Override PartName="/ppt/slideLayouts/slideLayout1597.xml" ContentType="application/vnd.openxmlformats-officedocument.presentationml.slideLayout+xml"/>
  <Override PartName="/ppt/slideLayouts/slideLayout1598.xml" ContentType="application/vnd.openxmlformats-officedocument.presentationml.slideLayout+xml"/>
  <Override PartName="/ppt/theme/theme224.xml" ContentType="application/vnd.openxmlformats-officedocument.theme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slideLayouts/slideLayout1599.xml" ContentType="application/vnd.openxmlformats-officedocument.presentationml.slideLayout+xml"/>
  <Override PartName="/ppt/slideLayouts/slideLayout1600.xml" ContentType="application/vnd.openxmlformats-officedocument.presentationml.slideLayout+xml"/>
  <Override PartName="/ppt/slideLayouts/slideLayout1601.xml" ContentType="application/vnd.openxmlformats-officedocument.presentationml.slideLayout+xml"/>
  <Override PartName="/ppt/slideLayouts/slideLayout1602.xml" ContentType="application/vnd.openxmlformats-officedocument.presentationml.slideLayout+xml"/>
  <Override PartName="/ppt/slideLayouts/slideLayout1603.xml" ContentType="application/vnd.openxmlformats-officedocument.presentationml.slideLayout+xml"/>
  <Override PartName="/ppt/slideLayouts/slideLayout1604.xml" ContentType="application/vnd.openxmlformats-officedocument.presentationml.slideLayout+xml"/>
  <Override PartName="/ppt/slideLayouts/slideLayout1605.xml" ContentType="application/vnd.openxmlformats-officedocument.presentationml.slideLayout+xml"/>
  <Override PartName="/ppt/slideLayouts/slideLayout1606.xml" ContentType="application/vnd.openxmlformats-officedocument.presentationml.slideLayout+xml"/>
  <Override PartName="/ppt/slideLayouts/slideLayout1607.xml" ContentType="application/vnd.openxmlformats-officedocument.presentationml.slideLayout+xml"/>
  <Override PartName="/ppt/slideLayouts/slideLayout1608.xml" ContentType="application/vnd.openxmlformats-officedocument.presentationml.slideLayout+xml"/>
  <Override PartName="/ppt/theme/theme225.xml" ContentType="application/vnd.openxmlformats-officedocument.theme+xml"/>
  <Override PartName="/ppt/slideLayouts/slideLayout1609.xml" ContentType="application/vnd.openxmlformats-officedocument.presentationml.slideLayout+xml"/>
  <Override PartName="/ppt/slideLayouts/slideLayout1610.xml" ContentType="application/vnd.openxmlformats-officedocument.presentationml.slideLayout+xml"/>
  <Override PartName="/ppt/slideLayouts/slideLayout1611.xml" ContentType="application/vnd.openxmlformats-officedocument.presentationml.slideLayout+xml"/>
  <Override PartName="/ppt/slideLayouts/slideLayout1612.xml" ContentType="application/vnd.openxmlformats-officedocument.presentationml.slideLayout+xml"/>
  <Override PartName="/ppt/slideLayouts/slideLayout1613.xml" ContentType="application/vnd.openxmlformats-officedocument.presentationml.slideLayout+xml"/>
  <Override PartName="/ppt/slideLayouts/slideLayout1614.xml" ContentType="application/vnd.openxmlformats-officedocument.presentationml.slideLayout+xml"/>
  <Override PartName="/ppt/slideLayouts/slideLayout1615.xml" ContentType="application/vnd.openxmlformats-officedocument.presentationml.slideLayout+xml"/>
  <Override PartName="/ppt/slideLayouts/slideLayout1616.xml" ContentType="application/vnd.openxmlformats-officedocument.presentationml.slideLayout+xml"/>
  <Override PartName="/ppt/slideLayouts/slideLayout1617.xml" ContentType="application/vnd.openxmlformats-officedocument.presentationml.slideLayout+xml"/>
  <Override PartName="/ppt/slideLayouts/slideLayout1618.xml" ContentType="application/vnd.openxmlformats-officedocument.presentationml.slideLayout+xml"/>
  <Override PartName="/ppt/slideLayouts/slideLayout1619.xml" ContentType="application/vnd.openxmlformats-officedocument.presentationml.slideLayout+xml"/>
  <Override PartName="/ppt/slideLayouts/slideLayout1620.xml" ContentType="application/vnd.openxmlformats-officedocument.presentationml.slideLayout+xml"/>
  <Override PartName="/ppt/slideLayouts/slideLayout1621.xml" ContentType="application/vnd.openxmlformats-officedocument.presentationml.slideLayout+xml"/>
  <Override PartName="/ppt/slideLayouts/slideLayout1622.xml" ContentType="application/vnd.openxmlformats-officedocument.presentationml.slideLayout+xml"/>
  <Override PartName="/ppt/theme/theme226.xml" ContentType="application/vnd.openxmlformats-officedocument.theme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slideLayouts/slideLayout1623.xml" ContentType="application/vnd.openxmlformats-officedocument.presentationml.slideLayout+xml"/>
  <Override PartName="/ppt/slideLayouts/slideLayout1624.xml" ContentType="application/vnd.openxmlformats-officedocument.presentationml.slideLayout+xml"/>
  <Override PartName="/ppt/slideLayouts/slideLayout1625.xml" ContentType="application/vnd.openxmlformats-officedocument.presentationml.slideLayout+xml"/>
  <Override PartName="/ppt/slideLayouts/slideLayout1626.xml" ContentType="application/vnd.openxmlformats-officedocument.presentationml.slideLayout+xml"/>
  <Override PartName="/ppt/slideLayouts/slideLayout1627.xml" ContentType="application/vnd.openxmlformats-officedocument.presentationml.slideLayout+xml"/>
  <Override PartName="/ppt/slideLayouts/slideLayout1628.xml" ContentType="application/vnd.openxmlformats-officedocument.presentationml.slideLayout+xml"/>
  <Override PartName="/ppt/slideLayouts/slideLayout1629.xml" ContentType="application/vnd.openxmlformats-officedocument.presentationml.slideLayout+xml"/>
  <Override PartName="/ppt/slideLayouts/slideLayout1630.xml" ContentType="application/vnd.openxmlformats-officedocument.presentationml.slideLayout+xml"/>
  <Override PartName="/ppt/slideLayouts/slideLayout1631.xml" ContentType="application/vnd.openxmlformats-officedocument.presentationml.slideLayout+xml"/>
  <Override PartName="/ppt/slideLayouts/slideLayout1632.xml" ContentType="application/vnd.openxmlformats-officedocument.presentationml.slideLayout+xml"/>
  <Override PartName="/ppt/theme/theme227.xml" ContentType="application/vnd.openxmlformats-officedocument.theme+xml"/>
  <Override PartName="/ppt/slideLayouts/slideLayout1633.xml" ContentType="application/vnd.openxmlformats-officedocument.presentationml.slideLayout+xml"/>
  <Override PartName="/ppt/slideLayouts/slideLayout1634.xml" ContentType="application/vnd.openxmlformats-officedocument.presentationml.slideLayout+xml"/>
  <Override PartName="/ppt/slideLayouts/slideLayout1635.xml" ContentType="application/vnd.openxmlformats-officedocument.presentationml.slideLayout+xml"/>
  <Override PartName="/ppt/slideLayouts/slideLayout1636.xml" ContentType="application/vnd.openxmlformats-officedocument.presentationml.slideLayout+xml"/>
  <Override PartName="/ppt/slideLayouts/slideLayout1637.xml" ContentType="application/vnd.openxmlformats-officedocument.presentationml.slideLayout+xml"/>
  <Override PartName="/ppt/slideLayouts/slideLayout1638.xml" ContentType="application/vnd.openxmlformats-officedocument.presentationml.slideLayout+xml"/>
  <Override PartName="/ppt/slideLayouts/slideLayout1639.xml" ContentType="application/vnd.openxmlformats-officedocument.presentationml.slideLayout+xml"/>
  <Override PartName="/ppt/slideLayouts/slideLayout1640.xml" ContentType="application/vnd.openxmlformats-officedocument.presentationml.slideLayout+xml"/>
  <Override PartName="/ppt/slideLayouts/slideLayout1641.xml" ContentType="application/vnd.openxmlformats-officedocument.presentationml.slideLayout+xml"/>
  <Override PartName="/ppt/slideLayouts/slideLayout1642.xml" ContentType="application/vnd.openxmlformats-officedocument.presentationml.slideLayout+xml"/>
  <Override PartName="/ppt/slideLayouts/slideLayout1643.xml" ContentType="application/vnd.openxmlformats-officedocument.presentationml.slideLayout+xml"/>
  <Override PartName="/ppt/slideLayouts/slideLayout1644.xml" ContentType="application/vnd.openxmlformats-officedocument.presentationml.slideLayout+xml"/>
  <Override PartName="/ppt/slideLayouts/slideLayout1645.xml" ContentType="application/vnd.openxmlformats-officedocument.presentationml.slideLayout+xml"/>
  <Override PartName="/ppt/slideLayouts/slideLayout1646.xml" ContentType="application/vnd.openxmlformats-officedocument.presentationml.slideLayout+xml"/>
  <Override PartName="/ppt/theme/theme228.xml" ContentType="application/vnd.openxmlformats-officedocument.theme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slideLayouts/slideLayout1647.xml" ContentType="application/vnd.openxmlformats-officedocument.presentationml.slideLayout+xml"/>
  <Override PartName="/ppt/slideLayouts/slideLayout1648.xml" ContentType="application/vnd.openxmlformats-officedocument.presentationml.slideLayout+xml"/>
  <Override PartName="/ppt/slideLayouts/slideLayout1649.xml" ContentType="application/vnd.openxmlformats-officedocument.presentationml.slideLayout+xml"/>
  <Override PartName="/ppt/slideLayouts/slideLayout1650.xml" ContentType="application/vnd.openxmlformats-officedocument.presentationml.slideLayout+xml"/>
  <Override PartName="/ppt/slideLayouts/slideLayout1651.xml" ContentType="application/vnd.openxmlformats-officedocument.presentationml.slideLayout+xml"/>
  <Override PartName="/ppt/slideLayouts/slideLayout1652.xml" ContentType="application/vnd.openxmlformats-officedocument.presentationml.slideLayout+xml"/>
  <Override PartName="/ppt/slideLayouts/slideLayout1653.xml" ContentType="application/vnd.openxmlformats-officedocument.presentationml.slideLayout+xml"/>
  <Override PartName="/ppt/slideLayouts/slideLayout1654.xml" ContentType="application/vnd.openxmlformats-officedocument.presentationml.slideLayout+xml"/>
  <Override PartName="/ppt/slideLayouts/slideLayout1655.xml" ContentType="application/vnd.openxmlformats-officedocument.presentationml.slideLayout+xml"/>
  <Override PartName="/ppt/slideLayouts/slideLayout1656.xml" ContentType="application/vnd.openxmlformats-officedocument.presentationml.slideLayout+xml"/>
  <Override PartName="/ppt/theme/theme229.xml" ContentType="application/vnd.openxmlformats-officedocument.theme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slideLayouts/slideLayout1657.xml" ContentType="application/vnd.openxmlformats-officedocument.presentationml.slideLayout+xml"/>
  <Override PartName="/ppt/slideLayouts/slideLayout1658.xml" ContentType="application/vnd.openxmlformats-officedocument.presentationml.slideLayout+xml"/>
  <Override PartName="/ppt/slideLayouts/slideLayout1659.xml" ContentType="application/vnd.openxmlformats-officedocument.presentationml.slideLayout+xml"/>
  <Override PartName="/ppt/slideLayouts/slideLayout1660.xml" ContentType="application/vnd.openxmlformats-officedocument.presentationml.slideLayout+xml"/>
  <Override PartName="/ppt/slideLayouts/slideLayout1661.xml" ContentType="application/vnd.openxmlformats-officedocument.presentationml.slideLayout+xml"/>
  <Override PartName="/ppt/slideLayouts/slideLayout1662.xml" ContentType="application/vnd.openxmlformats-officedocument.presentationml.slideLayout+xml"/>
  <Override PartName="/ppt/slideLayouts/slideLayout1663.xml" ContentType="application/vnd.openxmlformats-officedocument.presentationml.slideLayout+xml"/>
  <Override PartName="/ppt/slideLayouts/slideLayout1664.xml" ContentType="application/vnd.openxmlformats-officedocument.presentationml.slideLayout+xml"/>
  <Override PartName="/ppt/slideLayouts/slideLayout1665.xml" ContentType="application/vnd.openxmlformats-officedocument.presentationml.slideLayout+xml"/>
  <Override PartName="/ppt/slideLayouts/slideLayout1666.xml" ContentType="application/vnd.openxmlformats-officedocument.presentationml.slideLayout+xml"/>
  <Override PartName="/ppt/theme/theme230.xml" ContentType="application/vnd.openxmlformats-officedocument.theme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slideLayouts/slideLayout1667.xml" ContentType="application/vnd.openxmlformats-officedocument.presentationml.slideLayout+xml"/>
  <Override PartName="/ppt/slideLayouts/slideLayout1668.xml" ContentType="application/vnd.openxmlformats-officedocument.presentationml.slideLayout+xml"/>
  <Override PartName="/ppt/slideLayouts/slideLayout1669.xml" ContentType="application/vnd.openxmlformats-officedocument.presentationml.slideLayout+xml"/>
  <Override PartName="/ppt/slideLayouts/slideLayout1670.xml" ContentType="application/vnd.openxmlformats-officedocument.presentationml.slideLayout+xml"/>
  <Override PartName="/ppt/slideLayouts/slideLayout1671.xml" ContentType="application/vnd.openxmlformats-officedocument.presentationml.slideLayout+xml"/>
  <Override PartName="/ppt/slideLayouts/slideLayout1672.xml" ContentType="application/vnd.openxmlformats-officedocument.presentationml.slideLayout+xml"/>
  <Override PartName="/ppt/slideLayouts/slideLayout1673.xml" ContentType="application/vnd.openxmlformats-officedocument.presentationml.slideLayout+xml"/>
  <Override PartName="/ppt/slideLayouts/slideLayout1674.xml" ContentType="application/vnd.openxmlformats-officedocument.presentationml.slideLayout+xml"/>
  <Override PartName="/ppt/theme/theme231.xml" ContentType="application/vnd.openxmlformats-officedocument.theme+xml"/>
  <Override PartName="/ppt/slideLayouts/slideLayout1675.xml" ContentType="application/vnd.openxmlformats-officedocument.presentationml.slideLayout+xml"/>
  <Override PartName="/ppt/slideLayouts/slideLayout1676.xml" ContentType="application/vnd.openxmlformats-officedocument.presentationml.slideLayout+xml"/>
  <Override PartName="/ppt/slideLayouts/slideLayout1677.xml" ContentType="application/vnd.openxmlformats-officedocument.presentationml.slideLayout+xml"/>
  <Override PartName="/ppt/theme/theme232.xml" ContentType="application/vnd.openxmlformats-officedocument.theme+xml"/>
  <Override PartName="/ppt/tags/tag298.xml" ContentType="application/vnd.openxmlformats-officedocument.presentationml.tags+xml"/>
  <Override PartName="/ppt/slideLayouts/slideLayout1678.xml" ContentType="application/vnd.openxmlformats-officedocument.presentationml.slideLayout+xml"/>
  <Override PartName="/ppt/slideLayouts/slideLayout1679.xml" ContentType="application/vnd.openxmlformats-officedocument.presentationml.slideLayout+xml"/>
  <Override PartName="/ppt/slideLayouts/slideLayout1680.xml" ContentType="application/vnd.openxmlformats-officedocument.presentationml.slideLayout+xml"/>
  <Override PartName="/ppt/slideLayouts/slideLayout1681.xml" ContentType="application/vnd.openxmlformats-officedocument.presentationml.slideLayout+xml"/>
  <Override PartName="/ppt/slideLayouts/slideLayout1682.xml" ContentType="application/vnd.openxmlformats-officedocument.presentationml.slideLayout+xml"/>
  <Override PartName="/ppt/slideLayouts/slideLayout1683.xml" ContentType="application/vnd.openxmlformats-officedocument.presentationml.slideLayout+xml"/>
  <Override PartName="/ppt/theme/theme233.xml" ContentType="application/vnd.openxmlformats-officedocument.theme+xml"/>
  <Override PartName="/ppt/tags/tag299.xml" ContentType="application/vnd.openxmlformats-officedocument.presentationml.tags+xml"/>
  <Override PartName="/ppt/slideLayouts/slideLayout1684.xml" ContentType="application/vnd.openxmlformats-officedocument.presentationml.slideLayout+xml"/>
  <Override PartName="/ppt/slideLayouts/slideLayout1685.xml" ContentType="application/vnd.openxmlformats-officedocument.presentationml.slideLayout+xml"/>
  <Override PartName="/ppt/slideLayouts/slideLayout1686.xml" ContentType="application/vnd.openxmlformats-officedocument.presentationml.slideLayout+xml"/>
  <Override PartName="/ppt/slideLayouts/slideLayout1687.xml" ContentType="application/vnd.openxmlformats-officedocument.presentationml.slideLayout+xml"/>
  <Override PartName="/ppt/slideLayouts/slideLayout1688.xml" ContentType="application/vnd.openxmlformats-officedocument.presentationml.slideLayout+xml"/>
  <Override PartName="/ppt/slideLayouts/slideLayout1689.xml" ContentType="application/vnd.openxmlformats-officedocument.presentationml.slideLayout+xml"/>
  <Override PartName="/ppt/slideLayouts/slideLayout1690.xml" ContentType="application/vnd.openxmlformats-officedocument.presentationml.slideLayout+xml"/>
  <Override PartName="/ppt/slideLayouts/slideLayout1691.xml" ContentType="application/vnd.openxmlformats-officedocument.presentationml.slideLayout+xml"/>
  <Override PartName="/ppt/slideLayouts/slideLayout1692.xml" ContentType="application/vnd.openxmlformats-officedocument.presentationml.slideLayout+xml"/>
  <Override PartName="/ppt/slideLayouts/slideLayout1693.xml" ContentType="application/vnd.openxmlformats-officedocument.presentationml.slideLayout+xml"/>
  <Override PartName="/ppt/slideLayouts/slideLayout1694.xml" ContentType="application/vnd.openxmlformats-officedocument.presentationml.slideLayout+xml"/>
  <Override PartName="/ppt/slideLayouts/slideLayout1695.xml" ContentType="application/vnd.openxmlformats-officedocument.presentationml.slideLayout+xml"/>
  <Override PartName="/ppt/slideLayouts/slideLayout1696.xml" ContentType="application/vnd.openxmlformats-officedocument.presentationml.slideLayout+xml"/>
  <Override PartName="/ppt/slideLayouts/slideLayout1697.xml" ContentType="application/vnd.openxmlformats-officedocument.presentationml.slideLayout+xml"/>
  <Override PartName="/ppt/slideLayouts/slideLayout1698.xml" ContentType="application/vnd.openxmlformats-officedocument.presentationml.slideLayout+xml"/>
  <Override PartName="/ppt/theme/theme234.xml" ContentType="application/vnd.openxmlformats-officedocument.theme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slideLayouts/slideLayout1699.xml" ContentType="application/vnd.openxmlformats-officedocument.presentationml.slideLayout+xml"/>
  <Override PartName="/ppt/slideLayouts/slideLayout1700.xml" ContentType="application/vnd.openxmlformats-officedocument.presentationml.slideLayout+xml"/>
  <Override PartName="/ppt/slideLayouts/slideLayout1701.xml" ContentType="application/vnd.openxmlformats-officedocument.presentationml.slideLayout+xml"/>
  <Override PartName="/ppt/slideLayouts/slideLayout1702.xml" ContentType="application/vnd.openxmlformats-officedocument.presentationml.slideLayout+xml"/>
  <Override PartName="/ppt/slideLayouts/slideLayout1703.xml" ContentType="application/vnd.openxmlformats-officedocument.presentationml.slideLayout+xml"/>
  <Override PartName="/ppt/slideLayouts/slideLayout1704.xml" ContentType="application/vnd.openxmlformats-officedocument.presentationml.slideLayout+xml"/>
  <Override PartName="/ppt/slideLayouts/slideLayout1705.xml" ContentType="application/vnd.openxmlformats-officedocument.presentationml.slideLayout+xml"/>
  <Override PartName="/ppt/slideLayouts/slideLayout1706.xml" ContentType="application/vnd.openxmlformats-officedocument.presentationml.slideLayout+xml"/>
  <Override PartName="/ppt/slideLayouts/slideLayout1707.xml" ContentType="application/vnd.openxmlformats-officedocument.presentationml.slideLayout+xml"/>
  <Override PartName="/ppt/slideLayouts/slideLayout1708.xml" ContentType="application/vnd.openxmlformats-officedocument.presentationml.slideLayout+xml"/>
  <Override PartName="/ppt/slideLayouts/slideLayout1709.xml" ContentType="application/vnd.openxmlformats-officedocument.presentationml.slideLayout+xml"/>
  <Override PartName="/ppt/slideLayouts/slideLayout1710.xml" ContentType="application/vnd.openxmlformats-officedocument.presentationml.slideLayout+xml"/>
  <Override PartName="/ppt/slideLayouts/slideLayout1711.xml" ContentType="application/vnd.openxmlformats-officedocument.presentationml.slideLayout+xml"/>
  <Override PartName="/ppt/slideLayouts/slideLayout1712.xml" ContentType="application/vnd.openxmlformats-officedocument.presentationml.slideLayout+xml"/>
  <Override PartName="/ppt/theme/theme235.xml" ContentType="application/vnd.openxmlformats-officedocument.theme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slideLayouts/slideLayout1713.xml" ContentType="application/vnd.openxmlformats-officedocument.presentationml.slideLayout+xml"/>
  <Override PartName="/ppt/slideLayouts/slideLayout1714.xml" ContentType="application/vnd.openxmlformats-officedocument.presentationml.slideLayout+xml"/>
  <Override PartName="/ppt/slideLayouts/slideLayout1715.xml" ContentType="application/vnd.openxmlformats-officedocument.presentationml.slideLayout+xml"/>
  <Override PartName="/ppt/slideLayouts/slideLayout1716.xml" ContentType="application/vnd.openxmlformats-officedocument.presentationml.slideLayout+xml"/>
  <Override PartName="/ppt/slideLayouts/slideLayout1717.xml" ContentType="application/vnd.openxmlformats-officedocument.presentationml.slideLayout+xml"/>
  <Override PartName="/ppt/slideLayouts/slideLayout1718.xml" ContentType="application/vnd.openxmlformats-officedocument.presentationml.slideLayout+xml"/>
  <Override PartName="/ppt/theme/theme236.xml" ContentType="application/vnd.openxmlformats-officedocument.theme+xml"/>
  <Override PartName="/ppt/tags/tag313.xml" ContentType="application/vnd.openxmlformats-officedocument.presentationml.tags+xml"/>
  <Override PartName="/ppt/slideLayouts/slideLayout1719.xml" ContentType="application/vnd.openxmlformats-officedocument.presentationml.slideLayout+xml"/>
  <Override PartName="/ppt/slideLayouts/slideLayout1720.xml" ContentType="application/vnd.openxmlformats-officedocument.presentationml.slideLayout+xml"/>
  <Override PartName="/ppt/slideLayouts/slideLayout1721.xml" ContentType="application/vnd.openxmlformats-officedocument.presentationml.slideLayout+xml"/>
  <Override PartName="/ppt/slideLayouts/slideLayout1722.xml" ContentType="application/vnd.openxmlformats-officedocument.presentationml.slideLayout+xml"/>
  <Override PartName="/ppt/slideLayouts/slideLayout1723.xml" ContentType="application/vnd.openxmlformats-officedocument.presentationml.slideLayout+xml"/>
  <Override PartName="/ppt/slideLayouts/slideLayout1724.xml" ContentType="application/vnd.openxmlformats-officedocument.presentationml.slideLayout+xml"/>
  <Override PartName="/ppt/slideLayouts/slideLayout1725.xml" ContentType="application/vnd.openxmlformats-officedocument.presentationml.slideLayout+xml"/>
  <Override PartName="/ppt/slideLayouts/slideLayout1726.xml" ContentType="application/vnd.openxmlformats-officedocument.presentationml.slideLayout+xml"/>
  <Override PartName="/ppt/slideLayouts/slideLayout1727.xml" ContentType="application/vnd.openxmlformats-officedocument.presentationml.slideLayout+xml"/>
  <Override PartName="/ppt/theme/theme237.xml" ContentType="application/vnd.openxmlformats-officedocument.theme+xml"/>
  <Override PartName="/ppt/tags/tag314.xml" ContentType="application/vnd.openxmlformats-officedocument.presentationml.tags+xml"/>
  <Override PartName="/ppt/slideLayouts/slideLayout1728.xml" ContentType="application/vnd.openxmlformats-officedocument.presentationml.slideLayout+xml"/>
  <Override PartName="/ppt/slideLayouts/slideLayout1729.xml" ContentType="application/vnd.openxmlformats-officedocument.presentationml.slideLayout+xml"/>
  <Override PartName="/ppt/slideLayouts/slideLayout1730.xml" ContentType="application/vnd.openxmlformats-officedocument.presentationml.slideLayout+xml"/>
  <Override PartName="/ppt/slideLayouts/slideLayout1731.xml" ContentType="application/vnd.openxmlformats-officedocument.presentationml.slideLayout+xml"/>
  <Override PartName="/ppt/slideLayouts/slideLayout1732.xml" ContentType="application/vnd.openxmlformats-officedocument.presentationml.slideLayout+xml"/>
  <Override PartName="/ppt/slideLayouts/slideLayout1733.xml" ContentType="application/vnd.openxmlformats-officedocument.presentationml.slideLayout+xml"/>
  <Override PartName="/ppt/slideLayouts/slideLayout1734.xml" ContentType="application/vnd.openxmlformats-officedocument.presentationml.slideLayout+xml"/>
  <Override PartName="/ppt/slideLayouts/slideLayout1735.xml" ContentType="application/vnd.openxmlformats-officedocument.presentationml.slideLayout+xml"/>
  <Override PartName="/ppt/slideLayouts/slideLayout1736.xml" ContentType="application/vnd.openxmlformats-officedocument.presentationml.slideLayout+xml"/>
  <Override PartName="/ppt/slideLayouts/slideLayout1737.xml" ContentType="application/vnd.openxmlformats-officedocument.presentationml.slideLayout+xml"/>
  <Override PartName="/ppt/slideLayouts/slideLayout1738.xml" ContentType="application/vnd.openxmlformats-officedocument.presentationml.slideLayout+xml"/>
  <Override PartName="/ppt/slideLayouts/slideLayout1739.xml" ContentType="application/vnd.openxmlformats-officedocument.presentationml.slideLayout+xml"/>
  <Override PartName="/ppt/slideLayouts/slideLayout1740.xml" ContentType="application/vnd.openxmlformats-officedocument.presentationml.slideLayout+xml"/>
  <Override PartName="/ppt/slideLayouts/slideLayout1741.xml" ContentType="application/vnd.openxmlformats-officedocument.presentationml.slideLayout+xml"/>
  <Override PartName="/ppt/theme/theme238.xml" ContentType="application/vnd.openxmlformats-officedocument.theme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tags/tag319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tags/tag322.xml" ContentType="application/vnd.openxmlformats-officedocument.presentationml.tags+xml"/>
  <Override PartName="/ppt/tags/tag323.xml" ContentType="application/vnd.openxmlformats-officedocument.presentationml.tags+xml"/>
  <Override PartName="/ppt/tags/tag324.xml" ContentType="application/vnd.openxmlformats-officedocument.presentationml.tags+xml"/>
  <Override PartName="/ppt/tags/tag325.xml" ContentType="application/vnd.openxmlformats-officedocument.presentationml.tags+xml"/>
  <Override PartName="/ppt/tags/tag326.xml" ContentType="application/vnd.openxmlformats-officedocument.presentationml.tags+xml"/>
  <Override PartName="/ppt/tags/tag327.xml" ContentType="application/vnd.openxmlformats-officedocument.presentationml.tags+xml"/>
  <Override PartName="/ppt/tags/tag328.xml" ContentType="application/vnd.openxmlformats-officedocument.presentationml.tags+xml"/>
  <Override PartName="/ppt/slideLayouts/slideLayout1742.xml" ContentType="application/vnd.openxmlformats-officedocument.presentationml.slideLayout+xml"/>
  <Override PartName="/ppt/slideLayouts/slideLayout1743.xml" ContentType="application/vnd.openxmlformats-officedocument.presentationml.slideLayout+xml"/>
  <Override PartName="/ppt/slideLayouts/slideLayout1744.xml" ContentType="application/vnd.openxmlformats-officedocument.presentationml.slideLayout+xml"/>
  <Override PartName="/ppt/slideLayouts/slideLayout1745.xml" ContentType="application/vnd.openxmlformats-officedocument.presentationml.slideLayout+xml"/>
  <Override PartName="/ppt/slideLayouts/slideLayout1746.xml" ContentType="application/vnd.openxmlformats-officedocument.presentationml.slideLayout+xml"/>
  <Override PartName="/ppt/slideLayouts/slideLayout1747.xml" ContentType="application/vnd.openxmlformats-officedocument.presentationml.slideLayout+xml"/>
  <Override PartName="/ppt/slideLayouts/slideLayout1748.xml" ContentType="application/vnd.openxmlformats-officedocument.presentationml.slideLayout+xml"/>
  <Override PartName="/ppt/slideLayouts/slideLayout1749.xml" ContentType="application/vnd.openxmlformats-officedocument.presentationml.slideLayout+xml"/>
  <Override PartName="/ppt/slideLayouts/slideLayout1750.xml" ContentType="application/vnd.openxmlformats-officedocument.presentationml.slideLayout+xml"/>
  <Override PartName="/ppt/slideLayouts/slideLayout1751.xml" ContentType="application/vnd.openxmlformats-officedocument.presentationml.slideLayout+xml"/>
  <Override PartName="/ppt/theme/theme239.xml" ContentType="application/vnd.openxmlformats-officedocument.theme+xml"/>
  <Override PartName="/ppt/tags/tag329.xml" ContentType="application/vnd.openxmlformats-officedocument.presentationml.tags+xml"/>
  <Override PartName="/ppt/tags/tag330.xml" ContentType="application/vnd.openxmlformats-officedocument.presentationml.tags+xml"/>
  <Override PartName="/ppt/tags/tag331.xml" ContentType="application/vnd.openxmlformats-officedocument.presentationml.tags+xml"/>
  <Override PartName="/ppt/slideLayouts/slideLayout1752.xml" ContentType="application/vnd.openxmlformats-officedocument.presentationml.slideLayout+xml"/>
  <Override PartName="/ppt/slideLayouts/slideLayout1753.xml" ContentType="application/vnd.openxmlformats-officedocument.presentationml.slideLayout+xml"/>
  <Override PartName="/ppt/slideLayouts/slideLayout1754.xml" ContentType="application/vnd.openxmlformats-officedocument.presentationml.slideLayout+xml"/>
  <Override PartName="/ppt/slideLayouts/slideLayout1755.xml" ContentType="application/vnd.openxmlformats-officedocument.presentationml.slideLayout+xml"/>
  <Override PartName="/ppt/slideLayouts/slideLayout1756.xml" ContentType="application/vnd.openxmlformats-officedocument.presentationml.slideLayout+xml"/>
  <Override PartName="/ppt/slideLayouts/slideLayout1757.xml" ContentType="application/vnd.openxmlformats-officedocument.presentationml.slideLayout+xml"/>
  <Override PartName="/ppt/theme/theme240.xml" ContentType="application/vnd.openxmlformats-officedocument.theme+xml"/>
  <Override PartName="/ppt/slideLayouts/slideLayout1758.xml" ContentType="application/vnd.openxmlformats-officedocument.presentationml.slideLayout+xml"/>
  <Override PartName="/ppt/slideLayouts/slideLayout1759.xml" ContentType="application/vnd.openxmlformats-officedocument.presentationml.slideLayout+xml"/>
  <Override PartName="/ppt/slideLayouts/slideLayout1760.xml" ContentType="application/vnd.openxmlformats-officedocument.presentationml.slideLayout+xml"/>
  <Override PartName="/ppt/slideLayouts/slideLayout1761.xml" ContentType="application/vnd.openxmlformats-officedocument.presentationml.slideLayout+xml"/>
  <Override PartName="/ppt/slideLayouts/slideLayout1762.xml" ContentType="application/vnd.openxmlformats-officedocument.presentationml.slideLayout+xml"/>
  <Override PartName="/ppt/slideLayouts/slideLayout1763.xml" ContentType="application/vnd.openxmlformats-officedocument.presentationml.slideLayout+xml"/>
  <Override PartName="/ppt/slideLayouts/slideLayout1764.xml" ContentType="application/vnd.openxmlformats-officedocument.presentationml.slideLayout+xml"/>
  <Override PartName="/ppt/slideLayouts/slideLayout1765.xml" ContentType="application/vnd.openxmlformats-officedocument.presentationml.slideLayout+xml"/>
  <Override PartName="/ppt/slideLayouts/slideLayout1766.xml" ContentType="application/vnd.openxmlformats-officedocument.presentationml.slideLayout+xml"/>
  <Override PartName="/ppt/slideLayouts/slideLayout1767.xml" ContentType="application/vnd.openxmlformats-officedocument.presentationml.slideLayout+xml"/>
  <Override PartName="/ppt/slideLayouts/slideLayout1768.xml" ContentType="application/vnd.openxmlformats-officedocument.presentationml.slideLayout+xml"/>
  <Override PartName="/ppt/slideLayouts/slideLayout1769.xml" ContentType="application/vnd.openxmlformats-officedocument.presentationml.slideLayout+xml"/>
  <Override PartName="/ppt/slideLayouts/slideLayout1770.xml" ContentType="application/vnd.openxmlformats-officedocument.presentationml.slideLayout+xml"/>
  <Override PartName="/ppt/slideLayouts/slideLayout1771.xml" ContentType="application/vnd.openxmlformats-officedocument.presentationml.slideLayout+xml"/>
  <Override PartName="/ppt/slideLayouts/slideLayout1772.xml" ContentType="application/vnd.openxmlformats-officedocument.presentationml.slideLayout+xml"/>
  <Override PartName="/ppt/theme/theme241.xml" ContentType="application/vnd.openxmlformats-officedocument.theme+xml"/>
  <Override PartName="/ppt/tags/tag332.xml" ContentType="application/vnd.openxmlformats-officedocument.presentationml.tags+xml"/>
  <Override PartName="/ppt/tags/tag333.xml" ContentType="application/vnd.openxmlformats-officedocument.presentationml.tags+xml"/>
  <Override PartName="/ppt/tags/tag334.xml" ContentType="application/vnd.openxmlformats-officedocument.presentationml.tags+xml"/>
  <Override PartName="/ppt/tags/tag335.xml" ContentType="application/vnd.openxmlformats-officedocument.presentationml.tags+xml"/>
  <Override PartName="/ppt/tags/tag336.xml" ContentType="application/vnd.openxmlformats-officedocument.presentationml.tags+xml"/>
  <Override PartName="/ppt/slideLayouts/slideLayout1773.xml" ContentType="application/vnd.openxmlformats-officedocument.presentationml.slideLayout+xml"/>
  <Override PartName="/ppt/slideLayouts/slideLayout1774.xml" ContentType="application/vnd.openxmlformats-officedocument.presentationml.slideLayout+xml"/>
  <Override PartName="/ppt/slideLayouts/slideLayout1775.xml" ContentType="application/vnd.openxmlformats-officedocument.presentationml.slideLayout+xml"/>
  <Override PartName="/ppt/slideLayouts/slideLayout1776.xml" ContentType="application/vnd.openxmlformats-officedocument.presentationml.slideLayout+xml"/>
  <Override PartName="/ppt/slideLayouts/slideLayout1777.xml" ContentType="application/vnd.openxmlformats-officedocument.presentationml.slideLayout+xml"/>
  <Override PartName="/ppt/slideLayouts/slideLayout1778.xml" ContentType="application/vnd.openxmlformats-officedocument.presentationml.slideLayout+xml"/>
  <Override PartName="/ppt/theme/theme242.xml" ContentType="application/vnd.openxmlformats-officedocument.theme+xml"/>
  <Override PartName="/ppt/slideLayouts/slideLayout1779.xml" ContentType="application/vnd.openxmlformats-officedocument.presentationml.slideLayout+xml"/>
  <Override PartName="/ppt/slideLayouts/slideLayout1780.xml" ContentType="application/vnd.openxmlformats-officedocument.presentationml.slideLayout+xml"/>
  <Override PartName="/ppt/slideLayouts/slideLayout1781.xml" ContentType="application/vnd.openxmlformats-officedocument.presentationml.slideLayout+xml"/>
  <Override PartName="/ppt/slideLayouts/slideLayout1782.xml" ContentType="application/vnd.openxmlformats-officedocument.presentationml.slideLayout+xml"/>
  <Override PartName="/ppt/slideLayouts/slideLayout1783.xml" ContentType="application/vnd.openxmlformats-officedocument.presentationml.slideLayout+xml"/>
  <Override PartName="/ppt/slideLayouts/slideLayout1784.xml" ContentType="application/vnd.openxmlformats-officedocument.presentationml.slideLayout+xml"/>
  <Override PartName="/ppt/slideLayouts/slideLayout1785.xml" ContentType="application/vnd.openxmlformats-officedocument.presentationml.slideLayout+xml"/>
  <Override PartName="/ppt/slideLayouts/slideLayout1786.xml" ContentType="application/vnd.openxmlformats-officedocument.presentationml.slideLayout+xml"/>
  <Override PartName="/ppt/slideLayouts/slideLayout1787.xml" ContentType="application/vnd.openxmlformats-officedocument.presentationml.slideLayout+xml"/>
  <Override PartName="/ppt/theme/theme243.xml" ContentType="application/vnd.openxmlformats-officedocument.theme+xml"/>
  <Override PartName="/ppt/slideLayouts/slideLayout1788.xml" ContentType="application/vnd.openxmlformats-officedocument.presentationml.slideLayout+xml"/>
  <Override PartName="/ppt/slideLayouts/slideLayout1789.xml" ContentType="application/vnd.openxmlformats-officedocument.presentationml.slideLayout+xml"/>
  <Override PartName="/ppt/slideLayouts/slideLayout1790.xml" ContentType="application/vnd.openxmlformats-officedocument.presentationml.slideLayout+xml"/>
  <Override PartName="/ppt/slideLayouts/slideLayout1791.xml" ContentType="application/vnd.openxmlformats-officedocument.presentationml.slideLayout+xml"/>
  <Override PartName="/ppt/slideLayouts/slideLayout1792.xml" ContentType="application/vnd.openxmlformats-officedocument.presentationml.slideLayout+xml"/>
  <Override PartName="/ppt/slideLayouts/slideLayout1793.xml" ContentType="application/vnd.openxmlformats-officedocument.presentationml.slideLayout+xml"/>
  <Override PartName="/ppt/slideLayouts/slideLayout1794.xml" ContentType="application/vnd.openxmlformats-officedocument.presentationml.slideLayout+xml"/>
  <Override PartName="/ppt/slideLayouts/slideLayout1795.xml" ContentType="application/vnd.openxmlformats-officedocument.presentationml.slideLayout+xml"/>
  <Override PartName="/ppt/slideLayouts/slideLayout1796.xml" ContentType="application/vnd.openxmlformats-officedocument.presentationml.slideLayout+xml"/>
  <Override PartName="/ppt/theme/theme244.xml" ContentType="application/vnd.openxmlformats-officedocument.theme+xml"/>
  <Override PartName="/ppt/slideLayouts/slideLayout1797.xml" ContentType="application/vnd.openxmlformats-officedocument.presentationml.slideLayout+xml"/>
  <Override PartName="/ppt/slideLayouts/slideLayout1798.xml" ContentType="application/vnd.openxmlformats-officedocument.presentationml.slideLayout+xml"/>
  <Override PartName="/ppt/slideLayouts/slideLayout1799.xml" ContentType="application/vnd.openxmlformats-officedocument.presentationml.slideLayout+xml"/>
  <Override PartName="/ppt/slideLayouts/slideLayout1800.xml" ContentType="application/vnd.openxmlformats-officedocument.presentationml.slideLayout+xml"/>
  <Override PartName="/ppt/slideLayouts/slideLayout1801.xml" ContentType="application/vnd.openxmlformats-officedocument.presentationml.slideLayout+xml"/>
  <Override PartName="/ppt/slideLayouts/slideLayout1802.xml" ContentType="application/vnd.openxmlformats-officedocument.presentationml.slideLayout+xml"/>
  <Override PartName="/ppt/slideLayouts/slideLayout1803.xml" ContentType="application/vnd.openxmlformats-officedocument.presentationml.slideLayout+xml"/>
  <Override PartName="/ppt/slideLayouts/slideLayout1804.xml" ContentType="application/vnd.openxmlformats-officedocument.presentationml.slideLayout+xml"/>
  <Override PartName="/ppt/slideLayouts/slideLayout1805.xml" ContentType="application/vnd.openxmlformats-officedocument.presentationml.slideLayout+xml"/>
  <Override PartName="/ppt/slideLayouts/slideLayout1806.xml" ContentType="application/vnd.openxmlformats-officedocument.presentationml.slideLayout+xml"/>
  <Override PartName="/ppt/theme/theme245.xml" ContentType="application/vnd.openxmlformats-officedocument.theme+xml"/>
  <Override PartName="/ppt/theme/theme246.xml" ContentType="application/vnd.openxmlformats-officedocument.theme+xml"/>
  <Override PartName="/ppt/theme/theme247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trictFirstAndLastChars="0" saveSubsetFonts="1">
  <p:sldMasterIdLst>
    <p:sldMasterId id="2147483648" r:id="rId4"/>
    <p:sldMasterId id="2147483673" r:id="rId5"/>
    <p:sldMasterId id="2147483679" r:id="rId6"/>
    <p:sldMasterId id="2147483689" r:id="rId7"/>
    <p:sldMasterId id="2147483700" r:id="rId8"/>
    <p:sldMasterId id="2147483707" r:id="rId9"/>
    <p:sldMasterId id="2147483717" r:id="rId10"/>
    <p:sldMasterId id="2147483726" r:id="rId11"/>
    <p:sldMasterId id="2147483786" r:id="rId12"/>
    <p:sldMasterId id="2147483798" r:id="rId13"/>
    <p:sldMasterId id="2147483811" r:id="rId14"/>
    <p:sldMasterId id="2147483820" r:id="rId15"/>
    <p:sldMasterId id="2147483825" r:id="rId16"/>
    <p:sldMasterId id="2147483834" r:id="rId17"/>
    <p:sldMasterId id="2147483839" r:id="rId18"/>
    <p:sldMasterId id="2147483849" r:id="rId19"/>
    <p:sldMasterId id="2147483854" r:id="rId20"/>
    <p:sldMasterId id="2147483863" r:id="rId21"/>
    <p:sldMasterId id="2147483870" r:id="rId22"/>
    <p:sldMasterId id="2147483880" r:id="rId23"/>
    <p:sldMasterId id="2147483885" r:id="rId24"/>
    <p:sldMasterId id="2147483894" r:id="rId25"/>
    <p:sldMasterId id="2147483900" r:id="rId26"/>
    <p:sldMasterId id="2147483913" r:id="rId27"/>
    <p:sldMasterId id="2147483922" r:id="rId28"/>
    <p:sldMasterId id="2147483938" r:id="rId29"/>
    <p:sldMasterId id="2147483943" r:id="rId30"/>
    <p:sldMasterId id="2147483952" r:id="rId31"/>
    <p:sldMasterId id="2147483958" r:id="rId32"/>
    <p:sldMasterId id="2147483963" r:id="rId33"/>
    <p:sldMasterId id="2147483976" r:id="rId34"/>
    <p:sldMasterId id="2147483981" r:id="rId35"/>
    <p:sldMasterId id="2147483986" r:id="rId36"/>
    <p:sldMasterId id="2147483997" r:id="rId37"/>
    <p:sldMasterId id="2147484006" r:id="rId38"/>
    <p:sldMasterId id="2147484011" r:id="rId39"/>
    <p:sldMasterId id="2147484020" r:id="rId40"/>
    <p:sldMasterId id="2147484025" r:id="rId41"/>
    <p:sldMasterId id="2147484031" r:id="rId42"/>
    <p:sldMasterId id="2147484048" r:id="rId43"/>
    <p:sldMasterId id="2147484053" r:id="rId44"/>
    <p:sldMasterId id="2147484063" r:id="rId45"/>
    <p:sldMasterId id="2147484069" r:id="rId46"/>
    <p:sldMasterId id="2147484081" r:id="rId47"/>
    <p:sldMasterId id="2147484086" r:id="rId48"/>
    <p:sldMasterId id="2147484093" r:id="rId49"/>
    <p:sldMasterId id="2147484108" r:id="rId50"/>
    <p:sldMasterId id="2147484122" r:id="rId51"/>
    <p:sldMasterId id="2147484131" r:id="rId52"/>
    <p:sldMasterId id="2147484136" r:id="rId53"/>
    <p:sldMasterId id="2147484141" r:id="rId54"/>
    <p:sldMasterId id="2147484151" r:id="rId55"/>
    <p:sldMasterId id="2147484163" r:id="rId56"/>
    <p:sldMasterId id="2147484172" r:id="rId57"/>
    <p:sldMasterId id="2147484181" r:id="rId58"/>
    <p:sldMasterId id="2147484191" r:id="rId59"/>
    <p:sldMasterId id="2147484202" r:id="rId60"/>
    <p:sldMasterId id="2147484212" r:id="rId61"/>
    <p:sldMasterId id="2147484225" r:id="rId62"/>
    <p:sldMasterId id="2147484234" r:id="rId63"/>
    <p:sldMasterId id="2147484239" r:id="rId64"/>
    <p:sldMasterId id="2147484244" r:id="rId65"/>
    <p:sldMasterId id="2147484249" r:id="rId66"/>
    <p:sldMasterId id="2147484259" r:id="rId67"/>
    <p:sldMasterId id="2147484265" r:id="rId68"/>
    <p:sldMasterId id="2147484275" r:id="rId69"/>
    <p:sldMasterId id="2147484285" r:id="rId70"/>
    <p:sldMasterId id="2147484294" r:id="rId71"/>
    <p:sldMasterId id="2147484306" r:id="rId72"/>
    <p:sldMasterId id="2147484315" r:id="rId73"/>
    <p:sldMasterId id="2147484326" r:id="rId74"/>
    <p:sldMasterId id="2147484330" r:id="rId75"/>
    <p:sldMasterId id="2147484341" r:id="rId76"/>
    <p:sldMasterId id="2147484351" r:id="rId77"/>
    <p:sldMasterId id="2147484361" r:id="rId78"/>
    <p:sldMasterId id="2147484367" r:id="rId79"/>
    <p:sldMasterId id="2147484379" r:id="rId80"/>
    <p:sldMasterId id="2147484384" r:id="rId81"/>
    <p:sldMasterId id="2147484389" r:id="rId82"/>
    <p:sldMasterId id="2147484394" r:id="rId83"/>
    <p:sldMasterId id="2147484405" r:id="rId84"/>
    <p:sldMasterId id="2147484409" r:id="rId85"/>
    <p:sldMasterId id="2147484421" r:id="rId86"/>
    <p:sldMasterId id="2147484432" r:id="rId87"/>
    <p:sldMasterId id="2147484442" r:id="rId88"/>
    <p:sldMasterId id="2147484454" r:id="rId89"/>
    <p:sldMasterId id="2147484466" r:id="rId90"/>
    <p:sldMasterId id="2147484476" r:id="rId91"/>
    <p:sldMasterId id="2147484486" r:id="rId92"/>
    <p:sldMasterId id="2147484498" r:id="rId93"/>
    <p:sldMasterId id="2147484508" r:id="rId94"/>
    <p:sldMasterId id="2147484518" r:id="rId95"/>
    <p:sldMasterId id="2147484523" r:id="rId96"/>
    <p:sldMasterId id="2147484528" r:id="rId97"/>
    <p:sldMasterId id="2147484533" r:id="rId98"/>
    <p:sldMasterId id="2147484539" r:id="rId99"/>
    <p:sldMasterId id="2147484551" r:id="rId100"/>
    <p:sldMasterId id="2147484556" r:id="rId101"/>
    <p:sldMasterId id="2147484566" r:id="rId102"/>
    <p:sldMasterId id="2147484577" r:id="rId103"/>
    <p:sldMasterId id="2147484587" r:id="rId104"/>
    <p:sldMasterId id="2147484591" r:id="rId105"/>
    <p:sldMasterId id="2147484601" r:id="rId106"/>
    <p:sldMasterId id="2147484611" r:id="rId107"/>
    <p:sldMasterId id="2147484621" r:id="rId108"/>
    <p:sldMasterId id="2147484806" r:id="rId109"/>
    <p:sldMasterId id="2147484811" r:id="rId110"/>
    <p:sldMasterId id="2147484821" r:id="rId111"/>
    <p:sldMasterId id="2147484833" r:id="rId112"/>
    <p:sldMasterId id="2147484844" r:id="rId113"/>
    <p:sldMasterId id="2147484854" r:id="rId114"/>
    <p:sldMasterId id="2147484864" r:id="rId115"/>
    <p:sldMasterId id="2147484874" r:id="rId116"/>
    <p:sldMasterId id="2147484886" r:id="rId117"/>
    <p:sldMasterId id="2147484897" r:id="rId118"/>
    <p:sldMasterId id="2147484906" r:id="rId119"/>
    <p:sldMasterId id="2147484918" r:id="rId120"/>
    <p:sldMasterId id="2147484930" r:id="rId121"/>
    <p:sldMasterId id="2147484937" r:id="rId122"/>
    <p:sldMasterId id="2147484942" r:id="rId123"/>
    <p:sldMasterId id="2147484947" r:id="rId124"/>
    <p:sldMasterId id="2147484952" r:id="rId125"/>
    <p:sldMasterId id="2147484957" r:id="rId126"/>
    <p:sldMasterId id="2147485024" r:id="rId127"/>
    <p:sldMasterId id="2147485029" r:id="rId128"/>
    <p:sldMasterId id="2147485041" r:id="rId129"/>
    <p:sldMasterId id="2147485050" r:id="rId130"/>
    <p:sldMasterId id="2147485055" r:id="rId131"/>
    <p:sldMasterId id="2147485065" r:id="rId132"/>
    <p:sldMasterId id="2147485075" r:id="rId133"/>
    <p:sldMasterId id="2147485085" r:id="rId134"/>
    <p:sldMasterId id="2147485095" r:id="rId135"/>
    <p:sldMasterId id="2147485105" r:id="rId136"/>
    <p:sldMasterId id="2147485110" r:id="rId137"/>
    <p:sldMasterId id="2147485120" r:id="rId138"/>
    <p:sldMasterId id="2147485125" r:id="rId139"/>
    <p:sldMasterId id="2147485130" r:id="rId140"/>
    <p:sldMasterId id="2147485142" r:id="rId141"/>
    <p:sldMasterId id="2147485148" r:id="rId142"/>
    <p:sldMasterId id="2147485155" r:id="rId143"/>
    <p:sldMasterId id="2147485165" r:id="rId144"/>
    <p:sldMasterId id="2147485177" r:id="rId145"/>
    <p:sldMasterId id="2147485188" r:id="rId146"/>
    <p:sldMasterId id="2147485198" r:id="rId147"/>
    <p:sldMasterId id="2147485209" r:id="rId148"/>
    <p:sldMasterId id="2147485220" r:id="rId149"/>
    <p:sldMasterId id="2147485230" r:id="rId150"/>
    <p:sldMasterId id="2147485242" r:id="rId151"/>
    <p:sldMasterId id="2147485252" r:id="rId152"/>
    <p:sldMasterId id="2147485259" r:id="rId153"/>
    <p:sldMasterId id="2147485269" r:id="rId154"/>
    <p:sldMasterId id="2147485279" r:id="rId155"/>
    <p:sldMasterId id="2147485290" r:id="rId156"/>
    <p:sldMasterId id="2147485300" r:id="rId157"/>
    <p:sldMasterId id="2147485312" r:id="rId158"/>
    <p:sldMasterId id="2147485323" r:id="rId159"/>
    <p:sldMasterId id="2147485335" r:id="rId160"/>
    <p:sldMasterId id="2147485340" r:id="rId161"/>
    <p:sldMasterId id="2147485350" r:id="rId162"/>
    <p:sldMasterId id="2147485355" r:id="rId163"/>
    <p:sldMasterId id="2147485360" r:id="rId164"/>
    <p:sldMasterId id="2147485366" r:id="rId165"/>
    <p:sldMasterId id="2147485378" r:id="rId166"/>
    <p:sldMasterId id="2147485390" r:id="rId167"/>
    <p:sldMasterId id="2147485400" r:id="rId168"/>
    <p:sldMasterId id="2147485420" r:id="rId169"/>
    <p:sldMasterId id="2147485426" r:id="rId170"/>
    <p:sldMasterId id="2147485434" r:id="rId171"/>
    <p:sldMasterId id="2147485447" r:id="rId172"/>
    <p:sldMasterId id="2147485457" r:id="rId173"/>
    <p:sldMasterId id="2147485477" r:id="rId174"/>
    <p:sldMasterId id="2147485489" r:id="rId175"/>
    <p:sldMasterId id="2147485495" r:id="rId176"/>
    <p:sldMasterId id="2147485502" r:id="rId177"/>
    <p:sldMasterId id="2147485512" r:id="rId178"/>
    <p:sldMasterId id="2147485522" r:id="rId179"/>
    <p:sldMasterId id="2147485531" r:id="rId180"/>
    <p:sldMasterId id="2147485543" r:id="rId181"/>
    <p:sldMasterId id="2147485553" r:id="rId182"/>
    <p:sldMasterId id="2147485683" r:id="rId183"/>
    <p:sldMasterId id="2147485688" r:id="rId184"/>
    <p:sldMasterId id="2147485698" r:id="rId185"/>
    <p:sldMasterId id="2147485708" r:id="rId186"/>
    <p:sldMasterId id="2147485718" r:id="rId187"/>
    <p:sldMasterId id="2147485724" r:id="rId188"/>
    <p:sldMasterId id="2147485735" r:id="rId189"/>
    <p:sldMasterId id="2147485745" r:id="rId190"/>
    <p:sldMasterId id="2147485757" r:id="rId191"/>
    <p:sldMasterId id="2147485761" r:id="rId192"/>
    <p:sldMasterId id="2147485770" r:id="rId193"/>
    <p:sldMasterId id="2147485775" r:id="rId194"/>
    <p:sldMasterId id="2147485802" r:id="rId195"/>
    <p:sldMasterId id="2147485813" r:id="rId196"/>
    <p:sldMasterId id="2147485825" r:id="rId197"/>
    <p:sldMasterId id="2147485837" r:id="rId198"/>
    <p:sldMasterId id="2147485848" r:id="rId199"/>
    <p:sldMasterId id="2147485875" r:id="rId200"/>
    <p:sldMasterId id="2147485880" r:id="rId201"/>
    <p:sldMasterId id="2147485890" r:id="rId202"/>
    <p:sldMasterId id="2147485902" r:id="rId203"/>
    <p:sldMasterId id="2147485907" r:id="rId204"/>
    <p:sldMasterId id="2147485917" r:id="rId205"/>
    <p:sldMasterId id="2147485927" r:id="rId206"/>
    <p:sldMasterId id="2147485933" r:id="rId207"/>
    <p:sldMasterId id="2147485940" r:id="rId208"/>
    <p:sldMasterId id="2147485950" r:id="rId209"/>
    <p:sldMasterId id="2147485954" r:id="rId210"/>
    <p:sldMasterId id="2147485966" r:id="rId211"/>
    <p:sldMasterId id="2147485976" r:id="rId212"/>
    <p:sldMasterId id="2147485986" r:id="rId213"/>
    <p:sldMasterId id="2147485991" r:id="rId214"/>
    <p:sldMasterId id="2147486012" r:id="rId215"/>
    <p:sldMasterId id="2147486019" r:id="rId216"/>
    <p:sldMasterId id="2147486025" r:id="rId217"/>
    <p:sldMasterId id="2147486036" r:id="rId218"/>
    <p:sldMasterId id="2147486046" r:id="rId219"/>
    <p:sldMasterId id="2147486073" r:id="rId220"/>
    <p:sldMasterId id="2147486078" r:id="rId221"/>
    <p:sldMasterId id="2147486083" r:id="rId222"/>
    <p:sldMasterId id="2147486091" r:id="rId223"/>
    <p:sldMasterId id="2147486102" r:id="rId224"/>
    <p:sldMasterId id="2147486231" r:id="rId225"/>
    <p:sldMasterId id="2147486244" r:id="rId226"/>
    <p:sldMasterId id="2147486258" r:id="rId227"/>
    <p:sldMasterId id="2147486273" r:id="rId228"/>
    <p:sldMasterId id="2147486287" r:id="rId229"/>
    <p:sldMasterId id="2147486302" r:id="rId230"/>
    <p:sldMasterId id="2147486316" r:id="rId231"/>
    <p:sldMasterId id="2147486334" r:id="rId232"/>
    <p:sldMasterId id="2147486345" r:id="rId233"/>
    <p:sldMasterId id="2147486359" r:id="rId234"/>
    <p:sldMasterId id="2147486372" r:id="rId235"/>
    <p:sldMasterId id="2147486392" r:id="rId236"/>
    <p:sldMasterId id="2147486400" r:id="rId237"/>
    <p:sldMasterId id="2147486416" r:id="rId238"/>
    <p:sldMasterId id="2147486432" r:id="rId239"/>
    <p:sldMasterId id="2147486440" r:id="rId240"/>
    <p:sldMasterId id="2147486451" r:id="rId241"/>
    <p:sldMasterId id="2147486471" r:id="rId242"/>
    <p:sldMasterId id="2147486500" r:id="rId243"/>
    <p:sldMasterId id="2147486508" r:id="rId244"/>
    <p:sldMasterId id="2147486538" r:id="rId245"/>
    <p:sldMasterId id="2147486546" r:id="rId246"/>
    <p:sldMasterId id="2147486557" r:id="rId247"/>
    <p:sldMasterId id="2147486568" r:id="rId248"/>
  </p:sldMasterIdLst>
  <p:notesMasterIdLst>
    <p:notesMasterId r:id="rId260"/>
  </p:notesMasterIdLst>
  <p:handoutMasterIdLst>
    <p:handoutMasterId r:id="rId261"/>
  </p:handoutMasterIdLst>
  <p:sldIdLst>
    <p:sldId id="2625" r:id="rId249"/>
    <p:sldId id="2887" r:id="rId250"/>
    <p:sldId id="2894" r:id="rId251"/>
    <p:sldId id="2888" r:id="rId252"/>
    <p:sldId id="2899" r:id="rId253"/>
    <p:sldId id="2890" r:id="rId254"/>
    <p:sldId id="2896" r:id="rId255"/>
    <p:sldId id="2897" r:id="rId256"/>
    <p:sldId id="2898" r:id="rId257"/>
    <p:sldId id="2631" r:id="rId258"/>
    <p:sldId id="2892" r:id="rId259"/>
  </p:sldIdLst>
  <p:sldSz cx="11949113" cy="6721475"/>
  <p:notesSz cx="6997700" cy="9283700"/>
  <p:custDataLst>
    <p:tags r:id="rId262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453012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905973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1358941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1811922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64903" algn="l" defTabSz="905973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6pPr>
    <a:lvl7pPr marL="2717871" algn="l" defTabSz="905973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7pPr>
    <a:lvl8pPr marL="3170857" algn="l" defTabSz="905973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8pPr>
    <a:lvl9pPr marL="3623844" algn="l" defTabSz="905973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40" userDrawn="1">
          <p15:clr>
            <a:srgbClr val="A4A3A4"/>
          </p15:clr>
        </p15:guide>
        <p15:guide id="2" pos="67" userDrawn="1">
          <p15:clr>
            <a:srgbClr val="A4A3A4"/>
          </p15:clr>
        </p15:guide>
        <p15:guide id="3" pos="1269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716" userDrawn="1">
          <p15:clr>
            <a:srgbClr val="A4A3A4"/>
          </p15:clr>
        </p15:guide>
        <p15:guide id="2" pos="2249" userDrawn="1">
          <p15:clr>
            <a:srgbClr val="A4A3A4"/>
          </p15:clr>
        </p15:guide>
        <p15:guide id="3" orient="horz" pos="2924" userDrawn="1">
          <p15:clr>
            <a:srgbClr val="A4A3A4"/>
          </p15:clr>
        </p15:guide>
        <p15:guide id="4" pos="2204" userDrawn="1">
          <p15:clr>
            <a:srgbClr val="A4A3A4"/>
          </p15:clr>
        </p15:guide>
      </p15:notesGuideLst>
    </p:ext>
  </p:extLst>
</p:presentation>
</file>

<file path=ppt/_rels/presentation.xml.rels><?xml version="1.0" encoding="UTF-8" standalone="yes"?>
<Relationships xmlns="http://schemas.openxmlformats.org/package/2006/relationships"><Relationship Id="rId117" Type="http://schemas.openxmlformats.org/officeDocument/2006/relationships/slideMaster" Target="slideMasters/slideMaster114.xml"/><Relationship Id="rId21" Type="http://schemas.openxmlformats.org/officeDocument/2006/relationships/slideMaster" Target="slideMasters/slideMaster18.xml"/><Relationship Id="rId42" Type="http://schemas.openxmlformats.org/officeDocument/2006/relationships/slideMaster" Target="slideMasters/slideMaster39.xml"/><Relationship Id="rId63" Type="http://schemas.openxmlformats.org/officeDocument/2006/relationships/slideMaster" Target="slideMasters/slideMaster60.xml"/><Relationship Id="rId84" Type="http://schemas.openxmlformats.org/officeDocument/2006/relationships/slideMaster" Target="slideMasters/slideMaster81.xml"/><Relationship Id="rId138" Type="http://schemas.openxmlformats.org/officeDocument/2006/relationships/slideMaster" Target="slideMasters/slideMaster135.xml"/><Relationship Id="rId159" Type="http://schemas.openxmlformats.org/officeDocument/2006/relationships/slideMaster" Target="slideMasters/slideMaster156.xml"/><Relationship Id="rId170" Type="http://schemas.openxmlformats.org/officeDocument/2006/relationships/slideMaster" Target="slideMasters/slideMaster167.xml"/><Relationship Id="rId191" Type="http://schemas.openxmlformats.org/officeDocument/2006/relationships/slideMaster" Target="slideMasters/slideMaster188.xml"/><Relationship Id="rId205" Type="http://schemas.openxmlformats.org/officeDocument/2006/relationships/slideMaster" Target="slideMasters/slideMaster202.xml"/><Relationship Id="rId226" Type="http://schemas.openxmlformats.org/officeDocument/2006/relationships/slideMaster" Target="slideMasters/slideMaster223.xml"/><Relationship Id="rId247" Type="http://schemas.openxmlformats.org/officeDocument/2006/relationships/slideMaster" Target="slideMasters/slideMaster244.xml"/><Relationship Id="rId107" Type="http://schemas.openxmlformats.org/officeDocument/2006/relationships/slideMaster" Target="slideMasters/slideMaster104.xml"/><Relationship Id="rId11" Type="http://schemas.openxmlformats.org/officeDocument/2006/relationships/slideMaster" Target="slideMasters/slideMaster8.xml"/><Relationship Id="rId32" Type="http://schemas.openxmlformats.org/officeDocument/2006/relationships/slideMaster" Target="slideMasters/slideMaster29.xml"/><Relationship Id="rId53" Type="http://schemas.openxmlformats.org/officeDocument/2006/relationships/slideMaster" Target="slideMasters/slideMaster50.xml"/><Relationship Id="rId74" Type="http://schemas.openxmlformats.org/officeDocument/2006/relationships/slideMaster" Target="slideMasters/slideMaster71.xml"/><Relationship Id="rId128" Type="http://schemas.openxmlformats.org/officeDocument/2006/relationships/slideMaster" Target="slideMasters/slideMaster125.xml"/><Relationship Id="rId149" Type="http://schemas.openxmlformats.org/officeDocument/2006/relationships/slideMaster" Target="slideMasters/slideMaster146.xml"/><Relationship Id="rId5" Type="http://schemas.openxmlformats.org/officeDocument/2006/relationships/slideMaster" Target="slideMasters/slideMaster2.xml"/><Relationship Id="rId95" Type="http://schemas.openxmlformats.org/officeDocument/2006/relationships/slideMaster" Target="slideMasters/slideMaster92.xml"/><Relationship Id="rId160" Type="http://schemas.openxmlformats.org/officeDocument/2006/relationships/slideMaster" Target="slideMasters/slideMaster157.xml"/><Relationship Id="rId181" Type="http://schemas.openxmlformats.org/officeDocument/2006/relationships/slideMaster" Target="slideMasters/slideMaster178.xml"/><Relationship Id="rId216" Type="http://schemas.openxmlformats.org/officeDocument/2006/relationships/slideMaster" Target="slideMasters/slideMaster213.xml"/><Relationship Id="rId237" Type="http://schemas.openxmlformats.org/officeDocument/2006/relationships/slideMaster" Target="slideMasters/slideMaster234.xml"/><Relationship Id="rId258" Type="http://schemas.openxmlformats.org/officeDocument/2006/relationships/slide" Target="slides/slide10.xml"/><Relationship Id="rId22" Type="http://schemas.openxmlformats.org/officeDocument/2006/relationships/slideMaster" Target="slideMasters/slideMaster19.xml"/><Relationship Id="rId43" Type="http://schemas.openxmlformats.org/officeDocument/2006/relationships/slideMaster" Target="slideMasters/slideMaster40.xml"/><Relationship Id="rId64" Type="http://schemas.openxmlformats.org/officeDocument/2006/relationships/slideMaster" Target="slideMasters/slideMaster61.xml"/><Relationship Id="rId118" Type="http://schemas.openxmlformats.org/officeDocument/2006/relationships/slideMaster" Target="slideMasters/slideMaster115.xml"/><Relationship Id="rId139" Type="http://schemas.openxmlformats.org/officeDocument/2006/relationships/slideMaster" Target="slideMasters/slideMaster136.xml"/><Relationship Id="rId85" Type="http://schemas.openxmlformats.org/officeDocument/2006/relationships/slideMaster" Target="slideMasters/slideMaster82.xml"/><Relationship Id="rId150" Type="http://schemas.openxmlformats.org/officeDocument/2006/relationships/slideMaster" Target="slideMasters/slideMaster147.xml"/><Relationship Id="rId171" Type="http://schemas.openxmlformats.org/officeDocument/2006/relationships/slideMaster" Target="slideMasters/slideMaster168.xml"/><Relationship Id="rId192" Type="http://schemas.openxmlformats.org/officeDocument/2006/relationships/slideMaster" Target="slideMasters/slideMaster189.xml"/><Relationship Id="rId206" Type="http://schemas.openxmlformats.org/officeDocument/2006/relationships/slideMaster" Target="slideMasters/slideMaster203.xml"/><Relationship Id="rId227" Type="http://schemas.openxmlformats.org/officeDocument/2006/relationships/slideMaster" Target="slideMasters/slideMaster224.xml"/><Relationship Id="rId248" Type="http://schemas.openxmlformats.org/officeDocument/2006/relationships/slideMaster" Target="slideMasters/slideMaster245.xml"/><Relationship Id="rId12" Type="http://schemas.openxmlformats.org/officeDocument/2006/relationships/slideMaster" Target="slideMasters/slideMaster9.xml"/><Relationship Id="rId33" Type="http://schemas.openxmlformats.org/officeDocument/2006/relationships/slideMaster" Target="slideMasters/slideMaster30.xml"/><Relationship Id="rId108" Type="http://schemas.openxmlformats.org/officeDocument/2006/relationships/slideMaster" Target="slideMasters/slideMaster105.xml"/><Relationship Id="rId129" Type="http://schemas.openxmlformats.org/officeDocument/2006/relationships/slideMaster" Target="slideMasters/slideMaster126.xml"/><Relationship Id="rId54" Type="http://schemas.openxmlformats.org/officeDocument/2006/relationships/slideMaster" Target="slideMasters/slideMaster51.xml"/><Relationship Id="rId75" Type="http://schemas.openxmlformats.org/officeDocument/2006/relationships/slideMaster" Target="slideMasters/slideMaster72.xml"/><Relationship Id="rId96" Type="http://schemas.openxmlformats.org/officeDocument/2006/relationships/slideMaster" Target="slideMasters/slideMaster93.xml"/><Relationship Id="rId140" Type="http://schemas.openxmlformats.org/officeDocument/2006/relationships/slideMaster" Target="slideMasters/slideMaster137.xml"/><Relationship Id="rId161" Type="http://schemas.openxmlformats.org/officeDocument/2006/relationships/slideMaster" Target="slideMasters/slideMaster158.xml"/><Relationship Id="rId182" Type="http://schemas.openxmlformats.org/officeDocument/2006/relationships/slideMaster" Target="slideMasters/slideMaster179.xml"/><Relationship Id="rId217" Type="http://schemas.openxmlformats.org/officeDocument/2006/relationships/slideMaster" Target="slideMasters/slideMaster214.xml"/><Relationship Id="rId6" Type="http://schemas.openxmlformats.org/officeDocument/2006/relationships/slideMaster" Target="slideMasters/slideMaster3.xml"/><Relationship Id="rId238" Type="http://schemas.openxmlformats.org/officeDocument/2006/relationships/slideMaster" Target="slideMasters/slideMaster235.xml"/><Relationship Id="rId259" Type="http://schemas.openxmlformats.org/officeDocument/2006/relationships/slide" Target="slides/slide11.xml"/><Relationship Id="rId23" Type="http://schemas.openxmlformats.org/officeDocument/2006/relationships/slideMaster" Target="slideMasters/slideMaster20.xml"/><Relationship Id="rId28" Type="http://schemas.openxmlformats.org/officeDocument/2006/relationships/slideMaster" Target="slideMasters/slideMaster25.xml"/><Relationship Id="rId49" Type="http://schemas.openxmlformats.org/officeDocument/2006/relationships/slideMaster" Target="slideMasters/slideMaster46.xml"/><Relationship Id="rId114" Type="http://schemas.openxmlformats.org/officeDocument/2006/relationships/slideMaster" Target="slideMasters/slideMaster111.xml"/><Relationship Id="rId119" Type="http://schemas.openxmlformats.org/officeDocument/2006/relationships/slideMaster" Target="slideMasters/slideMaster116.xml"/><Relationship Id="rId44" Type="http://schemas.openxmlformats.org/officeDocument/2006/relationships/slideMaster" Target="slideMasters/slideMaster41.xml"/><Relationship Id="rId60" Type="http://schemas.openxmlformats.org/officeDocument/2006/relationships/slideMaster" Target="slideMasters/slideMaster57.xml"/><Relationship Id="rId65" Type="http://schemas.openxmlformats.org/officeDocument/2006/relationships/slideMaster" Target="slideMasters/slideMaster62.xml"/><Relationship Id="rId81" Type="http://schemas.openxmlformats.org/officeDocument/2006/relationships/slideMaster" Target="slideMasters/slideMaster78.xml"/><Relationship Id="rId86" Type="http://schemas.openxmlformats.org/officeDocument/2006/relationships/slideMaster" Target="slideMasters/slideMaster83.xml"/><Relationship Id="rId130" Type="http://schemas.openxmlformats.org/officeDocument/2006/relationships/slideMaster" Target="slideMasters/slideMaster127.xml"/><Relationship Id="rId135" Type="http://schemas.openxmlformats.org/officeDocument/2006/relationships/slideMaster" Target="slideMasters/slideMaster132.xml"/><Relationship Id="rId151" Type="http://schemas.openxmlformats.org/officeDocument/2006/relationships/slideMaster" Target="slideMasters/slideMaster148.xml"/><Relationship Id="rId156" Type="http://schemas.openxmlformats.org/officeDocument/2006/relationships/slideMaster" Target="slideMasters/slideMaster153.xml"/><Relationship Id="rId177" Type="http://schemas.openxmlformats.org/officeDocument/2006/relationships/slideMaster" Target="slideMasters/slideMaster174.xml"/><Relationship Id="rId198" Type="http://schemas.openxmlformats.org/officeDocument/2006/relationships/slideMaster" Target="slideMasters/slideMaster195.xml"/><Relationship Id="rId172" Type="http://schemas.openxmlformats.org/officeDocument/2006/relationships/slideMaster" Target="slideMasters/slideMaster169.xml"/><Relationship Id="rId193" Type="http://schemas.openxmlformats.org/officeDocument/2006/relationships/slideMaster" Target="slideMasters/slideMaster190.xml"/><Relationship Id="rId202" Type="http://schemas.openxmlformats.org/officeDocument/2006/relationships/slideMaster" Target="slideMasters/slideMaster199.xml"/><Relationship Id="rId207" Type="http://schemas.openxmlformats.org/officeDocument/2006/relationships/slideMaster" Target="slideMasters/slideMaster204.xml"/><Relationship Id="rId223" Type="http://schemas.openxmlformats.org/officeDocument/2006/relationships/slideMaster" Target="slideMasters/slideMaster220.xml"/><Relationship Id="rId228" Type="http://schemas.openxmlformats.org/officeDocument/2006/relationships/slideMaster" Target="slideMasters/slideMaster225.xml"/><Relationship Id="rId244" Type="http://schemas.openxmlformats.org/officeDocument/2006/relationships/slideMaster" Target="slideMasters/slideMaster241.xml"/><Relationship Id="rId249" Type="http://schemas.openxmlformats.org/officeDocument/2006/relationships/slide" Target="slides/slide1.xml"/><Relationship Id="rId13" Type="http://schemas.openxmlformats.org/officeDocument/2006/relationships/slideMaster" Target="slideMasters/slideMaster10.xml"/><Relationship Id="rId18" Type="http://schemas.openxmlformats.org/officeDocument/2006/relationships/slideMaster" Target="slideMasters/slideMaster15.xml"/><Relationship Id="rId39" Type="http://schemas.openxmlformats.org/officeDocument/2006/relationships/slideMaster" Target="slideMasters/slideMaster36.xml"/><Relationship Id="rId109" Type="http://schemas.openxmlformats.org/officeDocument/2006/relationships/slideMaster" Target="slideMasters/slideMaster106.xml"/><Relationship Id="rId260" Type="http://schemas.openxmlformats.org/officeDocument/2006/relationships/notesMaster" Target="notesMasters/notesMaster1.xml"/><Relationship Id="rId265" Type="http://schemas.openxmlformats.org/officeDocument/2006/relationships/viewProps" Target="viewProps.xml"/><Relationship Id="rId34" Type="http://schemas.openxmlformats.org/officeDocument/2006/relationships/slideMaster" Target="slideMasters/slideMaster31.xml"/><Relationship Id="rId50" Type="http://schemas.openxmlformats.org/officeDocument/2006/relationships/slideMaster" Target="slideMasters/slideMaster47.xml"/><Relationship Id="rId55" Type="http://schemas.openxmlformats.org/officeDocument/2006/relationships/slideMaster" Target="slideMasters/slideMaster52.xml"/><Relationship Id="rId76" Type="http://schemas.openxmlformats.org/officeDocument/2006/relationships/slideMaster" Target="slideMasters/slideMaster73.xml"/><Relationship Id="rId97" Type="http://schemas.openxmlformats.org/officeDocument/2006/relationships/slideMaster" Target="slideMasters/slideMaster94.xml"/><Relationship Id="rId104" Type="http://schemas.openxmlformats.org/officeDocument/2006/relationships/slideMaster" Target="slideMasters/slideMaster101.xml"/><Relationship Id="rId120" Type="http://schemas.openxmlformats.org/officeDocument/2006/relationships/slideMaster" Target="slideMasters/slideMaster117.xml"/><Relationship Id="rId125" Type="http://schemas.openxmlformats.org/officeDocument/2006/relationships/slideMaster" Target="slideMasters/slideMaster122.xml"/><Relationship Id="rId141" Type="http://schemas.openxmlformats.org/officeDocument/2006/relationships/slideMaster" Target="slideMasters/slideMaster138.xml"/><Relationship Id="rId146" Type="http://schemas.openxmlformats.org/officeDocument/2006/relationships/slideMaster" Target="slideMasters/slideMaster143.xml"/><Relationship Id="rId167" Type="http://schemas.openxmlformats.org/officeDocument/2006/relationships/slideMaster" Target="slideMasters/slideMaster164.xml"/><Relationship Id="rId188" Type="http://schemas.openxmlformats.org/officeDocument/2006/relationships/slideMaster" Target="slideMasters/slideMaster185.xml"/><Relationship Id="rId7" Type="http://schemas.openxmlformats.org/officeDocument/2006/relationships/slideMaster" Target="slideMasters/slideMaster4.xml"/><Relationship Id="rId71" Type="http://schemas.openxmlformats.org/officeDocument/2006/relationships/slideMaster" Target="slideMasters/slideMaster68.xml"/><Relationship Id="rId92" Type="http://schemas.openxmlformats.org/officeDocument/2006/relationships/slideMaster" Target="slideMasters/slideMaster89.xml"/><Relationship Id="rId162" Type="http://schemas.openxmlformats.org/officeDocument/2006/relationships/slideMaster" Target="slideMasters/slideMaster159.xml"/><Relationship Id="rId183" Type="http://schemas.openxmlformats.org/officeDocument/2006/relationships/slideMaster" Target="slideMasters/slideMaster180.xml"/><Relationship Id="rId213" Type="http://schemas.openxmlformats.org/officeDocument/2006/relationships/slideMaster" Target="slideMasters/slideMaster210.xml"/><Relationship Id="rId218" Type="http://schemas.openxmlformats.org/officeDocument/2006/relationships/slideMaster" Target="slideMasters/slideMaster215.xml"/><Relationship Id="rId234" Type="http://schemas.openxmlformats.org/officeDocument/2006/relationships/slideMaster" Target="slideMasters/slideMaster231.xml"/><Relationship Id="rId239" Type="http://schemas.openxmlformats.org/officeDocument/2006/relationships/slideMaster" Target="slideMasters/slideMaster236.xml"/><Relationship Id="rId2" Type="http://schemas.openxmlformats.org/officeDocument/2006/relationships/customXml" Target="../customXml/item2.xml"/><Relationship Id="rId29" Type="http://schemas.openxmlformats.org/officeDocument/2006/relationships/slideMaster" Target="slideMasters/slideMaster26.xml"/><Relationship Id="rId250" Type="http://schemas.openxmlformats.org/officeDocument/2006/relationships/slide" Target="slides/slide2.xml"/><Relationship Id="rId255" Type="http://schemas.openxmlformats.org/officeDocument/2006/relationships/slide" Target="slides/slide7.xml"/><Relationship Id="rId24" Type="http://schemas.openxmlformats.org/officeDocument/2006/relationships/slideMaster" Target="slideMasters/slideMaster21.xml"/><Relationship Id="rId40" Type="http://schemas.openxmlformats.org/officeDocument/2006/relationships/slideMaster" Target="slideMasters/slideMaster37.xml"/><Relationship Id="rId45" Type="http://schemas.openxmlformats.org/officeDocument/2006/relationships/slideMaster" Target="slideMasters/slideMaster42.xml"/><Relationship Id="rId66" Type="http://schemas.openxmlformats.org/officeDocument/2006/relationships/slideMaster" Target="slideMasters/slideMaster63.xml"/><Relationship Id="rId87" Type="http://schemas.openxmlformats.org/officeDocument/2006/relationships/slideMaster" Target="slideMasters/slideMaster84.xml"/><Relationship Id="rId110" Type="http://schemas.openxmlformats.org/officeDocument/2006/relationships/slideMaster" Target="slideMasters/slideMaster107.xml"/><Relationship Id="rId115" Type="http://schemas.openxmlformats.org/officeDocument/2006/relationships/slideMaster" Target="slideMasters/slideMaster112.xml"/><Relationship Id="rId131" Type="http://schemas.openxmlformats.org/officeDocument/2006/relationships/slideMaster" Target="slideMasters/slideMaster128.xml"/><Relationship Id="rId136" Type="http://schemas.openxmlformats.org/officeDocument/2006/relationships/slideMaster" Target="slideMasters/slideMaster133.xml"/><Relationship Id="rId157" Type="http://schemas.openxmlformats.org/officeDocument/2006/relationships/slideMaster" Target="slideMasters/slideMaster154.xml"/><Relationship Id="rId178" Type="http://schemas.openxmlformats.org/officeDocument/2006/relationships/slideMaster" Target="slideMasters/slideMaster175.xml"/><Relationship Id="rId61" Type="http://schemas.openxmlformats.org/officeDocument/2006/relationships/slideMaster" Target="slideMasters/slideMaster58.xml"/><Relationship Id="rId82" Type="http://schemas.openxmlformats.org/officeDocument/2006/relationships/slideMaster" Target="slideMasters/slideMaster79.xml"/><Relationship Id="rId152" Type="http://schemas.openxmlformats.org/officeDocument/2006/relationships/slideMaster" Target="slideMasters/slideMaster149.xml"/><Relationship Id="rId173" Type="http://schemas.openxmlformats.org/officeDocument/2006/relationships/slideMaster" Target="slideMasters/slideMaster170.xml"/><Relationship Id="rId194" Type="http://schemas.openxmlformats.org/officeDocument/2006/relationships/slideMaster" Target="slideMasters/slideMaster191.xml"/><Relationship Id="rId199" Type="http://schemas.openxmlformats.org/officeDocument/2006/relationships/slideMaster" Target="slideMasters/slideMaster196.xml"/><Relationship Id="rId203" Type="http://schemas.openxmlformats.org/officeDocument/2006/relationships/slideMaster" Target="slideMasters/slideMaster200.xml"/><Relationship Id="rId208" Type="http://schemas.openxmlformats.org/officeDocument/2006/relationships/slideMaster" Target="slideMasters/slideMaster205.xml"/><Relationship Id="rId229" Type="http://schemas.openxmlformats.org/officeDocument/2006/relationships/slideMaster" Target="slideMasters/slideMaster226.xml"/><Relationship Id="rId19" Type="http://schemas.openxmlformats.org/officeDocument/2006/relationships/slideMaster" Target="slideMasters/slideMaster16.xml"/><Relationship Id="rId224" Type="http://schemas.openxmlformats.org/officeDocument/2006/relationships/slideMaster" Target="slideMasters/slideMaster221.xml"/><Relationship Id="rId240" Type="http://schemas.openxmlformats.org/officeDocument/2006/relationships/slideMaster" Target="slideMasters/slideMaster237.xml"/><Relationship Id="rId245" Type="http://schemas.openxmlformats.org/officeDocument/2006/relationships/slideMaster" Target="slideMasters/slideMaster242.xml"/><Relationship Id="rId261" Type="http://schemas.openxmlformats.org/officeDocument/2006/relationships/handoutMaster" Target="handoutMasters/handoutMaster1.xml"/><Relationship Id="rId266" Type="http://schemas.openxmlformats.org/officeDocument/2006/relationships/theme" Target="theme/theme1.xml"/><Relationship Id="rId14" Type="http://schemas.openxmlformats.org/officeDocument/2006/relationships/slideMaster" Target="slideMasters/slideMaster11.xml"/><Relationship Id="rId30" Type="http://schemas.openxmlformats.org/officeDocument/2006/relationships/slideMaster" Target="slideMasters/slideMaster27.xml"/><Relationship Id="rId35" Type="http://schemas.openxmlformats.org/officeDocument/2006/relationships/slideMaster" Target="slideMasters/slideMaster32.xml"/><Relationship Id="rId56" Type="http://schemas.openxmlformats.org/officeDocument/2006/relationships/slideMaster" Target="slideMasters/slideMaster53.xml"/><Relationship Id="rId77" Type="http://schemas.openxmlformats.org/officeDocument/2006/relationships/slideMaster" Target="slideMasters/slideMaster74.xml"/><Relationship Id="rId100" Type="http://schemas.openxmlformats.org/officeDocument/2006/relationships/slideMaster" Target="slideMasters/slideMaster97.xml"/><Relationship Id="rId105" Type="http://schemas.openxmlformats.org/officeDocument/2006/relationships/slideMaster" Target="slideMasters/slideMaster102.xml"/><Relationship Id="rId126" Type="http://schemas.openxmlformats.org/officeDocument/2006/relationships/slideMaster" Target="slideMasters/slideMaster123.xml"/><Relationship Id="rId147" Type="http://schemas.openxmlformats.org/officeDocument/2006/relationships/slideMaster" Target="slideMasters/slideMaster144.xml"/><Relationship Id="rId168" Type="http://schemas.openxmlformats.org/officeDocument/2006/relationships/slideMaster" Target="slideMasters/slideMaster165.xml"/><Relationship Id="rId8" Type="http://schemas.openxmlformats.org/officeDocument/2006/relationships/slideMaster" Target="slideMasters/slideMaster5.xml"/><Relationship Id="rId51" Type="http://schemas.openxmlformats.org/officeDocument/2006/relationships/slideMaster" Target="slideMasters/slideMaster48.xml"/><Relationship Id="rId72" Type="http://schemas.openxmlformats.org/officeDocument/2006/relationships/slideMaster" Target="slideMasters/slideMaster69.xml"/><Relationship Id="rId93" Type="http://schemas.openxmlformats.org/officeDocument/2006/relationships/slideMaster" Target="slideMasters/slideMaster90.xml"/><Relationship Id="rId98" Type="http://schemas.openxmlformats.org/officeDocument/2006/relationships/slideMaster" Target="slideMasters/slideMaster95.xml"/><Relationship Id="rId121" Type="http://schemas.openxmlformats.org/officeDocument/2006/relationships/slideMaster" Target="slideMasters/slideMaster118.xml"/><Relationship Id="rId142" Type="http://schemas.openxmlformats.org/officeDocument/2006/relationships/slideMaster" Target="slideMasters/slideMaster139.xml"/><Relationship Id="rId163" Type="http://schemas.openxmlformats.org/officeDocument/2006/relationships/slideMaster" Target="slideMasters/slideMaster160.xml"/><Relationship Id="rId184" Type="http://schemas.openxmlformats.org/officeDocument/2006/relationships/slideMaster" Target="slideMasters/slideMaster181.xml"/><Relationship Id="rId189" Type="http://schemas.openxmlformats.org/officeDocument/2006/relationships/slideMaster" Target="slideMasters/slideMaster186.xml"/><Relationship Id="rId219" Type="http://schemas.openxmlformats.org/officeDocument/2006/relationships/slideMaster" Target="slideMasters/slideMaster216.xml"/><Relationship Id="rId3" Type="http://schemas.openxmlformats.org/officeDocument/2006/relationships/customXml" Target="../customXml/item3.xml"/><Relationship Id="rId214" Type="http://schemas.openxmlformats.org/officeDocument/2006/relationships/slideMaster" Target="slideMasters/slideMaster211.xml"/><Relationship Id="rId230" Type="http://schemas.openxmlformats.org/officeDocument/2006/relationships/slideMaster" Target="slideMasters/slideMaster227.xml"/><Relationship Id="rId235" Type="http://schemas.openxmlformats.org/officeDocument/2006/relationships/slideMaster" Target="slideMasters/slideMaster232.xml"/><Relationship Id="rId251" Type="http://schemas.openxmlformats.org/officeDocument/2006/relationships/slide" Target="slides/slide3.xml"/><Relationship Id="rId256" Type="http://schemas.openxmlformats.org/officeDocument/2006/relationships/slide" Target="slides/slide8.xml"/><Relationship Id="rId25" Type="http://schemas.openxmlformats.org/officeDocument/2006/relationships/slideMaster" Target="slideMasters/slideMaster22.xml"/><Relationship Id="rId46" Type="http://schemas.openxmlformats.org/officeDocument/2006/relationships/slideMaster" Target="slideMasters/slideMaster43.xml"/><Relationship Id="rId67" Type="http://schemas.openxmlformats.org/officeDocument/2006/relationships/slideMaster" Target="slideMasters/slideMaster64.xml"/><Relationship Id="rId116" Type="http://schemas.openxmlformats.org/officeDocument/2006/relationships/slideMaster" Target="slideMasters/slideMaster113.xml"/><Relationship Id="rId137" Type="http://schemas.openxmlformats.org/officeDocument/2006/relationships/slideMaster" Target="slideMasters/slideMaster134.xml"/><Relationship Id="rId158" Type="http://schemas.openxmlformats.org/officeDocument/2006/relationships/slideMaster" Target="slideMasters/slideMaster155.xml"/><Relationship Id="rId20" Type="http://schemas.openxmlformats.org/officeDocument/2006/relationships/slideMaster" Target="slideMasters/slideMaster17.xml"/><Relationship Id="rId41" Type="http://schemas.openxmlformats.org/officeDocument/2006/relationships/slideMaster" Target="slideMasters/slideMaster38.xml"/><Relationship Id="rId62" Type="http://schemas.openxmlformats.org/officeDocument/2006/relationships/slideMaster" Target="slideMasters/slideMaster59.xml"/><Relationship Id="rId83" Type="http://schemas.openxmlformats.org/officeDocument/2006/relationships/slideMaster" Target="slideMasters/slideMaster80.xml"/><Relationship Id="rId88" Type="http://schemas.openxmlformats.org/officeDocument/2006/relationships/slideMaster" Target="slideMasters/slideMaster85.xml"/><Relationship Id="rId111" Type="http://schemas.openxmlformats.org/officeDocument/2006/relationships/slideMaster" Target="slideMasters/slideMaster108.xml"/><Relationship Id="rId132" Type="http://schemas.openxmlformats.org/officeDocument/2006/relationships/slideMaster" Target="slideMasters/slideMaster129.xml"/><Relationship Id="rId153" Type="http://schemas.openxmlformats.org/officeDocument/2006/relationships/slideMaster" Target="slideMasters/slideMaster150.xml"/><Relationship Id="rId174" Type="http://schemas.openxmlformats.org/officeDocument/2006/relationships/slideMaster" Target="slideMasters/slideMaster171.xml"/><Relationship Id="rId179" Type="http://schemas.openxmlformats.org/officeDocument/2006/relationships/slideMaster" Target="slideMasters/slideMaster176.xml"/><Relationship Id="rId195" Type="http://schemas.openxmlformats.org/officeDocument/2006/relationships/slideMaster" Target="slideMasters/slideMaster192.xml"/><Relationship Id="rId209" Type="http://schemas.openxmlformats.org/officeDocument/2006/relationships/slideMaster" Target="slideMasters/slideMaster206.xml"/><Relationship Id="rId190" Type="http://schemas.openxmlformats.org/officeDocument/2006/relationships/slideMaster" Target="slideMasters/slideMaster187.xml"/><Relationship Id="rId204" Type="http://schemas.openxmlformats.org/officeDocument/2006/relationships/slideMaster" Target="slideMasters/slideMaster201.xml"/><Relationship Id="rId220" Type="http://schemas.openxmlformats.org/officeDocument/2006/relationships/slideMaster" Target="slideMasters/slideMaster217.xml"/><Relationship Id="rId225" Type="http://schemas.openxmlformats.org/officeDocument/2006/relationships/slideMaster" Target="slideMasters/slideMaster222.xml"/><Relationship Id="rId241" Type="http://schemas.openxmlformats.org/officeDocument/2006/relationships/slideMaster" Target="slideMasters/slideMaster238.xml"/><Relationship Id="rId246" Type="http://schemas.openxmlformats.org/officeDocument/2006/relationships/slideMaster" Target="slideMasters/slideMaster243.xml"/><Relationship Id="rId267" Type="http://schemas.openxmlformats.org/officeDocument/2006/relationships/tableStyles" Target="tableStyles.xml"/><Relationship Id="rId15" Type="http://schemas.openxmlformats.org/officeDocument/2006/relationships/slideMaster" Target="slideMasters/slideMaster12.xml"/><Relationship Id="rId36" Type="http://schemas.openxmlformats.org/officeDocument/2006/relationships/slideMaster" Target="slideMasters/slideMaster33.xml"/><Relationship Id="rId57" Type="http://schemas.openxmlformats.org/officeDocument/2006/relationships/slideMaster" Target="slideMasters/slideMaster54.xml"/><Relationship Id="rId106" Type="http://schemas.openxmlformats.org/officeDocument/2006/relationships/slideMaster" Target="slideMasters/slideMaster103.xml"/><Relationship Id="rId127" Type="http://schemas.openxmlformats.org/officeDocument/2006/relationships/slideMaster" Target="slideMasters/slideMaster124.xml"/><Relationship Id="rId262" Type="http://schemas.openxmlformats.org/officeDocument/2006/relationships/tags" Target="tags/tag1.xml"/><Relationship Id="rId10" Type="http://schemas.openxmlformats.org/officeDocument/2006/relationships/slideMaster" Target="slideMasters/slideMaster7.xml"/><Relationship Id="rId31" Type="http://schemas.openxmlformats.org/officeDocument/2006/relationships/slideMaster" Target="slideMasters/slideMaster28.xml"/><Relationship Id="rId52" Type="http://schemas.openxmlformats.org/officeDocument/2006/relationships/slideMaster" Target="slideMasters/slideMaster49.xml"/><Relationship Id="rId73" Type="http://schemas.openxmlformats.org/officeDocument/2006/relationships/slideMaster" Target="slideMasters/slideMaster70.xml"/><Relationship Id="rId78" Type="http://schemas.openxmlformats.org/officeDocument/2006/relationships/slideMaster" Target="slideMasters/slideMaster75.xml"/><Relationship Id="rId94" Type="http://schemas.openxmlformats.org/officeDocument/2006/relationships/slideMaster" Target="slideMasters/slideMaster91.xml"/><Relationship Id="rId99" Type="http://schemas.openxmlformats.org/officeDocument/2006/relationships/slideMaster" Target="slideMasters/slideMaster96.xml"/><Relationship Id="rId101" Type="http://schemas.openxmlformats.org/officeDocument/2006/relationships/slideMaster" Target="slideMasters/slideMaster98.xml"/><Relationship Id="rId122" Type="http://schemas.openxmlformats.org/officeDocument/2006/relationships/slideMaster" Target="slideMasters/slideMaster119.xml"/><Relationship Id="rId143" Type="http://schemas.openxmlformats.org/officeDocument/2006/relationships/slideMaster" Target="slideMasters/slideMaster140.xml"/><Relationship Id="rId148" Type="http://schemas.openxmlformats.org/officeDocument/2006/relationships/slideMaster" Target="slideMasters/slideMaster145.xml"/><Relationship Id="rId164" Type="http://schemas.openxmlformats.org/officeDocument/2006/relationships/slideMaster" Target="slideMasters/slideMaster161.xml"/><Relationship Id="rId169" Type="http://schemas.openxmlformats.org/officeDocument/2006/relationships/slideMaster" Target="slideMasters/slideMaster166.xml"/><Relationship Id="rId185" Type="http://schemas.openxmlformats.org/officeDocument/2006/relationships/slideMaster" Target="slideMasters/slideMaster182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80" Type="http://schemas.openxmlformats.org/officeDocument/2006/relationships/slideMaster" Target="slideMasters/slideMaster177.xml"/><Relationship Id="rId210" Type="http://schemas.openxmlformats.org/officeDocument/2006/relationships/slideMaster" Target="slideMasters/slideMaster207.xml"/><Relationship Id="rId215" Type="http://schemas.openxmlformats.org/officeDocument/2006/relationships/slideMaster" Target="slideMasters/slideMaster212.xml"/><Relationship Id="rId236" Type="http://schemas.openxmlformats.org/officeDocument/2006/relationships/slideMaster" Target="slideMasters/slideMaster233.xml"/><Relationship Id="rId257" Type="http://schemas.openxmlformats.org/officeDocument/2006/relationships/slide" Target="slides/slide9.xml"/><Relationship Id="rId26" Type="http://schemas.openxmlformats.org/officeDocument/2006/relationships/slideMaster" Target="slideMasters/slideMaster23.xml"/><Relationship Id="rId231" Type="http://schemas.openxmlformats.org/officeDocument/2006/relationships/slideMaster" Target="slideMasters/slideMaster228.xml"/><Relationship Id="rId252" Type="http://schemas.openxmlformats.org/officeDocument/2006/relationships/slide" Target="slides/slide4.xml"/><Relationship Id="rId47" Type="http://schemas.openxmlformats.org/officeDocument/2006/relationships/slideMaster" Target="slideMasters/slideMaster44.xml"/><Relationship Id="rId68" Type="http://schemas.openxmlformats.org/officeDocument/2006/relationships/slideMaster" Target="slideMasters/slideMaster65.xml"/><Relationship Id="rId89" Type="http://schemas.openxmlformats.org/officeDocument/2006/relationships/slideMaster" Target="slideMasters/slideMaster86.xml"/><Relationship Id="rId112" Type="http://schemas.openxmlformats.org/officeDocument/2006/relationships/slideMaster" Target="slideMasters/slideMaster109.xml"/><Relationship Id="rId133" Type="http://schemas.openxmlformats.org/officeDocument/2006/relationships/slideMaster" Target="slideMasters/slideMaster130.xml"/><Relationship Id="rId154" Type="http://schemas.openxmlformats.org/officeDocument/2006/relationships/slideMaster" Target="slideMasters/slideMaster151.xml"/><Relationship Id="rId175" Type="http://schemas.openxmlformats.org/officeDocument/2006/relationships/slideMaster" Target="slideMasters/slideMaster172.xml"/><Relationship Id="rId196" Type="http://schemas.openxmlformats.org/officeDocument/2006/relationships/slideMaster" Target="slideMasters/slideMaster193.xml"/><Relationship Id="rId200" Type="http://schemas.openxmlformats.org/officeDocument/2006/relationships/slideMaster" Target="slideMasters/slideMaster197.xml"/><Relationship Id="rId16" Type="http://schemas.openxmlformats.org/officeDocument/2006/relationships/slideMaster" Target="slideMasters/slideMaster13.xml"/><Relationship Id="rId221" Type="http://schemas.openxmlformats.org/officeDocument/2006/relationships/slideMaster" Target="slideMasters/slideMaster218.xml"/><Relationship Id="rId242" Type="http://schemas.openxmlformats.org/officeDocument/2006/relationships/slideMaster" Target="slideMasters/slideMaster239.xml"/><Relationship Id="rId263" Type="http://schemas.openxmlformats.org/officeDocument/2006/relationships/commentAuthors" Target="commentAuthors.xml"/><Relationship Id="rId37" Type="http://schemas.openxmlformats.org/officeDocument/2006/relationships/slideMaster" Target="slideMasters/slideMaster34.xml"/><Relationship Id="rId58" Type="http://schemas.openxmlformats.org/officeDocument/2006/relationships/slideMaster" Target="slideMasters/slideMaster55.xml"/><Relationship Id="rId79" Type="http://schemas.openxmlformats.org/officeDocument/2006/relationships/slideMaster" Target="slideMasters/slideMaster76.xml"/><Relationship Id="rId102" Type="http://schemas.openxmlformats.org/officeDocument/2006/relationships/slideMaster" Target="slideMasters/slideMaster99.xml"/><Relationship Id="rId123" Type="http://schemas.openxmlformats.org/officeDocument/2006/relationships/slideMaster" Target="slideMasters/slideMaster120.xml"/><Relationship Id="rId144" Type="http://schemas.openxmlformats.org/officeDocument/2006/relationships/slideMaster" Target="slideMasters/slideMaster141.xml"/><Relationship Id="rId90" Type="http://schemas.openxmlformats.org/officeDocument/2006/relationships/slideMaster" Target="slideMasters/slideMaster87.xml"/><Relationship Id="rId165" Type="http://schemas.openxmlformats.org/officeDocument/2006/relationships/slideMaster" Target="slideMasters/slideMaster162.xml"/><Relationship Id="rId186" Type="http://schemas.openxmlformats.org/officeDocument/2006/relationships/slideMaster" Target="slideMasters/slideMaster183.xml"/><Relationship Id="rId211" Type="http://schemas.openxmlformats.org/officeDocument/2006/relationships/slideMaster" Target="slideMasters/slideMaster208.xml"/><Relationship Id="rId232" Type="http://schemas.openxmlformats.org/officeDocument/2006/relationships/slideMaster" Target="slideMasters/slideMaster229.xml"/><Relationship Id="rId253" Type="http://schemas.openxmlformats.org/officeDocument/2006/relationships/slide" Target="slides/slide5.xml"/><Relationship Id="rId27" Type="http://schemas.openxmlformats.org/officeDocument/2006/relationships/slideMaster" Target="slideMasters/slideMaster24.xml"/><Relationship Id="rId48" Type="http://schemas.openxmlformats.org/officeDocument/2006/relationships/slideMaster" Target="slideMasters/slideMaster45.xml"/><Relationship Id="rId69" Type="http://schemas.openxmlformats.org/officeDocument/2006/relationships/slideMaster" Target="slideMasters/slideMaster66.xml"/><Relationship Id="rId113" Type="http://schemas.openxmlformats.org/officeDocument/2006/relationships/slideMaster" Target="slideMasters/slideMaster110.xml"/><Relationship Id="rId134" Type="http://schemas.openxmlformats.org/officeDocument/2006/relationships/slideMaster" Target="slideMasters/slideMaster131.xml"/><Relationship Id="rId80" Type="http://schemas.openxmlformats.org/officeDocument/2006/relationships/slideMaster" Target="slideMasters/slideMaster77.xml"/><Relationship Id="rId155" Type="http://schemas.openxmlformats.org/officeDocument/2006/relationships/slideMaster" Target="slideMasters/slideMaster152.xml"/><Relationship Id="rId176" Type="http://schemas.openxmlformats.org/officeDocument/2006/relationships/slideMaster" Target="slideMasters/slideMaster173.xml"/><Relationship Id="rId197" Type="http://schemas.openxmlformats.org/officeDocument/2006/relationships/slideMaster" Target="slideMasters/slideMaster194.xml"/><Relationship Id="rId201" Type="http://schemas.openxmlformats.org/officeDocument/2006/relationships/slideMaster" Target="slideMasters/slideMaster198.xml"/><Relationship Id="rId222" Type="http://schemas.openxmlformats.org/officeDocument/2006/relationships/slideMaster" Target="slideMasters/slideMaster219.xml"/><Relationship Id="rId243" Type="http://schemas.openxmlformats.org/officeDocument/2006/relationships/slideMaster" Target="slideMasters/slideMaster240.xml"/><Relationship Id="rId264" Type="http://schemas.openxmlformats.org/officeDocument/2006/relationships/presProps" Target="presProps.xml"/><Relationship Id="rId17" Type="http://schemas.openxmlformats.org/officeDocument/2006/relationships/slideMaster" Target="slideMasters/slideMaster14.xml"/><Relationship Id="rId38" Type="http://schemas.openxmlformats.org/officeDocument/2006/relationships/slideMaster" Target="slideMasters/slideMaster35.xml"/><Relationship Id="rId59" Type="http://schemas.openxmlformats.org/officeDocument/2006/relationships/slideMaster" Target="slideMasters/slideMaster56.xml"/><Relationship Id="rId103" Type="http://schemas.openxmlformats.org/officeDocument/2006/relationships/slideMaster" Target="slideMasters/slideMaster100.xml"/><Relationship Id="rId124" Type="http://schemas.openxmlformats.org/officeDocument/2006/relationships/slideMaster" Target="slideMasters/slideMaster121.xml"/><Relationship Id="rId70" Type="http://schemas.openxmlformats.org/officeDocument/2006/relationships/slideMaster" Target="slideMasters/slideMaster67.xml"/><Relationship Id="rId91" Type="http://schemas.openxmlformats.org/officeDocument/2006/relationships/slideMaster" Target="slideMasters/slideMaster88.xml"/><Relationship Id="rId145" Type="http://schemas.openxmlformats.org/officeDocument/2006/relationships/slideMaster" Target="slideMasters/slideMaster142.xml"/><Relationship Id="rId166" Type="http://schemas.openxmlformats.org/officeDocument/2006/relationships/slideMaster" Target="slideMasters/slideMaster163.xml"/><Relationship Id="rId187" Type="http://schemas.openxmlformats.org/officeDocument/2006/relationships/slideMaster" Target="slideMasters/slideMaster184.xml"/><Relationship Id="rId1" Type="http://schemas.openxmlformats.org/officeDocument/2006/relationships/customXml" Target="../customXml/item1.xml"/><Relationship Id="rId212" Type="http://schemas.openxmlformats.org/officeDocument/2006/relationships/slideMaster" Target="slideMasters/slideMaster209.xml"/><Relationship Id="rId233" Type="http://schemas.openxmlformats.org/officeDocument/2006/relationships/slideMaster" Target="slideMasters/slideMaster230.xml"/><Relationship Id="rId254" Type="http://schemas.openxmlformats.org/officeDocument/2006/relationships/slide" Target="slides/slide6.xml"/></Relationships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430213" y="623888"/>
            <a:ext cx="7794626" cy="43846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560851" y="5350342"/>
            <a:ext cx="5901948" cy="24622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39AF3DB-B6A1-2444-9DD8-53D016F8E638}" type="slidenum">
              <a:rPr lang="pt-BR" smtClean="0">
                <a:solidFill>
                  <a:srgbClr val="000000"/>
                </a:solidFill>
              </a:rPr>
              <a:pPr/>
              <a:t>0</a:t>
            </a:fld>
            <a:endParaRPr lang="pt-BR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7603394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>
          <a:xfrm>
            <a:off x="566669" y="4988503"/>
            <a:ext cx="5963202" cy="246221"/>
          </a:xfrm>
        </p:spPr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C3A632B-FBDE-46D4-BF6F-6D14421E6342}" type="slidenum">
              <a:rPr lang="pt-BR" smtClean="0"/>
              <a:pPr>
                <a:defRPr/>
              </a:pPr>
              <a:t>2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06633013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>
          <a:xfrm>
            <a:off x="566669" y="4988503"/>
            <a:ext cx="5963202" cy="246221"/>
          </a:xfrm>
        </p:spPr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C3A632B-FBDE-46D4-BF6F-6D14421E6342}" type="slidenum">
              <a:rPr lang="pt-BR" smtClean="0"/>
              <a:pPr>
                <a:defRPr/>
              </a:pPr>
              <a:t>4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9772822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>
          <a:xfrm>
            <a:off x="566669" y="4988503"/>
            <a:ext cx="5963202" cy="246221"/>
          </a:xfrm>
        </p:spPr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C3A632B-FBDE-46D4-BF6F-6D14421E6342}" type="slidenum">
              <a:rPr lang="pt-BR" smtClean="0"/>
              <a:pPr>
                <a:defRPr/>
              </a:pPr>
              <a:t>5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07012836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>
          <a:xfrm>
            <a:off x="566669" y="4988503"/>
            <a:ext cx="5963202" cy="246221"/>
          </a:xfrm>
        </p:spPr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C3A632B-FBDE-46D4-BF6F-6D14421E6342}" type="slidenum">
              <a:rPr lang="pt-BR" smtClean="0"/>
              <a:pPr>
                <a:defRPr/>
              </a:pPr>
              <a:t>7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1473546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>
          <a:xfrm>
            <a:off x="566669" y="4988503"/>
            <a:ext cx="5963202" cy="246221"/>
          </a:xfrm>
        </p:spPr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C3A632B-FBDE-46D4-BF6F-6D14421E6342}" type="slidenum">
              <a:rPr lang="pt-BR" smtClean="0"/>
              <a:pPr>
                <a:defRPr/>
              </a:pPr>
              <a:t>8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38992919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NULL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0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4.xml"/></Relationships>
</file>

<file path=ppt/slideLayouts/_rels/slideLayout10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4.xml"/></Relationships>
</file>

<file path=ppt/slideLayouts/_rels/slideLayout10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4.xml"/></Relationships>
</file>

<file path=ppt/slideLayouts/_rels/slideLayout1003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44.xml"/></Relationships>
</file>

<file path=ppt/slideLayouts/_rels/slideLayout10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5.xml"/></Relationships>
</file>

<file path=ppt/slideLayouts/_rels/slideLayout10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5.xml"/></Relationships>
</file>

<file path=ppt/slideLayouts/_rels/slideLayout10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5.xml"/></Relationships>
</file>

<file path=ppt/slideLayouts/_rels/slideLayout10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5.xml"/></Relationships>
</file>

<file path=ppt/slideLayouts/_rels/slideLayout1008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45.xml"/></Relationships>
</file>

<file path=ppt/slideLayouts/_rels/slideLayout10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5.xml"/></Relationships>
</file>

<file path=ppt/slideLayouts/_rels/slideLayout101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5.xml"/></Relationships>
</file>

<file path=ppt/slideLayouts/_rels/slideLayout10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5.xml"/></Relationships>
</file>

<file path=ppt/slideLayouts/_rels/slideLayout10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5.xml"/></Relationships>
</file>

<file path=ppt/slideLayouts/_rels/slideLayout10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5.xml"/></Relationships>
</file>

<file path=ppt/slideLayouts/_rels/slideLayout1013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45.xml"/></Relationships>
</file>

<file path=ppt/slideLayouts/_rels/slideLayout1014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46.xml"/></Relationships>
</file>

<file path=ppt/slideLayouts/_rels/slideLayout1015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46.xml"/></Relationships>
</file>

<file path=ppt/slideLayouts/_rels/slideLayout1016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46.xml"/></Relationships>
</file>

<file path=ppt/slideLayouts/_rels/slideLayout1017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46.xml"/></Relationships>
</file>

<file path=ppt/slideLayouts/_rels/slideLayout1018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46.xml"/></Relationships>
</file>

<file path=ppt/slideLayouts/_rels/slideLayout1019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46.xml"/></Relationships>
</file>

<file path=ppt/slideLayouts/_rels/slideLayout102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5.xml"/></Relationships>
</file>

<file path=ppt/slideLayouts/_rels/slideLayout1020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46.xml"/></Relationships>
</file>

<file path=ppt/slideLayouts/_rels/slideLayout1021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46.xml"/></Relationships>
</file>

<file path=ppt/slideLayouts/_rels/slideLayout10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7.xml"/></Relationships>
</file>

<file path=ppt/slideLayouts/_rels/slideLayout10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7.xml"/></Relationships>
</file>

<file path=ppt/slideLayouts/_rels/slideLayout10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7.xml"/></Relationships>
</file>

<file path=ppt/slideLayouts/_rels/slideLayout10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7.xml"/></Relationships>
</file>

<file path=ppt/slideLayouts/_rels/slideLayout1026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47.xml"/></Relationships>
</file>

<file path=ppt/slideLayouts/_rels/slideLayout10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7.xml"/></Relationships>
</file>

<file path=ppt/slideLayouts/_rels/slideLayout10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7.xml"/></Relationships>
</file>

<file path=ppt/slideLayouts/_rels/slideLayout10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7.xml"/></Relationships>
</file>

<file path=ppt/slideLayouts/_rels/slideLayout103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5.xml"/></Relationships>
</file>

<file path=ppt/slideLayouts/_rels/slideLayout10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7.xml"/></Relationships>
</file>

<file path=ppt/slideLayouts/_rels/slideLayout1031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47.xml"/></Relationships>
</file>

<file path=ppt/slideLayouts/_rels/slideLayout1032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48.xml"/></Relationships>
</file>

<file path=ppt/slideLayouts/_rels/slideLayout1033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48.xml"/></Relationships>
</file>

<file path=ppt/slideLayouts/_rels/slideLayout1034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48.xml"/></Relationships>
</file>

<file path=ppt/slideLayouts/_rels/slideLayout1035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48.xml"/></Relationships>
</file>

<file path=ppt/slideLayouts/_rels/slideLayout1036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48.xml"/></Relationships>
</file>

<file path=ppt/slideLayouts/_rels/slideLayout1037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48.xml"/></Relationships>
</file>

<file path=ppt/slideLayouts/_rels/slideLayout1038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48.xml"/></Relationships>
</file>

<file path=ppt/slideLayouts/_rels/slideLayout1039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48.xml"/></Relationships>
</file>

<file path=ppt/slideLayouts/_rels/slideLayout104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5.xml"/></Relationships>
</file>

<file path=ppt/slideLayouts/_rels/slideLayout10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9.xml"/></Relationships>
</file>

<file path=ppt/slideLayouts/_rels/slideLayout10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9.xml"/></Relationships>
</file>

<file path=ppt/slideLayouts/_rels/slideLayout10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9.xml"/></Relationships>
</file>

<file path=ppt/slideLayouts/_rels/slideLayout10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9.xml"/></Relationships>
</file>

<file path=ppt/slideLayouts/_rels/slideLayout10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9.xml"/><Relationship Id="rId2" Type="http://schemas.openxmlformats.org/officeDocument/2006/relationships/tags" Target="../tags/tag181.xml"/><Relationship Id="rId1" Type="http://schemas.openxmlformats.org/officeDocument/2006/relationships/vmlDrawing" Target="../drawings/vmlDrawing180.vml"/><Relationship Id="rId4" Type="http://schemas.openxmlformats.org/officeDocument/2006/relationships/oleObject" Target="../embeddings/oleObject180.bin"/></Relationships>
</file>

<file path=ppt/slideLayouts/_rels/slideLayout1045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50.xml"/></Relationships>
</file>

<file path=ppt/slideLayouts/_rels/slideLayout1046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50.xml"/></Relationships>
</file>

<file path=ppt/slideLayouts/_rels/slideLayout1047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50.xml"/></Relationships>
</file>

<file path=ppt/slideLayouts/_rels/slideLayout1048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50.xml"/></Relationships>
</file>

<file path=ppt/slideLayouts/_rels/slideLayout1049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50.xml"/></Relationships>
</file>

<file path=ppt/slideLayouts/_rels/slideLayout105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5.xml"/></Relationships>
</file>

<file path=ppt/slideLayouts/_rels/slideLayout1050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50.xml"/></Relationships>
</file>

<file path=ppt/slideLayouts/_rels/slideLayout1051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50.xml"/></Relationships>
</file>

<file path=ppt/slideLayouts/_rels/slideLayout1052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50.xml"/></Relationships>
</file>

<file path=ppt/slideLayouts/_rels/slideLayout1053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51.xml"/></Relationships>
</file>

<file path=ppt/slideLayouts/_rels/slideLayout1054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51.xml"/></Relationships>
</file>

<file path=ppt/slideLayouts/_rels/slideLayout1055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51.xml"/></Relationships>
</file>

<file path=ppt/slideLayouts/_rels/slideLayout1056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51.xml"/></Relationships>
</file>

<file path=ppt/slideLayouts/_rels/slideLayout1057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51.xml"/></Relationships>
</file>

<file path=ppt/slideLayouts/_rels/slideLayout1058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51.xml"/></Relationships>
</file>

<file path=ppt/slideLayouts/_rels/slideLayout1059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51.xml"/></Relationships>
</file>

<file path=ppt/slideLayouts/_rels/slideLayout106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5.xml"/></Relationships>
</file>

<file path=ppt/slideLayouts/_rels/slideLayout1060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51.xml"/></Relationships>
</file>

<file path=ppt/slideLayouts/_rels/slideLayout10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2.xml"/></Relationships>
</file>

<file path=ppt/slideLayouts/_rels/slideLayout10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2.xml"/></Relationships>
</file>

<file path=ppt/slideLayouts/_rels/slideLayout10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2.xml"/></Relationships>
</file>

<file path=ppt/slideLayouts/_rels/slideLayout10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2.xml"/></Relationships>
</file>

<file path=ppt/slideLayouts/_rels/slideLayout1065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52.xml"/></Relationships>
</file>

<file path=ppt/slideLayouts/_rels/slideLayout10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2.xml"/></Relationships>
</file>

<file path=ppt/slideLayouts/_rels/slideLayout10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2.xml"/></Relationships>
</file>

<file path=ppt/slideLayouts/_rels/slideLayout10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2.xml"/></Relationships>
</file>

<file path=ppt/slideLayouts/_rels/slideLayout10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2.xml"/></Relationships>
</file>

<file path=ppt/slideLayouts/_rels/slideLayout107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5.xml"/></Relationships>
</file>

<file path=ppt/slideLayouts/_rels/slideLayout1070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52.xml"/></Relationships>
</file>

<file path=ppt/slideLayouts/_rels/slideLayout1071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53.xml"/></Relationships>
</file>

<file path=ppt/slideLayouts/_rels/slideLayout1072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53.xml"/></Relationships>
</file>

<file path=ppt/slideLayouts/_rels/slideLayout1073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53.xml"/></Relationships>
</file>

<file path=ppt/slideLayouts/_rels/slideLayout1074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53.xml"/></Relationships>
</file>

<file path=ppt/slideLayouts/_rels/slideLayout1075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53.xml"/></Relationships>
</file>

<file path=ppt/slideLayouts/_rels/slideLayout1076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53.xml"/></Relationships>
</file>

<file path=ppt/slideLayouts/_rels/slideLayout1077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53.xml"/></Relationships>
</file>

<file path=ppt/slideLayouts/_rels/slideLayout1078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53.xml"/></Relationships>
</file>

<file path=ppt/slideLayouts/_rels/slideLayout10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4.xml"/></Relationships>
</file>

<file path=ppt/slideLayouts/_rels/slideLayout108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5.xml"/></Relationships>
</file>

<file path=ppt/slideLayouts/_rels/slideLayout10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4.xml"/></Relationships>
</file>

<file path=ppt/slideLayouts/_rels/slideLayout10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4.xml"/></Relationships>
</file>

<file path=ppt/slideLayouts/_rels/slideLayout10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4.xml"/></Relationships>
</file>

<file path=ppt/slideLayouts/_rels/slideLayout1083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54.xml"/></Relationships>
</file>

<file path=ppt/slideLayouts/_rels/slideLayout10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4.xml"/></Relationships>
</file>

<file path=ppt/slideLayouts/_rels/slideLayout10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4.xml"/></Relationships>
</file>

<file path=ppt/slideLayouts/_rels/slideLayout10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4.xml"/></Relationships>
</file>

<file path=ppt/slideLayouts/_rels/slideLayout10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4.xml"/></Relationships>
</file>

<file path=ppt/slideLayouts/_rels/slideLayout1088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54.xml"/></Relationships>
</file>

<file path=ppt/slideLayouts/_rels/slideLayout108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5.xml"/><Relationship Id="rId2" Type="http://schemas.openxmlformats.org/officeDocument/2006/relationships/tags" Target="../tags/tag185.xml"/><Relationship Id="rId1" Type="http://schemas.openxmlformats.org/officeDocument/2006/relationships/vmlDrawing" Target="../drawings/vmlDrawing184.vml"/><Relationship Id="rId5" Type="http://schemas.openxmlformats.org/officeDocument/2006/relationships/image" Target="NULL"/><Relationship Id="rId4" Type="http://schemas.openxmlformats.org/officeDocument/2006/relationships/oleObject" Target="../embeddings/oleObject184.bin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09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5.xml"/><Relationship Id="rId2" Type="http://schemas.openxmlformats.org/officeDocument/2006/relationships/tags" Target="../tags/tag186.xml"/><Relationship Id="rId1" Type="http://schemas.openxmlformats.org/officeDocument/2006/relationships/vmlDrawing" Target="../drawings/vmlDrawing185.vml"/><Relationship Id="rId4" Type="http://schemas.openxmlformats.org/officeDocument/2006/relationships/oleObject" Target="../embeddings/oleObject185.bin"/></Relationships>
</file>

<file path=ppt/slideLayouts/_rels/slideLayout10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5.xml"/></Relationships>
</file>

<file path=ppt/slideLayouts/_rels/slideLayout10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5.xml"/></Relationships>
</file>

<file path=ppt/slideLayouts/_rels/slideLayout10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5.xml"/></Relationships>
</file>

<file path=ppt/slideLayouts/_rels/slideLayout10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5.xml"/></Relationships>
</file>

<file path=ppt/slideLayouts/_rels/slideLayout109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5.xml"/><Relationship Id="rId2" Type="http://schemas.openxmlformats.org/officeDocument/2006/relationships/tags" Target="../tags/tag187.xml"/><Relationship Id="rId1" Type="http://schemas.openxmlformats.org/officeDocument/2006/relationships/vmlDrawing" Target="../drawings/vmlDrawing186.vml"/><Relationship Id="rId4" Type="http://schemas.openxmlformats.org/officeDocument/2006/relationships/oleObject" Target="../embeddings/oleObject186.bin"/></Relationships>
</file>

<file path=ppt/slideLayouts/_rels/slideLayout10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5.xml"/></Relationships>
</file>

<file path=ppt/slideLayouts/_rels/slideLayout1097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55.xml"/></Relationships>
</file>

<file path=ppt/slideLayouts/_rels/slideLayout109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6.xml"/><Relationship Id="rId2" Type="http://schemas.openxmlformats.org/officeDocument/2006/relationships/tags" Target="../tags/tag189.xml"/><Relationship Id="rId1" Type="http://schemas.openxmlformats.org/officeDocument/2006/relationships/vmlDrawing" Target="../drawings/vmlDrawing188.vml"/><Relationship Id="rId5" Type="http://schemas.openxmlformats.org/officeDocument/2006/relationships/image" Target="NULL"/><Relationship Id="rId4" Type="http://schemas.openxmlformats.org/officeDocument/2006/relationships/oleObject" Target="../embeddings/oleObject188.bin"/></Relationships>
</file>

<file path=ppt/slideLayouts/_rels/slideLayout109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6.xml"/><Relationship Id="rId2" Type="http://schemas.openxmlformats.org/officeDocument/2006/relationships/tags" Target="../tags/tag190.xml"/><Relationship Id="rId1" Type="http://schemas.openxmlformats.org/officeDocument/2006/relationships/vmlDrawing" Target="../drawings/vmlDrawing189.vml"/><Relationship Id="rId4" Type="http://schemas.openxmlformats.org/officeDocument/2006/relationships/oleObject" Target="../embeddings/oleObject189.bin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6.xml"/></Relationships>
</file>

<file path=ppt/slideLayouts/_rels/slideLayout1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6.xml"/></Relationships>
</file>

<file path=ppt/slideLayouts/_rels/slideLayout1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6.xml"/></Relationships>
</file>

<file path=ppt/slideLayouts/_rels/slideLayout1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6.xml"/></Relationships>
</file>

<file path=ppt/slideLayouts/_rels/slideLayout110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6.xml"/><Relationship Id="rId2" Type="http://schemas.openxmlformats.org/officeDocument/2006/relationships/tags" Target="../tags/tag191.xml"/><Relationship Id="rId1" Type="http://schemas.openxmlformats.org/officeDocument/2006/relationships/vmlDrawing" Target="../drawings/vmlDrawing190.vml"/><Relationship Id="rId4" Type="http://schemas.openxmlformats.org/officeDocument/2006/relationships/oleObject" Target="../embeddings/oleObject190.bin"/></Relationships>
</file>

<file path=ppt/slideLayouts/_rels/slideLayout1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6.xml"/></Relationships>
</file>

<file path=ppt/slideLayouts/_rels/slideLayout1106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56.xml"/></Relationships>
</file>

<file path=ppt/slideLayouts/_rels/slideLayout1107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56.xml"/></Relationships>
</file>

<file path=ppt/slideLayouts/_rels/slideLayout1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7.xml"/></Relationships>
</file>

<file path=ppt/slideLayouts/_rels/slideLayout1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7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7.xml"/></Relationships>
</file>

<file path=ppt/slideLayouts/_rels/slideLayout1111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58.xml"/></Relationships>
</file>

<file path=ppt/slideLayouts/_rels/slideLayout1112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58.xml"/></Relationships>
</file>

<file path=ppt/slideLayouts/_rels/slideLayout1113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58.xml"/></Relationships>
</file>

<file path=ppt/slideLayouts/_rels/slideLayout1114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58.xml"/></Relationships>
</file>

<file path=ppt/slideLayouts/_rels/slideLayout1115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58.xml"/></Relationships>
</file>

<file path=ppt/slideLayouts/_rels/slideLayout1116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58.xml"/></Relationships>
</file>

<file path=ppt/slideLayouts/_rels/slideLayout1117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58.xml"/></Relationships>
</file>

<file path=ppt/slideLayouts/_rels/slideLayout1118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58.xml"/></Relationships>
</file>

<file path=ppt/slideLayouts/_rels/slideLayout1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9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9.xml"/></Relationships>
</file>

<file path=ppt/slideLayouts/_rels/slideLayout1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9.xml"/></Relationships>
</file>

<file path=ppt/slideLayouts/_rels/slideLayout1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9.xml"/></Relationships>
</file>

<file path=ppt/slideLayouts/_rels/slideLayout1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0.xml"/></Relationships>
</file>

<file path=ppt/slideLayouts/_rels/slideLayout1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0.xml"/></Relationships>
</file>

<file path=ppt/slideLayouts/_rels/slideLayout1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0.xml"/></Relationships>
</file>

<file path=ppt/slideLayouts/_rels/slideLayout1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0.xml"/></Relationships>
</file>

<file path=ppt/slideLayouts/_rels/slideLayout1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1.xml"/></Relationships>
</file>

<file path=ppt/slideLayouts/_rels/slideLayout1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1.xml"/></Relationships>
</file>

<file path=ppt/slideLayouts/_rels/slideLayout1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1.xml"/></Relationships>
</file>

<file path=ppt/slideLayouts/_rels/slideLayout113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7.xml"/></Relationships>
</file>

<file path=ppt/slideLayouts/_rels/slideLayout1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1.xml"/></Relationships>
</file>

<file path=ppt/slideLayouts/_rels/slideLayout11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2.xml"/><Relationship Id="rId2" Type="http://schemas.openxmlformats.org/officeDocument/2006/relationships/tags" Target="../tags/tag193.xml"/><Relationship Id="rId1" Type="http://schemas.openxmlformats.org/officeDocument/2006/relationships/vmlDrawing" Target="../drawings/vmlDrawing192.vml"/><Relationship Id="rId5" Type="http://schemas.openxmlformats.org/officeDocument/2006/relationships/image" Target="NULL"/><Relationship Id="rId4" Type="http://schemas.openxmlformats.org/officeDocument/2006/relationships/oleObject" Target="../embeddings/oleObject192.bin"/></Relationships>
</file>

<file path=ppt/slideLayouts/_rels/slideLayout11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2.xml"/><Relationship Id="rId2" Type="http://schemas.openxmlformats.org/officeDocument/2006/relationships/tags" Target="../tags/tag194.xml"/><Relationship Id="rId1" Type="http://schemas.openxmlformats.org/officeDocument/2006/relationships/vmlDrawing" Target="../drawings/vmlDrawing193.vml"/><Relationship Id="rId4" Type="http://schemas.openxmlformats.org/officeDocument/2006/relationships/oleObject" Target="../embeddings/oleObject193.bin"/></Relationships>
</file>

<file path=ppt/slideLayouts/_rels/slideLayout1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2.xml"/></Relationships>
</file>

<file path=ppt/slideLayouts/_rels/slideLayout1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2.xml"/></Relationships>
</file>

<file path=ppt/slideLayouts/_rels/slideLayout1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2.xml"/></Relationships>
</file>

<file path=ppt/slideLayouts/_rels/slideLayout1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2.xml"/></Relationships>
</file>

<file path=ppt/slideLayouts/_rels/slideLayout11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2.xml"/><Relationship Id="rId2" Type="http://schemas.openxmlformats.org/officeDocument/2006/relationships/tags" Target="../tags/tag195.xml"/><Relationship Id="rId1" Type="http://schemas.openxmlformats.org/officeDocument/2006/relationships/vmlDrawing" Target="../drawings/vmlDrawing194.vml"/><Relationship Id="rId4" Type="http://schemas.openxmlformats.org/officeDocument/2006/relationships/oleObject" Target="../embeddings/oleObject194.bin"/></Relationships>
</file>

<file path=ppt/slideLayouts/_rels/slideLayout1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2.xml"/></Relationships>
</file>

<file path=ppt/slideLayouts/_rels/slideLayout1139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62.xml"/></Relationships>
</file>

<file path=ppt/slideLayouts/_rels/slideLayout114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7.xml"/></Relationships>
</file>

<file path=ppt/slideLayouts/_rels/slideLayout1140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62.xml"/></Relationships>
</file>

<file path=ppt/slideLayouts/_rels/slideLayout11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3.xml"/><Relationship Id="rId2" Type="http://schemas.openxmlformats.org/officeDocument/2006/relationships/tags" Target="../tags/tag197.xml"/><Relationship Id="rId1" Type="http://schemas.openxmlformats.org/officeDocument/2006/relationships/vmlDrawing" Target="../drawings/vmlDrawing196.vml"/><Relationship Id="rId5" Type="http://schemas.openxmlformats.org/officeDocument/2006/relationships/image" Target="NULL"/><Relationship Id="rId4" Type="http://schemas.openxmlformats.org/officeDocument/2006/relationships/oleObject" Target="../embeddings/oleObject196.bin"/></Relationships>
</file>

<file path=ppt/slideLayouts/_rels/slideLayout11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3.xml"/><Relationship Id="rId2" Type="http://schemas.openxmlformats.org/officeDocument/2006/relationships/tags" Target="../tags/tag198.xml"/><Relationship Id="rId1" Type="http://schemas.openxmlformats.org/officeDocument/2006/relationships/vmlDrawing" Target="../drawings/vmlDrawing197.vml"/><Relationship Id="rId4" Type="http://schemas.openxmlformats.org/officeDocument/2006/relationships/oleObject" Target="../embeddings/oleObject197.bin"/></Relationships>
</file>

<file path=ppt/slideLayouts/_rels/slideLayout1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3.xml"/></Relationships>
</file>

<file path=ppt/slideLayouts/_rels/slideLayout1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3.xml"/></Relationships>
</file>

<file path=ppt/slideLayouts/_rels/slideLayout1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3.xml"/></Relationships>
</file>

<file path=ppt/slideLayouts/_rels/slideLayout1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3.xml"/></Relationships>
</file>

<file path=ppt/slideLayouts/_rels/slideLayout114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3.xml"/><Relationship Id="rId2" Type="http://schemas.openxmlformats.org/officeDocument/2006/relationships/tags" Target="../tags/tag199.xml"/><Relationship Id="rId1" Type="http://schemas.openxmlformats.org/officeDocument/2006/relationships/vmlDrawing" Target="../drawings/vmlDrawing198.vml"/><Relationship Id="rId4" Type="http://schemas.openxmlformats.org/officeDocument/2006/relationships/oleObject" Target="../embeddings/oleObject198.bin"/></Relationships>
</file>

<file path=ppt/slideLayouts/_rels/slideLayout1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3.xml"/></Relationships>
</file>

<file path=ppt/slideLayouts/_rels/slideLayout1149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63.xml"/></Relationships>
</file>

<file path=ppt/slideLayouts/_rels/slideLayout115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7.xml"/></Relationships>
</file>

<file path=ppt/slideLayouts/_rels/slideLayout1150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63.xml"/></Relationships>
</file>

<file path=ppt/slideLayouts/_rels/slideLayout1151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64.xml"/></Relationships>
</file>

<file path=ppt/slideLayouts/_rels/slideLayout1152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64.xml"/></Relationships>
</file>

<file path=ppt/slideLayouts/_rels/slideLayout1153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64.xml"/></Relationships>
</file>

<file path=ppt/slideLayouts/_rels/slideLayout1154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64.xml"/></Relationships>
</file>

<file path=ppt/slideLayouts/_rels/slideLayout1155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64.xml"/></Relationships>
</file>

<file path=ppt/slideLayouts/_rels/slideLayout1156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64.xml"/></Relationships>
</file>

<file path=ppt/slideLayouts/_rels/slideLayout1157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64.xml"/></Relationships>
</file>

<file path=ppt/slideLayouts/_rels/slideLayout1158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64.xml"/></Relationships>
</file>

<file path=ppt/slideLayouts/_rels/slideLayout11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5.xml"/></Relationships>
</file>

<file path=ppt/slideLayouts/_rels/slideLayout116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7.xml"/></Relationships>
</file>

<file path=ppt/slideLayouts/_rels/slideLayout11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5.xml"/></Relationships>
</file>

<file path=ppt/slideLayouts/_rels/slideLayout11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5.xml"/></Relationships>
</file>

<file path=ppt/slideLayouts/_rels/slideLayout11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5.xml"/></Relationships>
</file>

<file path=ppt/slideLayouts/_rels/slideLayout11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6.xml"/></Relationships>
</file>

<file path=ppt/slideLayouts/_rels/slideLayout11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6.xml"/></Relationships>
</file>

<file path=ppt/slideLayouts/_rels/slideLayout11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6.xml"/></Relationships>
</file>

<file path=ppt/slideLayouts/_rels/slideLayout11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6.xml"/></Relationships>
</file>

<file path=ppt/slideLayouts/_rels/slideLayout11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7.xml"/></Relationships>
</file>

<file path=ppt/slideLayouts/_rels/slideLayout11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7.xml"/></Relationships>
</file>

<file path=ppt/slideLayouts/_rels/slideLayout11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7.xml"/></Relationships>
</file>

<file path=ppt/slideLayouts/_rels/slideLayout117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7.xml"/></Relationships>
</file>

<file path=ppt/slideLayouts/_rels/slideLayout11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7.xml"/></Relationships>
</file>

<file path=ppt/slideLayouts/_rels/slideLayout117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8.xml"/><Relationship Id="rId2" Type="http://schemas.openxmlformats.org/officeDocument/2006/relationships/tags" Target="../tags/tag203.xml"/><Relationship Id="rId1" Type="http://schemas.openxmlformats.org/officeDocument/2006/relationships/vmlDrawing" Target="../drawings/vmlDrawing202.vml"/><Relationship Id="rId5" Type="http://schemas.openxmlformats.org/officeDocument/2006/relationships/image" Target="NULL"/><Relationship Id="rId4" Type="http://schemas.openxmlformats.org/officeDocument/2006/relationships/oleObject" Target="../embeddings/oleObject202.bin"/></Relationships>
</file>

<file path=ppt/slideLayouts/_rels/slideLayout117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8.xml"/><Relationship Id="rId2" Type="http://schemas.openxmlformats.org/officeDocument/2006/relationships/tags" Target="../tags/tag204.xml"/><Relationship Id="rId1" Type="http://schemas.openxmlformats.org/officeDocument/2006/relationships/vmlDrawing" Target="../drawings/vmlDrawing203.vml"/><Relationship Id="rId4" Type="http://schemas.openxmlformats.org/officeDocument/2006/relationships/oleObject" Target="../embeddings/oleObject203.bin"/></Relationships>
</file>

<file path=ppt/slideLayouts/_rels/slideLayout11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8.xml"/></Relationships>
</file>

<file path=ppt/slideLayouts/_rels/slideLayout11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8.xml"/></Relationships>
</file>

<file path=ppt/slideLayouts/_rels/slideLayout11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8.xml"/></Relationships>
</file>

<file path=ppt/slideLayouts/_rels/slideLayout11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8.xml"/></Relationships>
</file>

<file path=ppt/slideLayouts/_rels/slideLayout1177.xml.rels><?xml version="1.0" encoding="UTF-8" standalone="yes"?>
<Relationships xmlns="http://schemas.openxmlformats.org/package/2006/relationships"><Relationship Id="rId3" Type="http://schemas.openxmlformats.org/officeDocument/2006/relationships/tags" Target="../tags/tag206.xml"/><Relationship Id="rId2" Type="http://schemas.openxmlformats.org/officeDocument/2006/relationships/tags" Target="../tags/tag205.xml"/><Relationship Id="rId1" Type="http://schemas.openxmlformats.org/officeDocument/2006/relationships/vmlDrawing" Target="../drawings/vmlDrawing204.vml"/><Relationship Id="rId5" Type="http://schemas.openxmlformats.org/officeDocument/2006/relationships/oleObject" Target="../embeddings/oleObject204.bin"/><Relationship Id="rId4" Type="http://schemas.openxmlformats.org/officeDocument/2006/relationships/slideMaster" Target="../slideMasters/slideMaster168.xml"/></Relationships>
</file>

<file path=ppt/slideLayouts/_rels/slideLayout11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8.xml"/></Relationships>
</file>

<file path=ppt/slideLayouts/_rels/slideLayout11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8.xml"/></Relationships>
</file>

<file path=ppt/slideLayouts/_rels/slideLayout118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7.xml"/></Relationships>
</file>

<file path=ppt/slideLayouts/_rels/slideLayout1180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68.xml"/></Relationships>
</file>

<file path=ppt/slideLayouts/_rels/slideLayout11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8.xml"/></Relationships>
</file>

<file path=ppt/slideLayouts/_rels/slideLayout1182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69.xml"/></Relationships>
</file>

<file path=ppt/slideLayouts/_rels/slideLayout1183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69.xml"/></Relationships>
</file>

<file path=ppt/slideLayouts/_rels/slideLayout1184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69.xml"/></Relationships>
</file>

<file path=ppt/slideLayouts/_rels/slideLayout1185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69.xml"/></Relationships>
</file>

<file path=ppt/slideLayouts/_rels/slideLayout1186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69.xml"/></Relationships>
</file>

<file path=ppt/slideLayouts/_rels/slideLayout1187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69.xml"/></Relationships>
</file>

<file path=ppt/slideLayouts/_rels/slideLayout1188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69.xml"/></Relationships>
</file>

<file path=ppt/slideLayouts/_rels/slideLayout1189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69.xml"/></Relationships>
</file>

<file path=ppt/slideLayouts/_rels/slideLayout119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7.xml"/></Relationships>
</file>

<file path=ppt/slideLayouts/_rels/slideLayout11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0.xml"/></Relationships>
</file>

<file path=ppt/slideLayouts/_rels/slideLayout11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0.xml"/></Relationships>
</file>

<file path=ppt/slideLayouts/_rels/slideLayout11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0.xml"/></Relationships>
</file>

<file path=ppt/slideLayouts/_rels/slideLayout119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1.xml"/><Relationship Id="rId2" Type="http://schemas.openxmlformats.org/officeDocument/2006/relationships/tags" Target="../tags/tag208.xml"/><Relationship Id="rId1" Type="http://schemas.openxmlformats.org/officeDocument/2006/relationships/vmlDrawing" Target="../drawings/vmlDrawing206.vml"/><Relationship Id="rId5" Type="http://schemas.openxmlformats.org/officeDocument/2006/relationships/image" Target="NULL"/><Relationship Id="rId4" Type="http://schemas.openxmlformats.org/officeDocument/2006/relationships/oleObject" Target="../embeddings/oleObject206.bin"/></Relationships>
</file>

<file path=ppt/slideLayouts/_rels/slideLayout119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1.xml"/><Relationship Id="rId2" Type="http://schemas.openxmlformats.org/officeDocument/2006/relationships/tags" Target="../tags/tag209.xml"/><Relationship Id="rId1" Type="http://schemas.openxmlformats.org/officeDocument/2006/relationships/vmlDrawing" Target="../drawings/vmlDrawing207.vml"/><Relationship Id="rId4" Type="http://schemas.openxmlformats.org/officeDocument/2006/relationships/oleObject" Target="../embeddings/oleObject207.bin"/></Relationships>
</file>

<file path=ppt/slideLayouts/_rels/slideLayout11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1.xml"/></Relationships>
</file>

<file path=ppt/slideLayouts/_rels/slideLayout11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1.xml"/></Relationships>
</file>

<file path=ppt/slideLayouts/_rels/slideLayout11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1.xml"/></Relationships>
</file>

<file path=ppt/slideLayouts/_rels/slideLayout11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1.xml"/></Relationships>
</file>

<file path=ppt/slideLayouts/_rels/slideLayout119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1.xml"/><Relationship Id="rId2" Type="http://schemas.openxmlformats.org/officeDocument/2006/relationships/tags" Target="../tags/tag210.xml"/><Relationship Id="rId1" Type="http://schemas.openxmlformats.org/officeDocument/2006/relationships/vmlDrawing" Target="../drawings/vmlDrawing208.vml"/><Relationship Id="rId4" Type="http://schemas.openxmlformats.org/officeDocument/2006/relationships/oleObject" Target="../embeddings/oleObject208.bin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0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7.xml"/></Relationships>
</file>

<file path=ppt/slideLayouts/_rels/slideLayout12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1.xml"/></Relationships>
</file>

<file path=ppt/slideLayouts/_rels/slideLayout1201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71.xml"/></Relationships>
</file>

<file path=ppt/slideLayouts/_rels/slideLayout1202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71.xml"/></Relationships>
</file>

<file path=ppt/slideLayouts/_rels/slideLayout12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2.xml"/></Relationships>
</file>

<file path=ppt/slideLayouts/_rels/slideLayout12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2.xml"/></Relationships>
</file>

<file path=ppt/slideLayouts/_rels/slideLayout12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2.xml"/></Relationships>
</file>

<file path=ppt/slideLayouts/_rels/slideLayout12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2.xml"/></Relationships>
</file>

<file path=ppt/slideLayouts/_rels/slideLayout12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3.xml"/></Relationships>
</file>

<file path=ppt/slideLayouts/_rels/slideLayout12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3.xml"/></Relationships>
</file>

<file path=ppt/slideLayouts/_rels/slideLayout12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3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2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3.xml"/></Relationships>
</file>

<file path=ppt/slideLayouts/_rels/slideLayout1211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74.xml"/></Relationships>
</file>

<file path=ppt/slideLayouts/_rels/slideLayout1212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74.xml"/></Relationships>
</file>

<file path=ppt/slideLayouts/_rels/slideLayout1213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74.xml"/></Relationships>
</file>

<file path=ppt/slideLayouts/_rels/slideLayout1214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74.xml"/></Relationships>
</file>

<file path=ppt/slideLayouts/_rels/slideLayout1215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74.xml"/></Relationships>
</file>

<file path=ppt/slideLayouts/_rels/slideLayout1216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74.xml"/></Relationships>
</file>

<file path=ppt/slideLayouts/_rels/slideLayout1217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74.xml"/></Relationships>
</file>

<file path=ppt/slideLayouts/_rels/slideLayout1218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74.xml"/></Relationships>
</file>

<file path=ppt/slideLayouts/_rels/slideLayout1219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75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220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75.xml"/></Relationships>
</file>

<file path=ppt/slideLayouts/_rels/slideLayout1221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75.xml"/></Relationships>
</file>

<file path=ppt/slideLayouts/_rels/slideLayout1222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75.xml"/></Relationships>
</file>

<file path=ppt/slideLayouts/_rels/slideLayout1223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75.xml"/></Relationships>
</file>

<file path=ppt/slideLayouts/_rels/slideLayout1224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75.xml"/></Relationships>
</file>

<file path=ppt/slideLayouts/_rels/slideLayout1225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75.xml"/></Relationships>
</file>

<file path=ppt/slideLayouts/_rels/slideLayout1226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75.xml"/></Relationships>
</file>

<file path=ppt/slideLayouts/_rels/slideLayout1227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76.xml"/></Relationships>
</file>

<file path=ppt/slideLayouts/_rels/slideLayout1228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76.xml"/></Relationships>
</file>

<file path=ppt/slideLayouts/_rels/slideLayout1229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76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230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76.xml"/></Relationships>
</file>

<file path=ppt/slideLayouts/_rels/slideLayout1231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76.xml"/></Relationships>
</file>

<file path=ppt/slideLayouts/_rels/slideLayout1232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76.xml"/></Relationships>
</file>

<file path=ppt/slideLayouts/_rels/slideLayout1233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76.xml"/></Relationships>
</file>

<file path=ppt/slideLayouts/_rels/slideLayout1234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76.xml"/></Relationships>
</file>

<file path=ppt/slideLayouts/_rels/slideLayout12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7.xml"/><Relationship Id="rId2" Type="http://schemas.openxmlformats.org/officeDocument/2006/relationships/tags" Target="../tags/tag217.xml"/><Relationship Id="rId1" Type="http://schemas.openxmlformats.org/officeDocument/2006/relationships/vmlDrawing" Target="../drawings/vmlDrawing215.vml"/><Relationship Id="rId5" Type="http://schemas.openxmlformats.org/officeDocument/2006/relationships/image" Target="NULL"/><Relationship Id="rId4" Type="http://schemas.openxmlformats.org/officeDocument/2006/relationships/oleObject" Target="../embeddings/oleObject215.bin"/></Relationships>
</file>

<file path=ppt/slideLayouts/_rels/slideLayout12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7.xml"/><Relationship Id="rId2" Type="http://schemas.openxmlformats.org/officeDocument/2006/relationships/tags" Target="../tags/tag218.xml"/><Relationship Id="rId1" Type="http://schemas.openxmlformats.org/officeDocument/2006/relationships/vmlDrawing" Target="../drawings/vmlDrawing216.vml"/><Relationship Id="rId4" Type="http://schemas.openxmlformats.org/officeDocument/2006/relationships/oleObject" Target="../embeddings/oleObject216.bin"/></Relationships>
</file>

<file path=ppt/slideLayouts/_rels/slideLayout12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7.xml"/></Relationships>
</file>

<file path=ppt/slideLayouts/_rels/slideLayout12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7.xml"/></Relationships>
</file>

<file path=ppt/slideLayouts/_rels/slideLayout12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7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2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7.xml"/></Relationships>
</file>

<file path=ppt/slideLayouts/_rels/slideLayout12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7.xml"/><Relationship Id="rId2" Type="http://schemas.openxmlformats.org/officeDocument/2006/relationships/tags" Target="../tags/tag219.xml"/><Relationship Id="rId1" Type="http://schemas.openxmlformats.org/officeDocument/2006/relationships/vmlDrawing" Target="../drawings/vmlDrawing217.vml"/><Relationship Id="rId4" Type="http://schemas.openxmlformats.org/officeDocument/2006/relationships/oleObject" Target="../embeddings/oleObject217.bin"/></Relationships>
</file>

<file path=ppt/slideLayouts/_rels/slideLayout12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7.xml"/></Relationships>
</file>

<file path=ppt/slideLayouts/_rels/slideLayout1243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77.xml"/></Relationships>
</file>

<file path=ppt/slideLayouts/_rels/slideLayout1244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77.xml"/></Relationships>
</file>

<file path=ppt/slideLayouts/_rels/slideLayout12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8.xml"/></Relationships>
</file>

<file path=ppt/slideLayouts/_rels/slideLayout12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8.xml"/></Relationships>
</file>

<file path=ppt/slideLayouts/_rels/slideLayout12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8.xml"/></Relationships>
</file>

<file path=ppt/slideLayouts/_rels/slideLayout12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8.xml"/></Relationships>
</file>

<file path=ppt/slideLayouts/_rels/slideLayout1249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78.xml"/></Relationships>
</file>

<file path=ppt/slideLayouts/_rels/slideLayout125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9.xml"/></Relationships>
</file>

<file path=ppt/slideLayouts/_rels/slideLayout12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8.xml"/></Relationships>
</file>

<file path=ppt/slideLayouts/_rels/slideLayout125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9.xml"/><Relationship Id="rId2" Type="http://schemas.openxmlformats.org/officeDocument/2006/relationships/tags" Target="../tags/tag221.xml"/><Relationship Id="rId1" Type="http://schemas.openxmlformats.org/officeDocument/2006/relationships/vmlDrawing" Target="../drawings/vmlDrawing219.vml"/><Relationship Id="rId5" Type="http://schemas.openxmlformats.org/officeDocument/2006/relationships/image" Target="NULL"/><Relationship Id="rId4" Type="http://schemas.openxmlformats.org/officeDocument/2006/relationships/oleObject" Target="../embeddings/oleObject219.bin"/></Relationships>
</file>

<file path=ppt/slideLayouts/_rels/slideLayout125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9.xml"/><Relationship Id="rId2" Type="http://schemas.openxmlformats.org/officeDocument/2006/relationships/tags" Target="../tags/tag222.xml"/><Relationship Id="rId1" Type="http://schemas.openxmlformats.org/officeDocument/2006/relationships/vmlDrawing" Target="../drawings/vmlDrawing220.vml"/><Relationship Id="rId4" Type="http://schemas.openxmlformats.org/officeDocument/2006/relationships/oleObject" Target="../embeddings/oleObject220.bin"/></Relationships>
</file>

<file path=ppt/slideLayouts/_rels/slideLayout12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9.xml"/></Relationships>
</file>

<file path=ppt/slideLayouts/_rels/slideLayout12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9.xml"/></Relationships>
</file>

<file path=ppt/slideLayouts/_rels/slideLayout12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9.xml"/></Relationships>
</file>

<file path=ppt/slideLayouts/_rels/slideLayout12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9.xml"/></Relationships>
</file>

<file path=ppt/slideLayouts/_rels/slideLayout125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9.xml"/><Relationship Id="rId2" Type="http://schemas.openxmlformats.org/officeDocument/2006/relationships/tags" Target="../tags/tag223.xml"/><Relationship Id="rId1" Type="http://schemas.openxmlformats.org/officeDocument/2006/relationships/vmlDrawing" Target="../drawings/vmlDrawing221.vml"/><Relationship Id="rId4" Type="http://schemas.openxmlformats.org/officeDocument/2006/relationships/oleObject" Target="../embeddings/oleObject221.bin"/></Relationships>
</file>

<file path=ppt/slideLayouts/_rels/slideLayout12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9.xml"/></Relationships>
</file>

<file path=ppt/slideLayouts/_rels/slideLayout12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9.xml"/></Relationships>
</file>

<file path=ppt/slideLayouts/_rels/slideLayout126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9.xml"/></Relationships>
</file>

<file path=ppt/slideLayouts/_rels/slideLayout1260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79.xml"/></Relationships>
</file>

<file path=ppt/slideLayouts/_rels/slideLayout12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9.xml"/></Relationships>
</file>

<file path=ppt/slideLayouts/_rels/slideLayout12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0.xml"/></Relationships>
</file>

<file path=ppt/slideLayouts/_rels/slideLayout12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0.xml"/></Relationships>
</file>

<file path=ppt/slideLayouts/_rels/slideLayout12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0.xml"/></Relationships>
</file>

<file path=ppt/slideLayouts/_rels/slideLayout12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0.xml"/></Relationships>
</file>

<file path=ppt/slideLayouts/_rels/slideLayout1266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81.xml"/></Relationships>
</file>

<file path=ppt/slideLayouts/_rels/slideLayout1267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81.xml"/></Relationships>
</file>

<file path=ppt/slideLayouts/_rels/slideLayout1268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81.xml"/></Relationships>
</file>

<file path=ppt/slideLayouts/_rels/slideLayout1269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81.xml"/></Relationships>
</file>

<file path=ppt/slideLayouts/_rels/slideLayout127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9.xml"/></Relationships>
</file>

<file path=ppt/slideLayouts/_rels/slideLayout1270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81.xml"/></Relationships>
</file>

<file path=ppt/slideLayouts/_rels/slideLayout1271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81.xml"/></Relationships>
</file>

<file path=ppt/slideLayouts/_rels/slideLayout1272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81.xml"/></Relationships>
</file>

<file path=ppt/slideLayouts/_rels/slideLayout1273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81.xml"/></Relationships>
</file>

<file path=ppt/slideLayouts/_rels/slideLayout1274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82.xml"/></Relationships>
</file>

<file path=ppt/slideLayouts/_rels/slideLayout1275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82.xml"/></Relationships>
</file>

<file path=ppt/slideLayouts/_rels/slideLayout1276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82.xml"/></Relationships>
</file>

<file path=ppt/slideLayouts/_rels/slideLayout1277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82.xml"/></Relationships>
</file>

<file path=ppt/slideLayouts/_rels/slideLayout1278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82.xml"/></Relationships>
</file>

<file path=ppt/slideLayouts/_rels/slideLayout1279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82.xml"/></Relationships>
</file>

<file path=ppt/slideLayouts/_rels/slideLayout128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9.xml"/></Relationships>
</file>

<file path=ppt/slideLayouts/_rels/slideLayout1280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82.xml"/></Relationships>
</file>

<file path=ppt/slideLayouts/_rels/slideLayout1281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82.xml"/></Relationships>
</file>

<file path=ppt/slideLayouts/_rels/slideLayout1282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83.xml"/></Relationships>
</file>

<file path=ppt/slideLayouts/_rels/slideLayout1283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83.xml"/></Relationships>
</file>

<file path=ppt/slideLayouts/_rels/slideLayout1284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83.xml"/></Relationships>
</file>

<file path=ppt/slideLayouts/_rels/slideLayout1285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83.xml"/></Relationships>
</file>

<file path=ppt/slideLayouts/_rels/slideLayout1286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83.xml"/></Relationships>
</file>

<file path=ppt/slideLayouts/_rels/slideLayout1287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83.xml"/></Relationships>
</file>

<file path=ppt/slideLayouts/_rels/slideLayout1288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83.xml"/></Relationships>
</file>

<file path=ppt/slideLayouts/_rels/slideLayout1289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83.xml"/></Relationships>
</file>

<file path=ppt/slideLayouts/_rels/slideLayout129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9.xml"/></Relationships>
</file>

<file path=ppt/slideLayouts/_rels/slideLayout12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4.xml"/></Relationships>
</file>

<file path=ppt/slideLayouts/_rels/slideLayout12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4.xml"/></Relationships>
</file>

<file path=ppt/slideLayouts/_rels/slideLayout12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4.xml"/></Relationships>
</file>

<file path=ppt/slideLayouts/_rels/slideLayout12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4.xml"/></Relationships>
</file>

<file path=ppt/slideLayouts/_rels/slideLayout12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5.xml"/></Relationships>
</file>

<file path=ppt/slideLayouts/_rels/slideLayout12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5.xml"/></Relationships>
</file>

<file path=ppt/slideLayouts/_rels/slideLayout12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5.xml"/></Relationships>
</file>

<file path=ppt/slideLayouts/_rels/slideLayout12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5.xml"/></Relationships>
</file>

<file path=ppt/slideLayouts/_rels/slideLayout1298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85.xml"/></Relationships>
</file>

<file path=ppt/slideLayouts/_rels/slideLayout12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5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5" Type="http://schemas.openxmlformats.org/officeDocument/2006/relationships/image" Target="NULL"/><Relationship Id="rId4" Type="http://schemas.openxmlformats.org/officeDocument/2006/relationships/oleObject" Target="../embeddings/oleObject6.bin"/></Relationships>
</file>

<file path=ppt/slideLayouts/_rels/slideLayout130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9.xml"/></Relationships>
</file>

<file path=ppt/slideLayouts/_rels/slideLayout13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5.xml"/></Relationships>
</file>

<file path=ppt/slideLayouts/_rels/slideLayout13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5.xml"/></Relationships>
</file>

<file path=ppt/slideLayouts/_rels/slideLayout13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5.xml"/></Relationships>
</file>

<file path=ppt/slideLayouts/_rels/slideLayout1303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85.xml"/></Relationships>
</file>

<file path=ppt/slideLayouts/_rels/slideLayout1304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86.xml"/></Relationships>
</file>

<file path=ppt/slideLayouts/_rels/slideLayout1305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86.xml"/></Relationships>
</file>

<file path=ppt/slideLayouts/_rels/slideLayout1306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86.xml"/></Relationships>
</file>

<file path=ppt/slideLayouts/_rels/slideLayout1307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86.xml"/></Relationships>
</file>

<file path=ppt/slideLayouts/_rels/slideLayout1308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86.xml"/></Relationships>
</file>

<file path=ppt/slideLayouts/_rels/slideLayout1309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86.xml"/></Relationships>
</file>

<file path=ppt/slideLayouts/_rels/slideLayout131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9.xml"/></Relationships>
</file>

<file path=ppt/slideLayouts/_rels/slideLayout1310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86.xml"/></Relationships>
</file>

<file path=ppt/slideLayouts/_rels/slideLayout1311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86.xml"/></Relationships>
</file>

<file path=ppt/slideLayouts/_rels/slideLayout13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7.xml"/></Relationships>
</file>

<file path=ppt/slideLayouts/_rels/slideLayout13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7.xml"/></Relationships>
</file>

<file path=ppt/slideLayouts/_rels/slideLayout13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7.xml"/></Relationships>
</file>

<file path=ppt/slideLayouts/_rels/slideLayout13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7.xml"/></Relationships>
</file>

<file path=ppt/slideLayouts/_rels/slideLayout1316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87.xml"/></Relationships>
</file>

<file path=ppt/slideLayouts/_rels/slideLayout13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7.xml"/></Relationships>
</file>

<file path=ppt/slideLayouts/_rels/slideLayout13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7.xml"/></Relationships>
</file>

<file path=ppt/slideLayouts/_rels/slideLayout13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7.xml"/></Relationships>
</file>

<file path=ppt/slideLayouts/_rels/slideLayout132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9.xml"/></Relationships>
</file>

<file path=ppt/slideLayouts/_rels/slideLayout13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7.xml"/></Relationships>
</file>

<file path=ppt/slideLayouts/_rels/slideLayout1321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87.xml"/></Relationships>
</file>

<file path=ppt/slideLayouts/_rels/slideLayout13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8.xml"/></Relationships>
</file>

<file path=ppt/slideLayouts/_rels/slideLayout13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8.xml"/></Relationships>
</file>

<file path=ppt/slideLayouts/_rels/slideLayout13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8.xml"/></Relationships>
</file>

<file path=ppt/slideLayouts/_rels/slideLayout1325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89.xml"/></Relationships>
</file>

<file path=ppt/slideLayouts/_rels/slideLayout1326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89.xml"/></Relationships>
</file>

<file path=ppt/slideLayouts/_rels/slideLayout1327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89.xml"/></Relationships>
</file>

<file path=ppt/slideLayouts/_rels/slideLayout1328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89.xml"/></Relationships>
</file>

<file path=ppt/slideLayouts/_rels/slideLayout1329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89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330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89.xml"/></Relationships>
</file>

<file path=ppt/slideLayouts/_rels/slideLayout1331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89.xml"/></Relationships>
</file>

<file path=ppt/slideLayouts/_rels/slideLayout1332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89.xml"/></Relationships>
</file>

<file path=ppt/slideLayouts/_rels/slideLayout13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0.xml"/></Relationships>
</file>

<file path=ppt/slideLayouts/_rels/slideLayout13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0.xml"/></Relationships>
</file>

<file path=ppt/slideLayouts/_rels/slideLayout13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0.xml"/></Relationships>
</file>

<file path=ppt/slideLayouts/_rels/slideLayout13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0.xml"/></Relationships>
</file>

<file path=ppt/slideLayouts/_rels/slideLayout13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91.xml"/><Relationship Id="rId2" Type="http://schemas.openxmlformats.org/officeDocument/2006/relationships/tags" Target="../tags/tag225.xml"/><Relationship Id="rId1" Type="http://schemas.openxmlformats.org/officeDocument/2006/relationships/vmlDrawing" Target="../drawings/vmlDrawing223.vml"/><Relationship Id="rId5" Type="http://schemas.openxmlformats.org/officeDocument/2006/relationships/image" Target="NULL"/><Relationship Id="rId4" Type="http://schemas.openxmlformats.org/officeDocument/2006/relationships/oleObject" Target="../embeddings/oleObject223.bin"/></Relationships>
</file>

<file path=ppt/slideLayouts/_rels/slideLayout13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91.xml"/><Relationship Id="rId2" Type="http://schemas.openxmlformats.org/officeDocument/2006/relationships/tags" Target="../tags/tag226.xml"/><Relationship Id="rId1" Type="http://schemas.openxmlformats.org/officeDocument/2006/relationships/vmlDrawing" Target="../drawings/vmlDrawing224.vml"/><Relationship Id="rId4" Type="http://schemas.openxmlformats.org/officeDocument/2006/relationships/oleObject" Target="../embeddings/oleObject224.bin"/></Relationships>
</file>

<file path=ppt/slideLayouts/_rels/slideLayout13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1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3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1.xml"/></Relationships>
</file>

<file path=ppt/slideLayouts/_rels/slideLayout13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1.xml"/></Relationships>
</file>

<file path=ppt/slideLayouts/_rels/slideLayout13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1.xml"/></Relationships>
</file>

<file path=ppt/slideLayouts/_rels/slideLayout13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91.xml"/><Relationship Id="rId2" Type="http://schemas.openxmlformats.org/officeDocument/2006/relationships/tags" Target="../tags/tag227.xml"/><Relationship Id="rId1" Type="http://schemas.openxmlformats.org/officeDocument/2006/relationships/vmlDrawing" Target="../drawings/vmlDrawing225.vml"/><Relationship Id="rId4" Type="http://schemas.openxmlformats.org/officeDocument/2006/relationships/oleObject" Target="../embeddings/oleObject225.bin"/></Relationships>
</file>

<file path=ppt/slideLayouts/_rels/slideLayout13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1.xml"/></Relationships>
</file>

<file path=ppt/slideLayouts/_rels/slideLayout1345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91.xml"/></Relationships>
</file>

<file path=ppt/slideLayouts/_rels/slideLayout1346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91.xml"/></Relationships>
</file>

<file path=ppt/slideLayouts/_rels/slideLayout134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92.xml"/><Relationship Id="rId2" Type="http://schemas.openxmlformats.org/officeDocument/2006/relationships/tags" Target="../tags/tag229.xml"/><Relationship Id="rId1" Type="http://schemas.openxmlformats.org/officeDocument/2006/relationships/vmlDrawing" Target="../drawings/vmlDrawing227.vml"/><Relationship Id="rId5" Type="http://schemas.openxmlformats.org/officeDocument/2006/relationships/image" Target="NULL"/><Relationship Id="rId4" Type="http://schemas.openxmlformats.org/officeDocument/2006/relationships/oleObject" Target="../embeddings/oleObject227.bin"/></Relationships>
</file>

<file path=ppt/slideLayouts/_rels/slideLayout13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92.xml"/><Relationship Id="rId2" Type="http://schemas.openxmlformats.org/officeDocument/2006/relationships/tags" Target="../tags/tag230.xml"/><Relationship Id="rId1" Type="http://schemas.openxmlformats.org/officeDocument/2006/relationships/vmlDrawing" Target="../drawings/vmlDrawing228.vml"/><Relationship Id="rId4" Type="http://schemas.openxmlformats.org/officeDocument/2006/relationships/oleObject" Target="../embeddings/oleObject228.bin"/></Relationships>
</file>

<file path=ppt/slideLayouts/_rels/slideLayout13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2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3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2.xml"/></Relationships>
</file>

<file path=ppt/slideLayouts/_rels/slideLayout13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2.xml"/></Relationships>
</file>

<file path=ppt/slideLayouts/_rels/slideLayout13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2.xml"/></Relationships>
</file>

<file path=ppt/slideLayouts/_rels/slideLayout135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92.xml"/><Relationship Id="rId2" Type="http://schemas.openxmlformats.org/officeDocument/2006/relationships/tags" Target="../tags/tag231.xml"/><Relationship Id="rId1" Type="http://schemas.openxmlformats.org/officeDocument/2006/relationships/vmlDrawing" Target="../drawings/vmlDrawing229.vml"/><Relationship Id="rId4" Type="http://schemas.openxmlformats.org/officeDocument/2006/relationships/oleObject" Target="../embeddings/oleObject229.bin"/></Relationships>
</file>

<file path=ppt/slideLayouts/_rels/slideLayout13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2.xml"/></Relationships>
</file>

<file path=ppt/slideLayouts/_rels/slideLayout1355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92.xml"/></Relationships>
</file>

<file path=ppt/slideLayouts/_rels/slideLayout1356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92.xml"/></Relationships>
</file>

<file path=ppt/slideLayouts/_rels/slideLayout135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93.xml"/><Relationship Id="rId2" Type="http://schemas.openxmlformats.org/officeDocument/2006/relationships/tags" Target="../tags/tag233.xml"/><Relationship Id="rId1" Type="http://schemas.openxmlformats.org/officeDocument/2006/relationships/vmlDrawing" Target="../drawings/vmlDrawing231.vml"/><Relationship Id="rId5" Type="http://schemas.openxmlformats.org/officeDocument/2006/relationships/image" Target="NULL"/><Relationship Id="rId4" Type="http://schemas.openxmlformats.org/officeDocument/2006/relationships/oleObject" Target="../embeddings/oleObject231.bin"/></Relationships>
</file>

<file path=ppt/slideLayouts/_rels/slideLayout135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93.xml"/><Relationship Id="rId2" Type="http://schemas.openxmlformats.org/officeDocument/2006/relationships/tags" Target="../tags/tag234.xml"/><Relationship Id="rId1" Type="http://schemas.openxmlformats.org/officeDocument/2006/relationships/vmlDrawing" Target="../drawings/vmlDrawing232.vml"/><Relationship Id="rId4" Type="http://schemas.openxmlformats.org/officeDocument/2006/relationships/oleObject" Target="../embeddings/oleObject232.bin"/></Relationships>
</file>

<file path=ppt/slideLayouts/_rels/slideLayout13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3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3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3.xml"/></Relationships>
</file>

<file path=ppt/slideLayouts/_rels/slideLayout13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3.xml"/></Relationships>
</file>

<file path=ppt/slideLayouts/_rels/slideLayout13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3.xml"/></Relationships>
</file>

<file path=ppt/slideLayouts/_rels/slideLayout136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93.xml"/><Relationship Id="rId2" Type="http://schemas.openxmlformats.org/officeDocument/2006/relationships/tags" Target="../tags/tag235.xml"/><Relationship Id="rId1" Type="http://schemas.openxmlformats.org/officeDocument/2006/relationships/vmlDrawing" Target="../drawings/vmlDrawing233.vml"/><Relationship Id="rId4" Type="http://schemas.openxmlformats.org/officeDocument/2006/relationships/oleObject" Target="../embeddings/oleObject233.bin"/></Relationships>
</file>

<file path=ppt/slideLayouts/_rels/slideLayout13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3.xml"/></Relationships>
</file>

<file path=ppt/slideLayouts/_rels/slideLayout1365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93.xml"/></Relationships>
</file>

<file path=ppt/slideLayouts/_rels/slideLayout1366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93.xml"/></Relationships>
</file>

<file path=ppt/slideLayouts/_rels/slideLayout136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94.xml"/><Relationship Id="rId2" Type="http://schemas.openxmlformats.org/officeDocument/2006/relationships/tags" Target="../tags/tag237.xml"/><Relationship Id="rId1" Type="http://schemas.openxmlformats.org/officeDocument/2006/relationships/vmlDrawing" Target="../drawings/vmlDrawing235.vml"/><Relationship Id="rId5" Type="http://schemas.openxmlformats.org/officeDocument/2006/relationships/image" Target="NULL"/><Relationship Id="rId4" Type="http://schemas.openxmlformats.org/officeDocument/2006/relationships/oleObject" Target="../embeddings/oleObject235.bin"/></Relationships>
</file>

<file path=ppt/slideLayouts/_rels/slideLayout136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94.xml"/><Relationship Id="rId2" Type="http://schemas.openxmlformats.org/officeDocument/2006/relationships/tags" Target="../tags/tag238.xml"/><Relationship Id="rId1" Type="http://schemas.openxmlformats.org/officeDocument/2006/relationships/vmlDrawing" Target="../drawings/vmlDrawing236.vml"/><Relationship Id="rId4" Type="http://schemas.openxmlformats.org/officeDocument/2006/relationships/oleObject" Target="../embeddings/oleObject236.bin"/></Relationships>
</file>

<file path=ppt/slideLayouts/_rels/slideLayout13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4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3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4.xml"/></Relationships>
</file>

<file path=ppt/slideLayouts/_rels/slideLayout13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4.xml"/></Relationships>
</file>

<file path=ppt/slideLayouts/_rels/slideLayout13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4.xml"/></Relationships>
</file>

<file path=ppt/slideLayouts/_rels/slideLayout137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94.xml"/><Relationship Id="rId2" Type="http://schemas.openxmlformats.org/officeDocument/2006/relationships/tags" Target="../tags/tag239.xml"/><Relationship Id="rId1" Type="http://schemas.openxmlformats.org/officeDocument/2006/relationships/vmlDrawing" Target="../drawings/vmlDrawing237.vml"/><Relationship Id="rId4" Type="http://schemas.openxmlformats.org/officeDocument/2006/relationships/oleObject" Target="../embeddings/oleObject237.bin"/></Relationships>
</file>

<file path=ppt/slideLayouts/_rels/slideLayout13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4.xml"/></Relationships>
</file>

<file path=ppt/slideLayouts/_rels/slideLayout1375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94.xml"/></Relationships>
</file>

<file path=ppt/slideLayouts/_rels/slideLayout1376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94.xml"/></Relationships>
</file>

<file path=ppt/slideLayouts/_rels/slideLayout137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95.xml"/><Relationship Id="rId2" Type="http://schemas.openxmlformats.org/officeDocument/2006/relationships/tags" Target="../tags/tag241.xml"/><Relationship Id="rId1" Type="http://schemas.openxmlformats.org/officeDocument/2006/relationships/vmlDrawing" Target="../drawings/vmlDrawing239.vml"/><Relationship Id="rId5" Type="http://schemas.openxmlformats.org/officeDocument/2006/relationships/image" Target="NULL"/><Relationship Id="rId4" Type="http://schemas.openxmlformats.org/officeDocument/2006/relationships/oleObject" Target="../embeddings/oleObject239.bin"/></Relationships>
</file>

<file path=ppt/slideLayouts/_rels/slideLayout137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95.xml"/><Relationship Id="rId2" Type="http://schemas.openxmlformats.org/officeDocument/2006/relationships/tags" Target="../tags/tag242.xml"/><Relationship Id="rId1" Type="http://schemas.openxmlformats.org/officeDocument/2006/relationships/vmlDrawing" Target="../drawings/vmlDrawing240.vml"/><Relationship Id="rId4" Type="http://schemas.openxmlformats.org/officeDocument/2006/relationships/oleObject" Target="../embeddings/oleObject240.bin"/></Relationships>
</file>

<file path=ppt/slideLayouts/_rels/slideLayout13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5.xml"/></Relationships>
</file>

<file path=ppt/slideLayouts/_rels/slideLayout138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1.xml"/></Relationships>
</file>

<file path=ppt/slideLayouts/_rels/slideLayout13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5.xml"/></Relationships>
</file>

<file path=ppt/slideLayouts/_rels/slideLayout13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5.xml"/></Relationships>
</file>

<file path=ppt/slideLayouts/_rels/slideLayout13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5.xml"/></Relationships>
</file>

<file path=ppt/slideLayouts/_rels/slideLayout138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95.xml"/><Relationship Id="rId2" Type="http://schemas.openxmlformats.org/officeDocument/2006/relationships/tags" Target="../tags/tag243.xml"/><Relationship Id="rId1" Type="http://schemas.openxmlformats.org/officeDocument/2006/relationships/vmlDrawing" Target="../drawings/vmlDrawing241.vml"/><Relationship Id="rId4" Type="http://schemas.openxmlformats.org/officeDocument/2006/relationships/oleObject" Target="../embeddings/oleObject241.bin"/></Relationships>
</file>

<file path=ppt/slideLayouts/_rels/slideLayout13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5.xml"/></Relationships>
</file>

<file path=ppt/slideLayouts/_rels/slideLayout1385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95.xml"/></Relationships>
</file>

<file path=ppt/slideLayouts/_rels/slideLayout138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96.xml"/><Relationship Id="rId2" Type="http://schemas.openxmlformats.org/officeDocument/2006/relationships/tags" Target="../tags/tag245.xml"/><Relationship Id="rId1" Type="http://schemas.openxmlformats.org/officeDocument/2006/relationships/vmlDrawing" Target="../drawings/vmlDrawing243.vml"/><Relationship Id="rId5" Type="http://schemas.openxmlformats.org/officeDocument/2006/relationships/image" Target="NULL"/><Relationship Id="rId4" Type="http://schemas.openxmlformats.org/officeDocument/2006/relationships/oleObject" Target="../embeddings/oleObject243.bin"/></Relationships>
</file>

<file path=ppt/slideLayouts/_rels/slideLayout138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96.xml"/><Relationship Id="rId2" Type="http://schemas.openxmlformats.org/officeDocument/2006/relationships/tags" Target="../tags/tag246.xml"/><Relationship Id="rId1" Type="http://schemas.openxmlformats.org/officeDocument/2006/relationships/vmlDrawing" Target="../drawings/vmlDrawing244.vml"/><Relationship Id="rId4" Type="http://schemas.openxmlformats.org/officeDocument/2006/relationships/oleObject" Target="../embeddings/oleObject244.bin"/></Relationships>
</file>

<file path=ppt/slideLayouts/_rels/slideLayout13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6.xml"/></Relationships>
</file>

<file path=ppt/slideLayouts/_rels/slideLayout13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6.xml"/></Relationships>
</file>

<file path=ppt/slideLayouts/_rels/slideLayout139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1.xml"/></Relationships>
</file>

<file path=ppt/slideLayouts/_rels/slideLayout13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6.xml"/></Relationships>
</file>

<file path=ppt/slideLayouts/_rels/slideLayout13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6.xml"/></Relationships>
</file>

<file path=ppt/slideLayouts/_rels/slideLayout139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96.xml"/><Relationship Id="rId2" Type="http://schemas.openxmlformats.org/officeDocument/2006/relationships/tags" Target="../tags/tag247.xml"/><Relationship Id="rId1" Type="http://schemas.openxmlformats.org/officeDocument/2006/relationships/vmlDrawing" Target="../drawings/vmlDrawing245.vml"/><Relationship Id="rId4" Type="http://schemas.openxmlformats.org/officeDocument/2006/relationships/oleObject" Target="../embeddings/oleObject245.bin"/></Relationships>
</file>

<file path=ppt/slideLayouts/_rels/slideLayout13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6.xml"/></Relationships>
</file>

<file path=ppt/slideLayouts/_rels/slideLayout1394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96.xml"/></Relationships>
</file>

<file path=ppt/slideLayouts/_rels/slideLayout13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7.xml"/></Relationships>
</file>

<file path=ppt/slideLayouts/_rels/slideLayout13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7.xml"/></Relationships>
</file>

<file path=ppt/slideLayouts/_rels/slideLayout13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7.xml"/></Relationships>
</file>

<file path=ppt/slideLayouts/_rels/slideLayout13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7.xml"/></Relationships>
</file>

<file path=ppt/slideLayouts/_rels/slideLayout1399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98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4" Type="http://schemas.openxmlformats.org/officeDocument/2006/relationships/oleObject" Target="../embeddings/oleObject7.bin"/></Relationships>
</file>

<file path=ppt/slideLayouts/_rels/slideLayout140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1.xml"/></Relationships>
</file>

<file path=ppt/slideLayouts/_rels/slideLayout1400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98.xml"/></Relationships>
</file>

<file path=ppt/slideLayouts/_rels/slideLayout1401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98.xml"/></Relationships>
</file>

<file path=ppt/slideLayouts/_rels/slideLayout1402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98.xml"/></Relationships>
</file>

<file path=ppt/slideLayouts/_rels/slideLayout1403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98.xml"/></Relationships>
</file>

<file path=ppt/slideLayouts/_rels/slideLayout1404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98.xml"/></Relationships>
</file>

<file path=ppt/slideLayouts/_rels/slideLayout1405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98.xml"/></Relationships>
</file>

<file path=ppt/slideLayouts/_rels/slideLayout1406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98.xml"/></Relationships>
</file>

<file path=ppt/slideLayouts/_rels/slideLayout140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99.xml"/><Relationship Id="rId2" Type="http://schemas.openxmlformats.org/officeDocument/2006/relationships/tags" Target="../tags/tag249.xml"/><Relationship Id="rId1" Type="http://schemas.openxmlformats.org/officeDocument/2006/relationships/vmlDrawing" Target="../drawings/vmlDrawing247.vml"/><Relationship Id="rId5" Type="http://schemas.openxmlformats.org/officeDocument/2006/relationships/image" Target="NULL"/><Relationship Id="rId4" Type="http://schemas.openxmlformats.org/officeDocument/2006/relationships/oleObject" Target="../embeddings/oleObject247.bin"/></Relationships>
</file>

<file path=ppt/slideLayouts/_rels/slideLayout140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99.xml"/><Relationship Id="rId2" Type="http://schemas.openxmlformats.org/officeDocument/2006/relationships/tags" Target="../tags/tag250.xml"/><Relationship Id="rId1" Type="http://schemas.openxmlformats.org/officeDocument/2006/relationships/vmlDrawing" Target="../drawings/vmlDrawing248.vml"/><Relationship Id="rId4" Type="http://schemas.openxmlformats.org/officeDocument/2006/relationships/oleObject" Target="../embeddings/oleObject248.bin"/></Relationships>
</file>

<file path=ppt/slideLayouts/_rels/slideLayout14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9.xml"/></Relationships>
</file>

<file path=ppt/slideLayouts/_rels/slideLayout141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1.xml"/></Relationships>
</file>

<file path=ppt/slideLayouts/_rels/slideLayout14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9.xml"/></Relationships>
</file>

<file path=ppt/slideLayouts/_rels/slideLayout14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9.xml"/></Relationships>
</file>

<file path=ppt/slideLayouts/_rels/slideLayout14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9.xml"/></Relationships>
</file>

<file path=ppt/slideLayouts/_rels/slideLayout14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99.xml"/><Relationship Id="rId2" Type="http://schemas.openxmlformats.org/officeDocument/2006/relationships/tags" Target="../tags/tag251.xml"/><Relationship Id="rId1" Type="http://schemas.openxmlformats.org/officeDocument/2006/relationships/vmlDrawing" Target="../drawings/vmlDrawing249.vml"/><Relationship Id="rId4" Type="http://schemas.openxmlformats.org/officeDocument/2006/relationships/oleObject" Target="../embeddings/oleObject249.bin"/></Relationships>
</file>

<file path=ppt/slideLayouts/_rels/slideLayout14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9.xml"/></Relationships>
</file>

<file path=ppt/slideLayouts/_rels/slideLayout1415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99.xml"/></Relationships>
</file>

<file path=ppt/slideLayouts/_rels/slideLayout1416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99.xml"/></Relationships>
</file>

<file path=ppt/slideLayouts/_rels/slideLayout14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0.xml"/></Relationships>
</file>

<file path=ppt/slideLayouts/_rels/slideLayout14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0.xml"/></Relationships>
</file>

<file path=ppt/slideLayouts/_rels/slideLayout14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0.xml"/></Relationships>
</file>

<file path=ppt/slideLayouts/_rels/slideLayout142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1.xml"/></Relationships>
</file>

<file path=ppt/slideLayouts/_rels/slideLayout14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0.xml"/></Relationships>
</file>

<file path=ppt/slideLayouts/_rels/slideLayout1421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01.xml"/></Relationships>
</file>

<file path=ppt/slideLayouts/_rels/slideLayout1422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01.xml"/></Relationships>
</file>

<file path=ppt/slideLayouts/_rels/slideLayout1423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01.xml"/></Relationships>
</file>

<file path=ppt/slideLayouts/_rels/slideLayout1424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01.xml"/></Relationships>
</file>

<file path=ppt/slideLayouts/_rels/slideLayout1425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01.xml"/></Relationships>
</file>

<file path=ppt/slideLayouts/_rels/slideLayout1426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01.xml"/></Relationships>
</file>

<file path=ppt/slideLayouts/_rels/slideLayout1427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01.xml"/></Relationships>
</file>

<file path=ppt/slideLayouts/_rels/slideLayout1428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01.xml"/></Relationships>
</file>

<file path=ppt/slideLayouts/_rels/slideLayout1429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02.xml"/></Relationships>
</file>

<file path=ppt/slideLayouts/_rels/slideLayout143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1.xml"/></Relationships>
</file>

<file path=ppt/slideLayouts/_rels/slideLayout1430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02.xml"/></Relationships>
</file>

<file path=ppt/slideLayouts/_rels/slideLayout1431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02.xml"/></Relationships>
</file>

<file path=ppt/slideLayouts/_rels/slideLayout1432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02.xml"/></Relationships>
</file>

<file path=ppt/slideLayouts/_rels/slideLayout1433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02.xml"/></Relationships>
</file>

<file path=ppt/slideLayouts/_rels/slideLayout1434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02.xml"/></Relationships>
</file>

<file path=ppt/slideLayouts/_rels/slideLayout1435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02.xml"/></Relationships>
</file>

<file path=ppt/slideLayouts/_rels/slideLayout1436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02.xml"/></Relationships>
</file>

<file path=ppt/slideLayouts/_rels/slideLayout14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3.xml"/></Relationships>
</file>

<file path=ppt/slideLayouts/_rels/slideLayout14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3.xml"/></Relationships>
</file>

<file path=ppt/slideLayouts/_rels/slideLayout14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3.xml"/></Relationships>
</file>

<file path=ppt/slideLayouts/_rels/slideLayout144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1.xml"/></Relationships>
</file>

<file path=ppt/slideLayouts/_rels/slideLayout14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3.xml"/></Relationships>
</file>

<file path=ppt/slideLayouts/_rels/slideLayout14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4.xml"/></Relationships>
</file>

<file path=ppt/slideLayouts/_rels/slideLayout14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4.xml"/></Relationships>
</file>

<file path=ppt/slideLayouts/_rels/slideLayout14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4.xml"/></Relationships>
</file>

<file path=ppt/slideLayouts/_rels/slideLayout14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4.xml"/></Relationships>
</file>

<file path=ppt/slideLayouts/_rels/slideLayout1445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05.xml"/></Relationships>
</file>

<file path=ppt/slideLayouts/_rels/slideLayout1446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05.xml"/></Relationships>
</file>

<file path=ppt/slideLayouts/_rels/slideLayout1447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05.xml"/></Relationships>
</file>

<file path=ppt/slideLayouts/_rels/slideLayout1448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05.xml"/></Relationships>
</file>

<file path=ppt/slideLayouts/_rels/slideLayout1449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05.xml"/></Relationships>
</file>

<file path=ppt/slideLayouts/_rels/slideLayout145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1.xml"/></Relationships>
</file>

<file path=ppt/slideLayouts/_rels/slideLayout1450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05.xml"/></Relationships>
</file>

<file path=ppt/slideLayouts/_rels/slideLayout1451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05.xml"/></Relationships>
</file>

<file path=ppt/slideLayouts/_rels/slideLayout1452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05.xml"/></Relationships>
</file>

<file path=ppt/slideLayouts/_rels/slideLayout14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6.xml"/></Relationships>
</file>

<file path=ppt/slideLayouts/_rels/slideLayout14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6.xml"/></Relationships>
</file>

<file path=ppt/slideLayouts/_rels/slideLayout14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6.xml"/></Relationships>
</file>

<file path=ppt/slideLayouts/_rels/slideLayout145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07.xml"/><Relationship Id="rId2" Type="http://schemas.openxmlformats.org/officeDocument/2006/relationships/tags" Target="../tags/tag255.xml"/><Relationship Id="rId1" Type="http://schemas.openxmlformats.org/officeDocument/2006/relationships/vmlDrawing" Target="../drawings/vmlDrawing253.vml"/><Relationship Id="rId5" Type="http://schemas.openxmlformats.org/officeDocument/2006/relationships/image" Target="NULL"/><Relationship Id="rId4" Type="http://schemas.openxmlformats.org/officeDocument/2006/relationships/oleObject" Target="../embeddings/oleObject253.bin"/></Relationships>
</file>

<file path=ppt/slideLayouts/_rels/slideLayout145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07.xml"/><Relationship Id="rId2" Type="http://schemas.openxmlformats.org/officeDocument/2006/relationships/tags" Target="../tags/tag256.xml"/><Relationship Id="rId1" Type="http://schemas.openxmlformats.org/officeDocument/2006/relationships/vmlDrawing" Target="../drawings/vmlDrawing254.vml"/><Relationship Id="rId4" Type="http://schemas.openxmlformats.org/officeDocument/2006/relationships/oleObject" Target="../embeddings/oleObject254.bin"/></Relationships>
</file>

<file path=ppt/slideLayouts/_rels/slideLayout14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7.xml"/></Relationships>
</file>

<file path=ppt/slideLayouts/_rels/slideLayout14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7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14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7.xml"/></Relationships>
</file>

<file path=ppt/slideLayouts/_rels/slideLayout14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7.xml"/></Relationships>
</file>

<file path=ppt/slideLayouts/_rels/slideLayout146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07.xml"/><Relationship Id="rId2" Type="http://schemas.openxmlformats.org/officeDocument/2006/relationships/tags" Target="../tags/tag257.xml"/><Relationship Id="rId1" Type="http://schemas.openxmlformats.org/officeDocument/2006/relationships/vmlDrawing" Target="../drawings/vmlDrawing255.vml"/><Relationship Id="rId4" Type="http://schemas.openxmlformats.org/officeDocument/2006/relationships/oleObject" Target="../embeddings/oleObject255.bin"/></Relationships>
</file>

<file path=ppt/slideLayouts/_rels/slideLayout14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7.xml"/></Relationships>
</file>

<file path=ppt/slideLayouts/_rels/slideLayout1464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07.xml"/></Relationships>
</file>

<file path=ppt/slideLayouts/_rels/slideLayout1465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07.xml"/></Relationships>
</file>

<file path=ppt/slideLayouts/_rels/slideLayout1466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08.xml"/></Relationships>
</file>

<file path=ppt/slideLayouts/_rels/slideLayout1467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08.xml"/></Relationships>
</file>

<file path=ppt/slideLayouts/_rels/slideLayout1468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08.xml"/></Relationships>
</file>

<file path=ppt/slideLayouts/_rels/slideLayout1469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08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1470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08.xml"/></Relationships>
</file>

<file path=ppt/slideLayouts/_rels/slideLayout1471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08.xml"/></Relationships>
</file>

<file path=ppt/slideLayouts/_rels/slideLayout1472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08.xml"/></Relationships>
</file>

<file path=ppt/slideLayouts/_rels/slideLayout1473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08.xml"/></Relationships>
</file>

<file path=ppt/slideLayouts/_rels/slideLayout1474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09.xml"/></Relationships>
</file>

<file path=ppt/slideLayouts/_rels/slideLayout1475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09.xml"/></Relationships>
</file>

<file path=ppt/slideLayouts/_rels/slideLayout1476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09.xml"/></Relationships>
</file>

<file path=ppt/slideLayouts/_rels/slideLayout1477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09.xml"/></Relationships>
</file>

<file path=ppt/slideLayouts/_rels/slideLayout1478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09.xml"/></Relationships>
</file>

<file path=ppt/slideLayouts/_rels/slideLayout1479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09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1480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09.xml"/></Relationships>
</file>

<file path=ppt/slideLayouts/_rels/slideLayout1481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09.xml"/></Relationships>
</file>

<file path=ppt/slideLayouts/_rels/slideLayout14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0.xml"/></Relationships>
</file>

<file path=ppt/slideLayouts/_rels/slideLayout14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0.xml"/></Relationships>
</file>

<file path=ppt/slideLayouts/_rels/slideLayout14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0.xml"/></Relationships>
</file>

<file path=ppt/slideLayouts/_rels/slideLayout14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0.xml"/></Relationships>
</file>

<file path=ppt/slideLayouts/_rels/slideLayout14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1.xml"/></Relationships>
</file>

<file path=ppt/slideLayouts/_rels/slideLayout14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1.xml"/></Relationships>
</file>

<file path=ppt/slideLayouts/_rels/slideLayout14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1.xml"/></Relationships>
</file>

<file path=ppt/slideLayouts/_rels/slideLayout14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1.xml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14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2.xml"/></Relationships>
</file>

<file path=ppt/slideLayouts/_rels/slideLayout14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2.xml"/></Relationships>
</file>

<file path=ppt/slideLayouts/_rels/slideLayout14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2.xml"/></Relationships>
</file>

<file path=ppt/slideLayouts/_rels/slideLayout14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2.xml"/></Relationships>
</file>

<file path=ppt/slideLayouts/_rels/slideLayout1494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12.xml"/></Relationships>
</file>

<file path=ppt/slideLayouts/_rels/slideLayout14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3.xml"/></Relationships>
</file>

<file path=ppt/slideLayouts/_rels/slideLayout14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3.xml"/></Relationships>
</file>

<file path=ppt/slideLayouts/_rels/slideLayout14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3.xml"/></Relationships>
</file>

<file path=ppt/slideLayouts/_rels/slideLayout14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3.xml"/></Relationships>
</file>

<file path=ppt/slideLayouts/_rels/slideLayout14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4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15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4.xml"/></Relationships>
</file>

<file path=ppt/slideLayouts/_rels/slideLayout15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4.xml"/></Relationships>
</file>

<file path=ppt/slideLayouts/_rels/slideLayout15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4.xml"/></Relationships>
</file>

<file path=ppt/slideLayouts/_rels/slideLayout1503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14.xml"/></Relationships>
</file>

<file path=ppt/slideLayouts/_rels/slideLayout15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4.xml"/></Relationships>
</file>

<file path=ppt/slideLayouts/_rels/slideLayout15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4.xml"/></Relationships>
</file>

<file path=ppt/slideLayouts/_rels/slideLayout15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4.xml"/></Relationships>
</file>

<file path=ppt/slideLayouts/_rels/slideLayout15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4.xml"/></Relationships>
</file>

<file path=ppt/slideLayouts/_rels/slideLayout1508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14.xml"/></Relationships>
</file>

<file path=ppt/slideLayouts/_rels/slideLayout1509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15.xml"/></Relationships>
</file>

<file path=ppt/slideLayouts/_rels/slideLayout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1510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15.xml"/></Relationships>
</file>

<file path=ppt/slideLayouts/_rels/slideLayout1511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15.xml"/></Relationships>
</file>

<file path=ppt/slideLayouts/_rels/slideLayout1512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15.xml"/></Relationships>
</file>

<file path=ppt/slideLayouts/_rels/slideLayout1513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15.xml"/></Relationships>
</file>

<file path=ppt/slideLayouts/_rels/slideLayout1514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15.xml"/></Relationships>
</file>

<file path=ppt/slideLayouts/_rels/slideLayout1515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15.xml"/></Relationships>
</file>

<file path=ppt/slideLayouts/_rels/slideLayout1516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15.xml"/></Relationships>
</file>

<file path=ppt/slideLayouts/_rels/slideLayout15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6.xml"/></Relationships>
</file>

<file path=ppt/slideLayouts/_rels/slideLayout15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6.xml"/></Relationships>
</file>

<file path=ppt/slideLayouts/_rels/slideLayout15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6.xml"/></Relationships>
</file>

<file path=ppt/slideLayouts/_rels/slideLayout1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15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6.xml"/></Relationships>
</file>

<file path=ppt/slideLayouts/_rels/slideLayout1521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16.xml"/></Relationships>
</file>

<file path=ppt/slideLayouts/_rels/slideLayout15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6.xml"/></Relationships>
</file>

<file path=ppt/slideLayouts/_rels/slideLayout15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6.xml"/></Relationships>
</file>

<file path=ppt/slideLayouts/_rels/slideLayout15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6.xml"/></Relationships>
</file>

<file path=ppt/slideLayouts/_rels/slideLayout15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6.xml"/></Relationships>
</file>

<file path=ppt/slideLayouts/_rels/slideLayout1526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16.xml"/></Relationships>
</file>

<file path=ppt/slideLayouts/_rels/slideLayout15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7.xml"/></Relationships>
</file>

<file path=ppt/slideLayouts/_rels/slideLayout15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7.xml"/></Relationships>
</file>

<file path=ppt/slideLayouts/_rels/slideLayout15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7.xml"/></Relationships>
</file>

<file path=ppt/slideLayouts/_rels/slideLayout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15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7.xml"/></Relationships>
</file>

<file path=ppt/slideLayouts/_rels/slideLayout15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8.xml"/></Relationships>
</file>

<file path=ppt/slideLayouts/_rels/slideLayout15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8.xml"/></Relationships>
</file>

<file path=ppt/slideLayouts/_rels/slideLayout15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18.xml"/><Relationship Id="rId2" Type="http://schemas.openxmlformats.org/officeDocument/2006/relationships/tags" Target="../tags/tag259.xml"/><Relationship Id="rId1" Type="http://schemas.openxmlformats.org/officeDocument/2006/relationships/vmlDrawing" Target="../drawings/vmlDrawing25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57.bin"/></Relationships>
</file>

<file path=ppt/slideLayouts/_rels/slideLayout15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8.xml"/></Relationships>
</file>

<file path=ppt/slideLayouts/_rels/slideLayout15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18.xml"/></Relationships>
</file>

<file path=ppt/slideLayouts/_rels/slideLayout15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8.xml"/></Relationships>
</file>

<file path=ppt/slideLayouts/_rels/slideLayout15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9.xml"/></Relationships>
</file>

<file path=ppt/slideLayouts/_rels/slideLayout15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9.xml"/></Relationships>
</file>

<file path=ppt/slideLayouts/_rels/slideLayout15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9.xml"/></Relationships>
</file>

<file path=ppt/slideLayouts/_rels/slideLayout15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3.xml"/><Relationship Id="rId2" Type="http://schemas.openxmlformats.org/officeDocument/2006/relationships/tags" Target="../tags/tag34.xml"/><Relationship Id="rId1" Type="http://schemas.openxmlformats.org/officeDocument/2006/relationships/vmlDrawing" Target="../drawings/vmlDrawing33.vml"/><Relationship Id="rId4" Type="http://schemas.openxmlformats.org/officeDocument/2006/relationships/oleObject" Target="../embeddings/oleObject33.bin"/></Relationships>
</file>

<file path=ppt/slideLayouts/_rels/slideLayout15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9.xml"/></Relationships>
</file>

<file path=ppt/slideLayouts/_rels/slideLayout1541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19.xml"/></Relationships>
</file>

<file path=ppt/slideLayouts/_rels/slideLayout15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9.xml"/></Relationships>
</file>

<file path=ppt/slideLayouts/_rels/slideLayout15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20.xml"/><Relationship Id="rId2" Type="http://schemas.openxmlformats.org/officeDocument/2006/relationships/tags" Target="../tags/tag261.xml"/><Relationship Id="rId1" Type="http://schemas.openxmlformats.org/officeDocument/2006/relationships/vmlDrawing" Target="../drawings/vmlDrawing259.vml"/><Relationship Id="rId5" Type="http://schemas.openxmlformats.org/officeDocument/2006/relationships/image" Target="NULL"/><Relationship Id="rId4" Type="http://schemas.openxmlformats.org/officeDocument/2006/relationships/oleObject" Target="../embeddings/oleObject259.bin"/></Relationships>
</file>

<file path=ppt/slideLayouts/_rels/slideLayout15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20.xml"/><Relationship Id="rId2" Type="http://schemas.openxmlformats.org/officeDocument/2006/relationships/tags" Target="../tags/tag262.xml"/><Relationship Id="rId1" Type="http://schemas.openxmlformats.org/officeDocument/2006/relationships/vmlDrawing" Target="../drawings/vmlDrawing260.vml"/><Relationship Id="rId4" Type="http://schemas.openxmlformats.org/officeDocument/2006/relationships/oleObject" Target="../embeddings/oleObject260.bin"/></Relationships>
</file>

<file path=ppt/slideLayouts/_rels/slideLayout15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0.xml"/></Relationships>
</file>

<file path=ppt/slideLayouts/_rels/slideLayout15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0.xml"/></Relationships>
</file>

<file path=ppt/slideLayouts/_rels/slideLayout15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0.xml"/></Relationships>
</file>

<file path=ppt/slideLayouts/_rels/slideLayout15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0.xml"/></Relationships>
</file>

<file path=ppt/slideLayouts/_rels/slideLayout15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20.xml"/><Relationship Id="rId2" Type="http://schemas.openxmlformats.org/officeDocument/2006/relationships/tags" Target="../tags/tag263.xml"/><Relationship Id="rId1" Type="http://schemas.openxmlformats.org/officeDocument/2006/relationships/vmlDrawing" Target="../drawings/vmlDrawing261.vml"/><Relationship Id="rId4" Type="http://schemas.openxmlformats.org/officeDocument/2006/relationships/oleObject" Target="../embeddings/oleObject261.bin"/></Relationships>
</file>

<file path=ppt/slideLayouts/_rels/slideLayout1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15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0.xml"/></Relationships>
</file>

<file path=ppt/slideLayouts/_rels/slideLayout15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0.xml"/></Relationships>
</file>

<file path=ppt/slideLayouts/_rels/slideLayout155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21.xml"/><Relationship Id="rId2" Type="http://schemas.openxmlformats.org/officeDocument/2006/relationships/tags" Target="../tags/tag265.xml"/><Relationship Id="rId1" Type="http://schemas.openxmlformats.org/officeDocument/2006/relationships/vmlDrawing" Target="../drawings/vmlDrawing263.vml"/><Relationship Id="rId5" Type="http://schemas.openxmlformats.org/officeDocument/2006/relationships/image" Target="NULL"/><Relationship Id="rId4" Type="http://schemas.openxmlformats.org/officeDocument/2006/relationships/oleObject" Target="../embeddings/oleObject263.bin"/></Relationships>
</file>

<file path=ppt/slideLayouts/_rels/slideLayout155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21.xml"/><Relationship Id="rId2" Type="http://schemas.openxmlformats.org/officeDocument/2006/relationships/tags" Target="../tags/tag266.xml"/><Relationship Id="rId1" Type="http://schemas.openxmlformats.org/officeDocument/2006/relationships/vmlDrawing" Target="../drawings/vmlDrawing264.vml"/><Relationship Id="rId4" Type="http://schemas.openxmlformats.org/officeDocument/2006/relationships/oleObject" Target="../embeddings/oleObject264.bin"/></Relationships>
</file>

<file path=ppt/slideLayouts/_rels/slideLayout15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1.xml"/></Relationships>
</file>

<file path=ppt/slideLayouts/_rels/slideLayout15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1.xml"/></Relationships>
</file>

<file path=ppt/slideLayouts/_rels/slideLayout15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1.xml"/></Relationships>
</file>

<file path=ppt/slideLayouts/_rels/slideLayout15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1.xml"/></Relationships>
</file>

<file path=ppt/slideLayouts/_rels/slideLayout155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21.xml"/><Relationship Id="rId2" Type="http://schemas.openxmlformats.org/officeDocument/2006/relationships/tags" Target="../tags/tag267.xml"/><Relationship Id="rId1" Type="http://schemas.openxmlformats.org/officeDocument/2006/relationships/vmlDrawing" Target="../drawings/vmlDrawing265.vml"/><Relationship Id="rId4" Type="http://schemas.openxmlformats.org/officeDocument/2006/relationships/oleObject" Target="../embeddings/oleObject265.bin"/></Relationships>
</file>

<file path=ppt/slideLayouts/_rels/slideLayout15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1.xml"/></Relationships>
</file>

<file path=ppt/slideLayouts/_rels/slideLayout1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15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1.xml"/></Relationships>
</file>

<file path=ppt/slideLayouts/_rels/slideLayout1561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21.xml"/></Relationships>
</file>

<file path=ppt/slideLayouts/_rels/slideLayout15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1.xml"/></Relationships>
</file>

<file path=ppt/slideLayouts/_rels/slideLayout156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22.xml"/><Relationship Id="rId2" Type="http://schemas.openxmlformats.org/officeDocument/2006/relationships/tags" Target="../tags/tag269.xml"/><Relationship Id="rId1" Type="http://schemas.openxmlformats.org/officeDocument/2006/relationships/vmlDrawing" Target="../drawings/vmlDrawing267.vml"/><Relationship Id="rId5" Type="http://schemas.openxmlformats.org/officeDocument/2006/relationships/image" Target="NULL"/><Relationship Id="rId4" Type="http://schemas.openxmlformats.org/officeDocument/2006/relationships/oleObject" Target="../embeddings/oleObject267.bin"/></Relationships>
</file>

<file path=ppt/slideLayouts/_rels/slideLayout156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22.xml"/><Relationship Id="rId2" Type="http://schemas.openxmlformats.org/officeDocument/2006/relationships/tags" Target="../tags/tag270.xml"/><Relationship Id="rId1" Type="http://schemas.openxmlformats.org/officeDocument/2006/relationships/vmlDrawing" Target="../drawings/vmlDrawing268.vml"/><Relationship Id="rId4" Type="http://schemas.openxmlformats.org/officeDocument/2006/relationships/oleObject" Target="../embeddings/oleObject268.bin"/></Relationships>
</file>

<file path=ppt/slideLayouts/_rels/slideLayout15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2.xml"/></Relationships>
</file>

<file path=ppt/slideLayouts/_rels/slideLayout15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2.xml"/></Relationships>
</file>

<file path=ppt/slideLayouts/_rels/slideLayout15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2.xml"/></Relationships>
</file>

<file path=ppt/slideLayouts/_rels/slideLayout15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2.xml"/></Relationships>
</file>

<file path=ppt/slideLayouts/_rels/slideLayout1569.xml.rels><?xml version="1.0" encoding="UTF-8" standalone="yes"?>
<Relationships xmlns="http://schemas.openxmlformats.org/package/2006/relationships"><Relationship Id="rId3" Type="http://schemas.openxmlformats.org/officeDocument/2006/relationships/tags" Target="../tags/tag272.xml"/><Relationship Id="rId2" Type="http://schemas.openxmlformats.org/officeDocument/2006/relationships/tags" Target="../tags/tag271.xml"/><Relationship Id="rId1" Type="http://schemas.openxmlformats.org/officeDocument/2006/relationships/vmlDrawing" Target="../drawings/vmlDrawing269.vml"/><Relationship Id="rId5" Type="http://schemas.openxmlformats.org/officeDocument/2006/relationships/oleObject" Target="../embeddings/oleObject269.bin"/><Relationship Id="rId4" Type="http://schemas.openxmlformats.org/officeDocument/2006/relationships/slideMaster" Target="../slideMasters/slideMaster222.xml"/></Relationships>
</file>

<file path=ppt/slideLayouts/_rels/slideLayout1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15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2.xml"/></Relationships>
</file>

<file path=ppt/slideLayouts/_rels/slideLayout15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2.xml"/></Relationships>
</file>

<file path=ppt/slideLayouts/_rels/slideLayout15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2.xml"/></Relationships>
</file>

<file path=ppt/slideLayouts/_rels/slideLayout15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2.xml"/></Relationships>
</file>

<file path=ppt/slideLayouts/_rels/slideLayout1574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22.xml"/></Relationships>
</file>

<file path=ppt/slideLayouts/_rels/slideLayout1575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23.xml"/></Relationships>
</file>

<file path=ppt/slideLayouts/_rels/slideLayout1576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23.xml"/></Relationships>
</file>

<file path=ppt/slideLayouts/_rels/slideLayout1577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23.xml"/></Relationships>
</file>

<file path=ppt/slideLayouts/_rels/slideLayout1578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23.xml"/></Relationships>
</file>

<file path=ppt/slideLayouts/_rels/slideLayout1579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23.xml"/></Relationships>
</file>

<file path=ppt/slideLayouts/_rels/slideLayout1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1580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23.xml"/></Relationships>
</file>

<file path=ppt/slideLayouts/_rels/slideLayout1581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23.xml"/></Relationships>
</file>

<file path=ppt/slideLayouts/_rels/slideLayout1582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23.xml"/></Relationships>
</file>

<file path=ppt/slideLayouts/_rels/slideLayout15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3.xml"/></Relationships>
</file>

<file path=ppt/slideLayouts/_rels/slideLayout15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3.xml"/></Relationships>
</file>

<file path=ppt/slideLayouts/_rels/slideLayout158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24.xml"/><Relationship Id="rId2" Type="http://schemas.openxmlformats.org/officeDocument/2006/relationships/tags" Target="../tags/tag274.xml"/><Relationship Id="rId1" Type="http://schemas.openxmlformats.org/officeDocument/2006/relationships/vmlDrawing" Target="../drawings/vmlDrawing271.vml"/><Relationship Id="rId4" Type="http://schemas.openxmlformats.org/officeDocument/2006/relationships/oleObject" Target="../embeddings/oleObject271.bin"/></Relationships>
</file>

<file path=ppt/slideLayouts/_rels/slideLayout15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4.xml"/></Relationships>
</file>

<file path=ppt/slideLayouts/_rels/slideLayout15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4.xml"/></Relationships>
</file>

<file path=ppt/slideLayouts/_rels/slideLayout158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24.xml"/><Relationship Id="rId2" Type="http://schemas.openxmlformats.org/officeDocument/2006/relationships/tags" Target="../tags/tag275.xml"/><Relationship Id="rId1" Type="http://schemas.openxmlformats.org/officeDocument/2006/relationships/vmlDrawing" Target="../drawings/vmlDrawing272.vml"/><Relationship Id="rId4" Type="http://schemas.openxmlformats.org/officeDocument/2006/relationships/oleObject" Target="../embeddings/oleObject272.bin"/></Relationships>
</file>

<file path=ppt/slideLayouts/_rels/slideLayout15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4.xml"/></Relationships>
</file>

<file path=ppt/slideLayouts/_rels/slideLayout1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15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4.xml"/></Relationships>
</file>

<file path=ppt/slideLayouts/_rels/slideLayout159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24.xml"/><Relationship Id="rId2" Type="http://schemas.openxmlformats.org/officeDocument/2006/relationships/tags" Target="../tags/tag276.xml"/><Relationship Id="rId1" Type="http://schemas.openxmlformats.org/officeDocument/2006/relationships/vmlDrawing" Target="../drawings/vmlDrawing273.vml"/><Relationship Id="rId4" Type="http://schemas.openxmlformats.org/officeDocument/2006/relationships/oleObject" Target="../embeddings/oleObject273.bin"/></Relationships>
</file>

<file path=ppt/slideLayouts/_rels/slideLayout15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4.xml"/></Relationships>
</file>

<file path=ppt/slideLayouts/_rels/slideLayout15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4.xml"/></Relationships>
</file>

<file path=ppt/slideLayouts/_rels/slideLayout159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24.xml"/><Relationship Id="rId2" Type="http://schemas.openxmlformats.org/officeDocument/2006/relationships/tags" Target="../tags/tag277.xml"/><Relationship Id="rId1" Type="http://schemas.openxmlformats.org/officeDocument/2006/relationships/vmlDrawing" Target="../drawings/vmlDrawing274.vml"/><Relationship Id="rId4" Type="http://schemas.openxmlformats.org/officeDocument/2006/relationships/oleObject" Target="../embeddings/oleObject274.bin"/></Relationships>
</file>

<file path=ppt/slideLayouts/_rels/slideLayout15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4.xml"/></Relationships>
</file>

<file path=ppt/slideLayouts/_rels/slideLayout15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4.xml"/></Relationships>
</file>

<file path=ppt/slideLayouts/_rels/slideLayout15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4.xml"/></Relationships>
</file>

<file path=ppt/slideLayouts/_rels/slideLayout15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4.xml"/></Relationships>
</file>

<file path=ppt/slideLayouts/_rels/slideLayout1599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25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1600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25.xml"/></Relationships>
</file>

<file path=ppt/slideLayouts/_rels/slideLayout1601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25.xml"/></Relationships>
</file>

<file path=ppt/slideLayouts/_rels/slideLayout1602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25.xml"/></Relationships>
</file>

<file path=ppt/slideLayouts/_rels/slideLayout1603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25.xml"/></Relationships>
</file>

<file path=ppt/slideLayouts/_rels/slideLayout1604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25.xml"/></Relationships>
</file>

<file path=ppt/slideLayouts/_rels/slideLayout1605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25.xml"/></Relationships>
</file>

<file path=ppt/slideLayouts/_rels/slideLayout1606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25.xml"/></Relationships>
</file>

<file path=ppt/slideLayouts/_rels/slideLayout16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5.xml"/></Relationships>
</file>

<file path=ppt/slideLayouts/_rels/slideLayout16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5.xml"/></Relationships>
</file>

<file path=ppt/slideLayouts/_rels/slideLayout160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26.xml"/><Relationship Id="rId2" Type="http://schemas.openxmlformats.org/officeDocument/2006/relationships/tags" Target="../tags/tag279.xml"/><Relationship Id="rId1" Type="http://schemas.openxmlformats.org/officeDocument/2006/relationships/vmlDrawing" Target="../drawings/vmlDrawing276.vml"/><Relationship Id="rId4" Type="http://schemas.openxmlformats.org/officeDocument/2006/relationships/oleObject" Target="../embeddings/oleObject276.bin"/></Relationships>
</file>

<file path=ppt/slideLayouts/_rels/slideLayout161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4.xml"/></Relationships>
</file>

<file path=ppt/slideLayouts/_rels/slideLayout16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6.xml"/></Relationships>
</file>

<file path=ppt/slideLayouts/_rels/slideLayout16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6.xml"/></Relationships>
</file>

<file path=ppt/slideLayouts/_rels/slideLayout16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26.xml"/><Relationship Id="rId2" Type="http://schemas.openxmlformats.org/officeDocument/2006/relationships/tags" Target="../tags/tag280.xml"/><Relationship Id="rId1" Type="http://schemas.openxmlformats.org/officeDocument/2006/relationships/vmlDrawing" Target="../drawings/vmlDrawing277.vml"/><Relationship Id="rId4" Type="http://schemas.openxmlformats.org/officeDocument/2006/relationships/oleObject" Target="../embeddings/oleObject277.bin"/></Relationships>
</file>

<file path=ppt/slideLayouts/_rels/slideLayout16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6.xml"/></Relationships>
</file>

<file path=ppt/slideLayouts/_rels/slideLayout16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6.xml"/></Relationships>
</file>

<file path=ppt/slideLayouts/_rels/slideLayout16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26.xml"/><Relationship Id="rId2" Type="http://schemas.openxmlformats.org/officeDocument/2006/relationships/tags" Target="../tags/tag281.xml"/><Relationship Id="rId1" Type="http://schemas.openxmlformats.org/officeDocument/2006/relationships/vmlDrawing" Target="../drawings/vmlDrawing278.vml"/><Relationship Id="rId4" Type="http://schemas.openxmlformats.org/officeDocument/2006/relationships/oleObject" Target="../embeddings/oleObject278.bin"/></Relationships>
</file>

<file path=ppt/slideLayouts/_rels/slideLayout16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6.xml"/></Relationships>
</file>

<file path=ppt/slideLayouts/_rels/slideLayout16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6.xml"/></Relationships>
</file>

<file path=ppt/slideLayouts/_rels/slideLayout16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26.xml"/><Relationship Id="rId2" Type="http://schemas.openxmlformats.org/officeDocument/2006/relationships/tags" Target="../tags/tag282.xml"/><Relationship Id="rId1" Type="http://schemas.openxmlformats.org/officeDocument/2006/relationships/vmlDrawing" Target="../drawings/vmlDrawing279.vml"/><Relationship Id="rId4" Type="http://schemas.openxmlformats.org/officeDocument/2006/relationships/oleObject" Target="../embeddings/oleObject279.bin"/></Relationships>
</file>

<file path=ppt/slideLayouts/_rels/slideLayout16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6.xml"/></Relationships>
</file>

<file path=ppt/slideLayouts/_rels/slideLayout162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4.xml"/></Relationships>
</file>

<file path=ppt/slideLayouts/_rels/slideLayout16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6.xml"/></Relationships>
</file>

<file path=ppt/slideLayouts/_rels/slideLayout16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6.xml"/></Relationships>
</file>

<file path=ppt/slideLayouts/_rels/slideLayout16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6.xml"/></Relationships>
</file>

<file path=ppt/slideLayouts/_rels/slideLayout1623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27.xml"/></Relationships>
</file>

<file path=ppt/slideLayouts/_rels/slideLayout1624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27.xml"/></Relationships>
</file>

<file path=ppt/slideLayouts/_rels/slideLayout1625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27.xml"/></Relationships>
</file>

<file path=ppt/slideLayouts/_rels/slideLayout1626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27.xml"/></Relationships>
</file>

<file path=ppt/slideLayouts/_rels/slideLayout1627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27.xml"/></Relationships>
</file>

<file path=ppt/slideLayouts/_rels/slideLayout1628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27.xml"/></Relationships>
</file>

<file path=ppt/slideLayouts/_rels/slideLayout1629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27.xml"/></Relationships>
</file>

<file path=ppt/slideLayouts/_rels/slideLayout163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4.xml"/></Relationships>
</file>

<file path=ppt/slideLayouts/_rels/slideLayout1630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27.xml"/></Relationships>
</file>

<file path=ppt/slideLayouts/_rels/slideLayout16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7.xml"/></Relationships>
</file>

<file path=ppt/slideLayouts/_rels/slideLayout16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7.xml"/></Relationships>
</file>

<file path=ppt/slideLayouts/_rels/slideLayout16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28.xml"/><Relationship Id="rId2" Type="http://schemas.openxmlformats.org/officeDocument/2006/relationships/tags" Target="../tags/tag284.xml"/><Relationship Id="rId1" Type="http://schemas.openxmlformats.org/officeDocument/2006/relationships/vmlDrawing" Target="../drawings/vmlDrawing281.vml"/><Relationship Id="rId4" Type="http://schemas.openxmlformats.org/officeDocument/2006/relationships/oleObject" Target="../embeddings/oleObject281.bin"/></Relationships>
</file>

<file path=ppt/slideLayouts/_rels/slideLayout16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8.xml"/></Relationships>
</file>

<file path=ppt/slideLayouts/_rels/slideLayout16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8.xml"/></Relationships>
</file>

<file path=ppt/slideLayouts/_rels/slideLayout16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28.xml"/><Relationship Id="rId2" Type="http://schemas.openxmlformats.org/officeDocument/2006/relationships/tags" Target="../tags/tag285.xml"/><Relationship Id="rId1" Type="http://schemas.openxmlformats.org/officeDocument/2006/relationships/vmlDrawing" Target="../drawings/vmlDrawing282.vml"/><Relationship Id="rId4" Type="http://schemas.openxmlformats.org/officeDocument/2006/relationships/oleObject" Target="../embeddings/oleObject282.bin"/></Relationships>
</file>

<file path=ppt/slideLayouts/_rels/slideLayout16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8.xml"/></Relationships>
</file>

<file path=ppt/slideLayouts/_rels/slideLayout16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8.xml"/></Relationships>
</file>

<file path=ppt/slideLayouts/_rels/slideLayout16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28.xml"/><Relationship Id="rId2" Type="http://schemas.openxmlformats.org/officeDocument/2006/relationships/tags" Target="../tags/tag286.xml"/><Relationship Id="rId1" Type="http://schemas.openxmlformats.org/officeDocument/2006/relationships/vmlDrawing" Target="../drawings/vmlDrawing283.vml"/><Relationship Id="rId4" Type="http://schemas.openxmlformats.org/officeDocument/2006/relationships/oleObject" Target="../embeddings/oleObject283.bin"/></Relationships>
</file>

<file path=ppt/slideLayouts/_rels/slideLayout164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4.xml"/></Relationships>
</file>

<file path=ppt/slideLayouts/_rels/slideLayout16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8.xml"/></Relationships>
</file>

<file path=ppt/slideLayouts/_rels/slideLayout16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8.xml"/></Relationships>
</file>

<file path=ppt/slideLayouts/_rels/slideLayout16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28.xml"/><Relationship Id="rId2" Type="http://schemas.openxmlformats.org/officeDocument/2006/relationships/tags" Target="../tags/tag287.xml"/><Relationship Id="rId1" Type="http://schemas.openxmlformats.org/officeDocument/2006/relationships/vmlDrawing" Target="../drawings/vmlDrawing284.vml"/><Relationship Id="rId4" Type="http://schemas.openxmlformats.org/officeDocument/2006/relationships/oleObject" Target="../embeddings/oleObject284.bin"/></Relationships>
</file>

<file path=ppt/slideLayouts/_rels/slideLayout16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8.xml"/></Relationships>
</file>

<file path=ppt/slideLayouts/_rels/slideLayout16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8.xml"/></Relationships>
</file>

<file path=ppt/slideLayouts/_rels/slideLayout16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8.xml"/></Relationships>
</file>

<file path=ppt/slideLayouts/_rels/slideLayout16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8.xml"/></Relationships>
</file>

<file path=ppt/slideLayouts/_rels/slideLayout164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29.xml"/><Relationship Id="rId2" Type="http://schemas.openxmlformats.org/officeDocument/2006/relationships/tags" Target="../tags/tag289.xml"/><Relationship Id="rId1" Type="http://schemas.openxmlformats.org/officeDocument/2006/relationships/vmlDrawing" Target="../drawings/vmlDrawing286.vml"/><Relationship Id="rId5" Type="http://schemas.openxmlformats.org/officeDocument/2006/relationships/image" Target="NULL"/><Relationship Id="rId4" Type="http://schemas.openxmlformats.org/officeDocument/2006/relationships/oleObject" Target="../embeddings/oleObject286.bin"/></Relationships>
</file>

<file path=ppt/slideLayouts/_rels/slideLayout16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29.xml"/><Relationship Id="rId2" Type="http://schemas.openxmlformats.org/officeDocument/2006/relationships/tags" Target="../tags/tag290.xml"/><Relationship Id="rId1" Type="http://schemas.openxmlformats.org/officeDocument/2006/relationships/vmlDrawing" Target="../drawings/vmlDrawing287.vml"/><Relationship Id="rId4" Type="http://schemas.openxmlformats.org/officeDocument/2006/relationships/oleObject" Target="../embeddings/oleObject287.bin"/></Relationships>
</file>

<file path=ppt/slideLayouts/_rels/slideLayout16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9.xml"/></Relationships>
</file>

<file path=ppt/slideLayouts/_rels/slideLayout165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4.xml"/></Relationships>
</file>

<file path=ppt/slideLayouts/_rels/slideLayout16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9.xml"/></Relationships>
</file>

<file path=ppt/slideLayouts/_rels/slideLayout16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9.xml"/></Relationships>
</file>

<file path=ppt/slideLayouts/_rels/slideLayout16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9.xml"/></Relationships>
</file>

<file path=ppt/slideLayouts/_rels/slideLayout1653.xml.rels><?xml version="1.0" encoding="UTF-8" standalone="yes"?>
<Relationships xmlns="http://schemas.openxmlformats.org/package/2006/relationships"><Relationship Id="rId3" Type="http://schemas.openxmlformats.org/officeDocument/2006/relationships/tags" Target="../tags/tag292.xml"/><Relationship Id="rId2" Type="http://schemas.openxmlformats.org/officeDocument/2006/relationships/tags" Target="../tags/tag291.xml"/><Relationship Id="rId1" Type="http://schemas.openxmlformats.org/officeDocument/2006/relationships/vmlDrawing" Target="../drawings/vmlDrawing288.vml"/><Relationship Id="rId5" Type="http://schemas.openxmlformats.org/officeDocument/2006/relationships/oleObject" Target="../embeddings/oleObject288.bin"/><Relationship Id="rId4" Type="http://schemas.openxmlformats.org/officeDocument/2006/relationships/slideMaster" Target="../slideMasters/slideMaster229.xml"/></Relationships>
</file>

<file path=ppt/slideLayouts/_rels/slideLayout16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9.xml"/></Relationships>
</file>

<file path=ppt/slideLayouts/_rels/slideLayout1655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29.xml"/></Relationships>
</file>

<file path=ppt/slideLayouts/_rels/slideLayout16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9.xml"/></Relationships>
</file>

<file path=ppt/slideLayouts/_rels/slideLayout165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30.xml"/><Relationship Id="rId2" Type="http://schemas.openxmlformats.org/officeDocument/2006/relationships/tags" Target="../tags/tag294.xml"/><Relationship Id="rId1" Type="http://schemas.openxmlformats.org/officeDocument/2006/relationships/vmlDrawing" Target="../drawings/vmlDrawing290.vml"/><Relationship Id="rId6" Type="http://schemas.openxmlformats.org/officeDocument/2006/relationships/image" Target="../media/image5.emf"/><Relationship Id="rId5" Type="http://schemas.openxmlformats.org/officeDocument/2006/relationships/image" Target="../media/image4.emf"/><Relationship Id="rId4" Type="http://schemas.openxmlformats.org/officeDocument/2006/relationships/oleObject" Target="../embeddings/oleObject290.bin"/></Relationships>
</file>

<file path=ppt/slideLayouts/_rels/slideLayout165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30.xml"/><Relationship Id="rId2" Type="http://schemas.openxmlformats.org/officeDocument/2006/relationships/tags" Target="../tags/tag295.xml"/><Relationship Id="rId1" Type="http://schemas.openxmlformats.org/officeDocument/2006/relationships/vmlDrawing" Target="../drawings/vmlDrawing291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291.bin"/></Relationships>
</file>

<file path=ppt/slideLayouts/_rels/slideLayout16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0.xml"/></Relationships>
</file>

<file path=ppt/slideLayouts/_rels/slideLayout166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4.xml"/></Relationships>
</file>

<file path=ppt/slideLayouts/_rels/slideLayout16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0.xml"/></Relationships>
</file>

<file path=ppt/slideLayouts/_rels/slideLayout16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0.xml"/></Relationships>
</file>

<file path=ppt/slideLayouts/_rels/slideLayout16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0.xml"/></Relationships>
</file>

<file path=ppt/slideLayouts/_rels/slideLayout1663.xml.rels><?xml version="1.0" encoding="UTF-8" standalone="yes"?>
<Relationships xmlns="http://schemas.openxmlformats.org/package/2006/relationships"><Relationship Id="rId3" Type="http://schemas.openxmlformats.org/officeDocument/2006/relationships/tags" Target="../tags/tag297.xml"/><Relationship Id="rId2" Type="http://schemas.openxmlformats.org/officeDocument/2006/relationships/tags" Target="../tags/tag296.xml"/><Relationship Id="rId1" Type="http://schemas.openxmlformats.org/officeDocument/2006/relationships/vmlDrawing" Target="../drawings/vmlDrawing292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292.bin"/><Relationship Id="rId4" Type="http://schemas.openxmlformats.org/officeDocument/2006/relationships/slideMaster" Target="../slideMasters/slideMaster230.xml"/></Relationships>
</file>

<file path=ppt/slideLayouts/_rels/slideLayout16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0.xml"/></Relationships>
</file>

<file path=ppt/slideLayouts/_rels/slideLayout16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230.xml"/></Relationships>
</file>

<file path=ppt/slideLayouts/_rels/slideLayout16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0.xml"/></Relationships>
</file>

<file path=ppt/slideLayouts/_rels/slideLayout16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231.xml"/></Relationships>
</file>

<file path=ppt/slideLayouts/_rels/slideLayout16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1.xml"/></Relationships>
</file>

<file path=ppt/slideLayouts/_rels/slideLayout16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1.xml"/></Relationships>
</file>

<file path=ppt/slideLayouts/_rels/slideLayout167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4.xml"/></Relationships>
</file>

<file path=ppt/slideLayouts/_rels/slideLayout16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1.xml"/></Relationships>
</file>

<file path=ppt/slideLayouts/_rels/slideLayout16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1.xml"/></Relationships>
</file>

<file path=ppt/slideLayouts/_rels/slideLayout16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1.xml"/></Relationships>
</file>

<file path=ppt/slideLayouts/_rels/slideLayout16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1.xml"/></Relationships>
</file>

<file path=ppt/slideLayouts/_rels/slideLayout16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1.xml"/></Relationships>
</file>

<file path=ppt/slideLayouts/_rels/slideLayout16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2.xml"/></Relationships>
</file>

<file path=ppt/slideLayouts/_rels/slideLayout16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2.xml"/></Relationships>
</file>

<file path=ppt/slideLayouts/_rels/slideLayout16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2.xml"/></Relationships>
</file>

<file path=ppt/slideLayouts/_rels/slideLayout16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3.xml"/></Relationships>
</file>

<file path=ppt/slideLayouts/_rels/slideLayout16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3.xml"/></Relationships>
</file>

<file path=ppt/slideLayouts/_rels/slideLayout168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4.xml"/></Relationships>
</file>

<file path=ppt/slideLayouts/_rels/slideLayout16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3.xml"/></Relationships>
</file>

<file path=ppt/slideLayouts/_rels/slideLayout16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3.xml"/></Relationships>
</file>

<file path=ppt/slideLayouts/_rels/slideLayout16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3.xml"/></Relationships>
</file>

<file path=ppt/slideLayouts/_rels/slideLayout16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3.xml"/></Relationships>
</file>

<file path=ppt/slideLayouts/_rels/slideLayout16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4.xml"/></Relationships>
</file>

<file path=ppt/slideLayouts/_rels/slideLayout168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34.xml"/><Relationship Id="rId2" Type="http://schemas.openxmlformats.org/officeDocument/2006/relationships/tags" Target="../tags/tag301.xml"/><Relationship Id="rId1" Type="http://schemas.openxmlformats.org/officeDocument/2006/relationships/vmlDrawing" Target="../drawings/vmlDrawing296.v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296.bin"/></Relationships>
</file>

<file path=ppt/slideLayouts/_rels/slideLayout16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4.xml"/></Relationships>
</file>

<file path=ppt/slideLayouts/_rels/slideLayout16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4.xml"/></Relationships>
</file>

<file path=ppt/slideLayouts/_rels/slideLayout16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4.xml"/></Relationships>
</file>

<file path=ppt/slideLayouts/_rels/slideLayout16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4.xml"/></Relationships>
</file>

<file path=ppt/slideLayouts/_rels/slideLayout1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16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4.xml"/></Relationships>
</file>

<file path=ppt/slideLayouts/_rels/slideLayout169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34.xml"/><Relationship Id="rId2" Type="http://schemas.openxmlformats.org/officeDocument/2006/relationships/tags" Target="../tags/tag302.xml"/><Relationship Id="rId1" Type="http://schemas.openxmlformats.org/officeDocument/2006/relationships/vmlDrawing" Target="../drawings/vmlDrawing297.vml"/><Relationship Id="rId6" Type="http://schemas.openxmlformats.org/officeDocument/2006/relationships/image" Target="../media/image11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97.bin"/></Relationships>
</file>

<file path=ppt/slideLayouts/_rels/slideLayout16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34.xml"/></Relationships>
</file>

<file path=ppt/slideLayouts/_rels/slideLayout16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34.xml"/></Relationships>
</file>

<file path=ppt/slideLayouts/_rels/slideLayout169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34.xml"/><Relationship Id="rId2" Type="http://schemas.openxmlformats.org/officeDocument/2006/relationships/tags" Target="../tags/tag303.xml"/><Relationship Id="rId1" Type="http://schemas.openxmlformats.org/officeDocument/2006/relationships/vmlDrawing" Target="../drawings/vmlDrawing298.vml"/><Relationship Id="rId6" Type="http://schemas.openxmlformats.org/officeDocument/2006/relationships/image" Target="../media/image11.png"/><Relationship Id="rId5" Type="http://schemas.openxmlformats.org/officeDocument/2006/relationships/image" Target="../media/image14.emf"/><Relationship Id="rId4" Type="http://schemas.openxmlformats.org/officeDocument/2006/relationships/oleObject" Target="../embeddings/oleObject298.bin"/></Relationships>
</file>

<file path=ppt/slideLayouts/_rels/slideLayout169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34.xml"/><Relationship Id="rId2" Type="http://schemas.openxmlformats.org/officeDocument/2006/relationships/tags" Target="../tags/tag304.xml"/><Relationship Id="rId1" Type="http://schemas.openxmlformats.org/officeDocument/2006/relationships/vmlDrawing" Target="../drawings/vmlDrawing299.vml"/><Relationship Id="rId6" Type="http://schemas.openxmlformats.org/officeDocument/2006/relationships/image" Target="../media/image11.png"/><Relationship Id="rId5" Type="http://schemas.openxmlformats.org/officeDocument/2006/relationships/image" Target="../media/image14.emf"/><Relationship Id="rId4" Type="http://schemas.openxmlformats.org/officeDocument/2006/relationships/oleObject" Target="../embeddings/oleObject299.bin"/></Relationships>
</file>

<file path=ppt/slideLayouts/_rels/slideLayout169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34.xml"/><Relationship Id="rId2" Type="http://schemas.openxmlformats.org/officeDocument/2006/relationships/tags" Target="../tags/tag305.xml"/><Relationship Id="rId1" Type="http://schemas.openxmlformats.org/officeDocument/2006/relationships/vmlDrawing" Target="../drawings/vmlDrawing30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00.bin"/></Relationships>
</file>

<file path=ppt/slideLayouts/_rels/slideLayout169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34.xml"/><Relationship Id="rId2" Type="http://schemas.openxmlformats.org/officeDocument/2006/relationships/tags" Target="../tags/tag306.xml"/><Relationship Id="rId1" Type="http://schemas.openxmlformats.org/officeDocument/2006/relationships/vmlDrawing" Target="../drawings/vmlDrawing301.vml"/><Relationship Id="rId6" Type="http://schemas.openxmlformats.org/officeDocument/2006/relationships/image" Target="../media/image11.png"/><Relationship Id="rId5" Type="http://schemas.openxmlformats.org/officeDocument/2006/relationships/image" Target="../media/image14.emf"/><Relationship Id="rId4" Type="http://schemas.openxmlformats.org/officeDocument/2006/relationships/oleObject" Target="../embeddings/oleObject301.bin"/></Relationships>
</file>

<file path=ppt/slideLayouts/_rels/slideLayout16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234.xml"/></Relationships>
</file>

<file path=ppt/slideLayouts/_rels/slideLayout16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5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170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35.xml"/><Relationship Id="rId2" Type="http://schemas.openxmlformats.org/officeDocument/2006/relationships/tags" Target="../tags/tag308.xml"/><Relationship Id="rId1" Type="http://schemas.openxmlformats.org/officeDocument/2006/relationships/vmlDrawing" Target="../drawings/vmlDrawing303.v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303.bin"/></Relationships>
</file>

<file path=ppt/slideLayouts/_rels/slideLayout17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5.xml"/></Relationships>
</file>

<file path=ppt/slideLayouts/_rels/slideLayout17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5.xml"/></Relationships>
</file>

<file path=ppt/slideLayouts/_rels/slideLayout17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5.xml"/></Relationships>
</file>

<file path=ppt/slideLayouts/_rels/slideLayout17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5.xml"/></Relationships>
</file>

<file path=ppt/slideLayouts/_rels/slideLayout17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5.xml"/></Relationships>
</file>

<file path=ppt/slideLayouts/_rels/slideLayout170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35.xml"/><Relationship Id="rId2" Type="http://schemas.openxmlformats.org/officeDocument/2006/relationships/tags" Target="../tags/tag309.xml"/><Relationship Id="rId1" Type="http://schemas.openxmlformats.org/officeDocument/2006/relationships/vmlDrawing" Target="../drawings/vmlDrawing304.vml"/><Relationship Id="rId6" Type="http://schemas.openxmlformats.org/officeDocument/2006/relationships/image" Target="../media/image11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04.bin"/></Relationships>
</file>

<file path=ppt/slideLayouts/_rels/slideLayout170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35.xml"/></Relationships>
</file>

<file path=ppt/slideLayouts/_rels/slideLayout17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35.xml"/></Relationships>
</file>

<file path=ppt/slideLayouts/_rels/slideLayout170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35.xml"/><Relationship Id="rId2" Type="http://schemas.openxmlformats.org/officeDocument/2006/relationships/tags" Target="../tags/tag310.xml"/><Relationship Id="rId1" Type="http://schemas.openxmlformats.org/officeDocument/2006/relationships/vmlDrawing" Target="../drawings/vmlDrawing305.vml"/><Relationship Id="rId6" Type="http://schemas.openxmlformats.org/officeDocument/2006/relationships/image" Target="../media/image11.png"/><Relationship Id="rId5" Type="http://schemas.openxmlformats.org/officeDocument/2006/relationships/image" Target="../media/image14.emf"/><Relationship Id="rId4" Type="http://schemas.openxmlformats.org/officeDocument/2006/relationships/oleObject" Target="../embeddings/oleObject305.bin"/></Relationships>
</file>

<file path=ppt/slideLayouts/_rels/slideLayout1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17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35.xml"/><Relationship Id="rId2" Type="http://schemas.openxmlformats.org/officeDocument/2006/relationships/tags" Target="../tags/tag311.xml"/><Relationship Id="rId1" Type="http://schemas.openxmlformats.org/officeDocument/2006/relationships/vmlDrawing" Target="../drawings/vmlDrawing30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06.bin"/></Relationships>
</file>

<file path=ppt/slideLayouts/_rels/slideLayout17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35.xml"/><Relationship Id="rId2" Type="http://schemas.openxmlformats.org/officeDocument/2006/relationships/tags" Target="../tags/tag312.xml"/><Relationship Id="rId1" Type="http://schemas.openxmlformats.org/officeDocument/2006/relationships/vmlDrawing" Target="../drawings/vmlDrawing307.vml"/><Relationship Id="rId6" Type="http://schemas.openxmlformats.org/officeDocument/2006/relationships/image" Target="../media/image11.png"/><Relationship Id="rId5" Type="http://schemas.openxmlformats.org/officeDocument/2006/relationships/image" Target="../media/image14.emf"/><Relationship Id="rId4" Type="http://schemas.openxmlformats.org/officeDocument/2006/relationships/oleObject" Target="../embeddings/oleObject307.bin"/></Relationships>
</file>

<file path=ppt/slideLayouts/_rels/slideLayout17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235.xml"/></Relationships>
</file>

<file path=ppt/slideLayouts/_rels/slideLayout17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6.xml"/></Relationships>
</file>

<file path=ppt/slideLayouts/_rels/slideLayout17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6.xml"/></Relationships>
</file>

<file path=ppt/slideLayouts/_rels/slideLayout17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6.xml"/></Relationships>
</file>

<file path=ppt/slideLayouts/_rels/slideLayout17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6.xml"/></Relationships>
</file>

<file path=ppt/slideLayouts/_rels/slideLayout17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6.xml"/></Relationships>
</file>

<file path=ppt/slideLayouts/_rels/slideLayout17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6.xml"/></Relationships>
</file>

<file path=ppt/slideLayouts/_rels/slideLayout17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g"/><Relationship Id="rId1" Type="http://schemas.openxmlformats.org/officeDocument/2006/relationships/slideMaster" Target="../slideMasters/slideMaster237.xml"/></Relationships>
</file>

<file path=ppt/slideLayouts/_rels/slideLayout1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17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g"/><Relationship Id="rId1" Type="http://schemas.openxmlformats.org/officeDocument/2006/relationships/slideMaster" Target="../slideMasters/slideMaster237.xml"/></Relationships>
</file>

<file path=ppt/slideLayouts/_rels/slideLayout17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jpg"/><Relationship Id="rId1" Type="http://schemas.openxmlformats.org/officeDocument/2006/relationships/slideMaster" Target="../slideMasters/slideMaster237.xml"/></Relationships>
</file>

<file path=ppt/slideLayouts/_rels/slideLayout17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jpg"/><Relationship Id="rId1" Type="http://schemas.openxmlformats.org/officeDocument/2006/relationships/slideMaster" Target="../slideMasters/slideMaster237.xml"/></Relationships>
</file>

<file path=ppt/slideLayouts/_rels/slideLayout17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jpg"/><Relationship Id="rId1" Type="http://schemas.openxmlformats.org/officeDocument/2006/relationships/slideMaster" Target="../slideMasters/slideMaster237.xml"/></Relationships>
</file>

<file path=ppt/slideLayouts/_rels/slideLayout17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237.xml"/></Relationships>
</file>

<file path=ppt/slideLayouts/_rels/slideLayout17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jpg"/><Relationship Id="rId1" Type="http://schemas.openxmlformats.org/officeDocument/2006/relationships/slideMaster" Target="../slideMasters/slideMaster237.xml"/></Relationships>
</file>

<file path=ppt/slideLayouts/_rels/slideLayout17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jpg"/><Relationship Id="rId1" Type="http://schemas.openxmlformats.org/officeDocument/2006/relationships/slideMaster" Target="../slideMasters/slideMaster237.xml"/></Relationships>
</file>

<file path=ppt/slideLayouts/_rels/slideLayout17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7.xml"/></Relationships>
</file>

<file path=ppt/slideLayouts/_rels/slideLayout17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38.xml"/><Relationship Id="rId2" Type="http://schemas.openxmlformats.org/officeDocument/2006/relationships/tags" Target="../tags/tag316.xml"/><Relationship Id="rId1" Type="http://schemas.openxmlformats.org/officeDocument/2006/relationships/vmlDrawing" Target="../drawings/vmlDrawing31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11.bin"/></Relationships>
</file>

<file path=ppt/slideLayouts/_rels/slideLayout17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38.xml"/><Relationship Id="rId2" Type="http://schemas.openxmlformats.org/officeDocument/2006/relationships/tags" Target="../tags/tag317.xml"/><Relationship Id="rId1" Type="http://schemas.openxmlformats.org/officeDocument/2006/relationships/vmlDrawing" Target="../drawings/vmlDrawing31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12.bin"/></Relationships>
</file>

<file path=ppt/slideLayouts/_rels/slideLayout1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17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8.xml"/></Relationships>
</file>

<file path=ppt/slideLayouts/_rels/slideLayout17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38.xml"/><Relationship Id="rId2" Type="http://schemas.openxmlformats.org/officeDocument/2006/relationships/tags" Target="../tags/tag318.xml"/><Relationship Id="rId1" Type="http://schemas.openxmlformats.org/officeDocument/2006/relationships/vmlDrawing" Target="../drawings/vmlDrawing31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13.bin"/></Relationships>
</file>

<file path=ppt/slideLayouts/_rels/slideLayout17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38.xml"/><Relationship Id="rId2" Type="http://schemas.openxmlformats.org/officeDocument/2006/relationships/tags" Target="../tags/tag319.xml"/><Relationship Id="rId1" Type="http://schemas.openxmlformats.org/officeDocument/2006/relationships/vmlDrawing" Target="../drawings/vmlDrawing31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14.bin"/></Relationships>
</file>

<file path=ppt/slideLayouts/_rels/slideLayout17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38.xml"/><Relationship Id="rId2" Type="http://schemas.openxmlformats.org/officeDocument/2006/relationships/tags" Target="../tags/tag320.xml"/><Relationship Id="rId1" Type="http://schemas.openxmlformats.org/officeDocument/2006/relationships/vmlDrawing" Target="../drawings/vmlDrawing31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15.bin"/></Relationships>
</file>

<file path=ppt/slideLayouts/_rels/slideLayout17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38.xml"/><Relationship Id="rId2" Type="http://schemas.openxmlformats.org/officeDocument/2006/relationships/tags" Target="../tags/tag321.xml"/><Relationship Id="rId1" Type="http://schemas.openxmlformats.org/officeDocument/2006/relationships/vmlDrawing" Target="../drawings/vmlDrawing31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16.bin"/></Relationships>
</file>

<file path=ppt/slideLayouts/_rels/slideLayout17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38.xml"/><Relationship Id="rId2" Type="http://schemas.openxmlformats.org/officeDocument/2006/relationships/tags" Target="../tags/tag322.xml"/><Relationship Id="rId1" Type="http://schemas.openxmlformats.org/officeDocument/2006/relationships/vmlDrawing" Target="../drawings/vmlDrawing31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17.bin"/></Relationships>
</file>

<file path=ppt/slideLayouts/_rels/slideLayout17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38.xml"/><Relationship Id="rId2" Type="http://schemas.openxmlformats.org/officeDocument/2006/relationships/tags" Target="../tags/tag323.xml"/><Relationship Id="rId1" Type="http://schemas.openxmlformats.org/officeDocument/2006/relationships/vmlDrawing" Target="../drawings/vmlDrawing31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18.bin"/></Relationships>
</file>

<file path=ppt/slideLayouts/_rels/slideLayout17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38.xml"/><Relationship Id="rId2" Type="http://schemas.openxmlformats.org/officeDocument/2006/relationships/tags" Target="../tags/tag324.xml"/><Relationship Id="rId1" Type="http://schemas.openxmlformats.org/officeDocument/2006/relationships/vmlDrawing" Target="../drawings/vmlDrawing31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19.bin"/></Relationships>
</file>

<file path=ppt/slideLayouts/_rels/slideLayout17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38.xml"/><Relationship Id="rId2" Type="http://schemas.openxmlformats.org/officeDocument/2006/relationships/tags" Target="../tags/tag325.xml"/><Relationship Id="rId1" Type="http://schemas.openxmlformats.org/officeDocument/2006/relationships/vmlDrawing" Target="../drawings/vmlDrawing32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20.bin"/></Relationships>
</file>

<file path=ppt/slideLayouts/_rels/slideLayout17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38.xml"/><Relationship Id="rId2" Type="http://schemas.openxmlformats.org/officeDocument/2006/relationships/tags" Target="../tags/tag326.xml"/><Relationship Id="rId1" Type="http://schemas.openxmlformats.org/officeDocument/2006/relationships/vmlDrawing" Target="../drawings/vmlDrawing32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21.bin"/></Relationships>
</file>

<file path=ppt/slideLayouts/_rels/slideLayout1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17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38.xml"/><Relationship Id="rId2" Type="http://schemas.openxmlformats.org/officeDocument/2006/relationships/tags" Target="../tags/tag327.xml"/><Relationship Id="rId1" Type="http://schemas.openxmlformats.org/officeDocument/2006/relationships/vmlDrawing" Target="../drawings/vmlDrawing32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22.bin"/></Relationships>
</file>

<file path=ppt/slideLayouts/_rels/slideLayout17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38.xml"/><Relationship Id="rId2" Type="http://schemas.openxmlformats.org/officeDocument/2006/relationships/tags" Target="../tags/tag328.xml"/><Relationship Id="rId1" Type="http://schemas.openxmlformats.org/officeDocument/2006/relationships/vmlDrawing" Target="../drawings/vmlDrawing32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23.bin"/></Relationships>
</file>

<file path=ppt/slideLayouts/_rels/slideLayout17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9.xml"/></Relationships>
</file>

<file path=ppt/slideLayouts/_rels/slideLayout17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9.xml"/></Relationships>
</file>

<file path=ppt/slideLayouts/_rels/slideLayout17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39.xml"/><Relationship Id="rId2" Type="http://schemas.openxmlformats.org/officeDocument/2006/relationships/tags" Target="../tags/tag330.xml"/><Relationship Id="rId1" Type="http://schemas.openxmlformats.org/officeDocument/2006/relationships/vmlDrawing" Target="../drawings/vmlDrawing32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25.bin"/></Relationships>
</file>

<file path=ppt/slideLayouts/_rels/slideLayout17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9.xml"/></Relationships>
</file>

<file path=ppt/slideLayouts/_rels/slideLayout17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39.xml"/></Relationships>
</file>

<file path=ppt/slideLayouts/_rels/slideLayout17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39.xml"/></Relationships>
</file>

<file path=ppt/slideLayouts/_rels/slideLayout17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9.xml"/></Relationships>
</file>

<file path=ppt/slideLayouts/_rels/slideLayout17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239.xml"/></Relationships>
</file>

<file path=ppt/slideLayouts/_rels/slideLayout1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17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9.xml"/></Relationships>
</file>

<file path=ppt/slideLayouts/_rels/slideLayout175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39.xml"/><Relationship Id="rId2" Type="http://schemas.openxmlformats.org/officeDocument/2006/relationships/tags" Target="../tags/tag331.xml"/><Relationship Id="rId1" Type="http://schemas.openxmlformats.org/officeDocument/2006/relationships/vmlDrawing" Target="../drawings/vmlDrawing32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26.bin"/></Relationships>
</file>

<file path=ppt/slideLayouts/_rels/slideLayout17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0.xml"/></Relationships>
</file>

<file path=ppt/slideLayouts/_rels/slideLayout17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0.xml"/></Relationships>
</file>

<file path=ppt/slideLayouts/_rels/slideLayout17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0.xml"/></Relationships>
</file>

<file path=ppt/slideLayouts/_rels/slideLayout17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0.xml"/></Relationships>
</file>

<file path=ppt/slideLayouts/_rels/slideLayout17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0.xml"/></Relationships>
</file>

<file path=ppt/slideLayouts/_rels/slideLayout17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0.xml"/></Relationships>
</file>

<file path=ppt/slideLayouts/_rels/slideLayout175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41.xml"/><Relationship Id="rId2" Type="http://schemas.openxmlformats.org/officeDocument/2006/relationships/tags" Target="../tags/tag333.xml"/><Relationship Id="rId1" Type="http://schemas.openxmlformats.org/officeDocument/2006/relationships/vmlDrawing" Target="../drawings/vmlDrawing32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28.bin"/></Relationships>
</file>

<file path=ppt/slideLayouts/_rels/slideLayout17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1.xml"/></Relationships>
</file>

<file path=ppt/slideLayouts/_rels/slideLayout1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17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1.xml"/></Relationships>
</file>

<file path=ppt/slideLayouts/_rels/slideLayout176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41.xml"/><Relationship Id="rId2" Type="http://schemas.openxmlformats.org/officeDocument/2006/relationships/tags" Target="../tags/tag334.xml"/><Relationship Id="rId1" Type="http://schemas.openxmlformats.org/officeDocument/2006/relationships/vmlDrawing" Target="../drawings/vmlDrawing32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29.bin"/></Relationships>
</file>

<file path=ppt/slideLayouts/_rels/slideLayout17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1.xml"/></Relationships>
</file>

<file path=ppt/slideLayouts/_rels/slideLayout17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1.xml"/></Relationships>
</file>

<file path=ppt/slideLayouts/_rels/slideLayout176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41.xml"/><Relationship Id="rId2" Type="http://schemas.openxmlformats.org/officeDocument/2006/relationships/tags" Target="../tags/tag335.xml"/><Relationship Id="rId1" Type="http://schemas.openxmlformats.org/officeDocument/2006/relationships/vmlDrawing" Target="../drawings/vmlDrawing33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30.bin"/></Relationships>
</file>

<file path=ppt/slideLayouts/_rels/slideLayout17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1.xml"/></Relationships>
</file>

<file path=ppt/slideLayouts/_rels/slideLayout17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1.xml"/></Relationships>
</file>

<file path=ppt/slideLayouts/_rels/slideLayout176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41.xml"/><Relationship Id="rId2" Type="http://schemas.openxmlformats.org/officeDocument/2006/relationships/tags" Target="../tags/tag336.xml"/><Relationship Id="rId1" Type="http://schemas.openxmlformats.org/officeDocument/2006/relationships/vmlDrawing" Target="../drawings/vmlDrawing33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31.bin"/></Relationships>
</file>

<file path=ppt/slideLayouts/_rels/slideLayout17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1.xml"/></Relationships>
</file>

<file path=ppt/slideLayouts/_rels/slideLayout17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1.xml"/></Relationships>
</file>

<file path=ppt/slideLayouts/_rels/slideLayout177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7.xml"/></Relationships>
</file>

<file path=ppt/slideLayouts/_rels/slideLayout17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1.xml"/></Relationships>
</file>

<file path=ppt/slideLayouts/_rels/slideLayout17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1.xml"/></Relationships>
</file>

<file path=ppt/slideLayouts/_rels/slideLayout17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1.xml"/></Relationships>
</file>

<file path=ppt/slideLayouts/_rels/slideLayout17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2.xml"/></Relationships>
</file>

<file path=ppt/slideLayouts/_rels/slideLayout17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2.xml"/></Relationships>
</file>

<file path=ppt/slideLayouts/_rels/slideLayout17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2.xml"/></Relationships>
</file>

<file path=ppt/slideLayouts/_rels/slideLayout17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2.xml"/></Relationships>
</file>

<file path=ppt/slideLayouts/_rels/slideLayout17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2.xml"/></Relationships>
</file>

<file path=ppt/slideLayouts/_rels/slideLayout17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2.xml"/></Relationships>
</file>

<file path=ppt/slideLayouts/_rels/slideLayout17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g"/><Relationship Id="rId1" Type="http://schemas.openxmlformats.org/officeDocument/2006/relationships/slideMaster" Target="../slideMasters/slideMaster243.xml"/></Relationships>
</file>

<file path=ppt/slideLayouts/_rels/slideLayout178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7.xml"/></Relationships>
</file>

<file path=ppt/slideLayouts/_rels/slideLayout17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g"/><Relationship Id="rId1" Type="http://schemas.openxmlformats.org/officeDocument/2006/relationships/slideMaster" Target="../slideMasters/slideMaster243.xml"/></Relationships>
</file>

<file path=ppt/slideLayouts/_rels/slideLayout17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jpg"/><Relationship Id="rId1" Type="http://schemas.openxmlformats.org/officeDocument/2006/relationships/slideMaster" Target="../slideMasters/slideMaster243.xml"/></Relationships>
</file>

<file path=ppt/slideLayouts/_rels/slideLayout17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jpg"/><Relationship Id="rId1" Type="http://schemas.openxmlformats.org/officeDocument/2006/relationships/slideMaster" Target="../slideMasters/slideMaster243.xml"/></Relationships>
</file>

<file path=ppt/slideLayouts/_rels/slideLayout17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jpg"/><Relationship Id="rId1" Type="http://schemas.openxmlformats.org/officeDocument/2006/relationships/slideMaster" Target="../slideMasters/slideMaster243.xml"/></Relationships>
</file>

<file path=ppt/slideLayouts/_rels/slideLayout17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243.xml"/></Relationships>
</file>

<file path=ppt/slideLayouts/_rels/slideLayout17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jpg"/><Relationship Id="rId1" Type="http://schemas.openxmlformats.org/officeDocument/2006/relationships/slideMaster" Target="../slideMasters/slideMaster243.xml"/></Relationships>
</file>

<file path=ppt/slideLayouts/_rels/slideLayout17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jpg"/><Relationship Id="rId1" Type="http://schemas.openxmlformats.org/officeDocument/2006/relationships/slideMaster" Target="../slideMasters/slideMaster243.xml"/></Relationships>
</file>

<file path=ppt/slideLayouts/_rels/slideLayout17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3.xml"/></Relationships>
</file>

<file path=ppt/slideLayouts/_rels/slideLayout17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g"/><Relationship Id="rId1" Type="http://schemas.openxmlformats.org/officeDocument/2006/relationships/slideMaster" Target="../slideMasters/slideMaster244.xml"/></Relationships>
</file>

<file path=ppt/slideLayouts/_rels/slideLayout17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g"/><Relationship Id="rId1" Type="http://schemas.openxmlformats.org/officeDocument/2006/relationships/slideMaster" Target="../slideMasters/slideMaster244.xml"/></Relationships>
</file>

<file path=ppt/slideLayouts/_rels/slideLayout179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7.xml"/></Relationships>
</file>

<file path=ppt/slideLayouts/_rels/slideLayout17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jpg"/><Relationship Id="rId1" Type="http://schemas.openxmlformats.org/officeDocument/2006/relationships/slideMaster" Target="../slideMasters/slideMaster244.xml"/></Relationships>
</file>

<file path=ppt/slideLayouts/_rels/slideLayout17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jpg"/><Relationship Id="rId1" Type="http://schemas.openxmlformats.org/officeDocument/2006/relationships/slideMaster" Target="../slideMasters/slideMaster244.xml"/></Relationships>
</file>

<file path=ppt/slideLayouts/_rels/slideLayout17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jpg"/><Relationship Id="rId1" Type="http://schemas.openxmlformats.org/officeDocument/2006/relationships/slideMaster" Target="../slideMasters/slideMaster244.xml"/></Relationships>
</file>

<file path=ppt/slideLayouts/_rels/slideLayout17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244.xml"/></Relationships>
</file>

<file path=ppt/slideLayouts/_rels/slideLayout17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jpg"/><Relationship Id="rId1" Type="http://schemas.openxmlformats.org/officeDocument/2006/relationships/slideMaster" Target="../slideMasters/slideMaster244.xml"/></Relationships>
</file>

<file path=ppt/slideLayouts/_rels/slideLayout17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jpg"/><Relationship Id="rId1" Type="http://schemas.openxmlformats.org/officeDocument/2006/relationships/slideMaster" Target="../slideMasters/slideMaster244.xml"/></Relationships>
</file>

<file path=ppt/slideLayouts/_rels/slideLayout17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4.xml"/></Relationships>
</file>

<file path=ppt/slideLayouts/_rels/slideLayout17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g"/><Relationship Id="rId1" Type="http://schemas.openxmlformats.org/officeDocument/2006/relationships/slideMaster" Target="../slideMasters/slideMaster245.xml"/></Relationships>
</file>

<file path=ppt/slideLayouts/_rels/slideLayout17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g"/><Relationship Id="rId1" Type="http://schemas.openxmlformats.org/officeDocument/2006/relationships/slideMaster" Target="../slideMasters/slideMaster245.xml"/></Relationships>
</file>

<file path=ppt/slideLayouts/_rels/slideLayout17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jpg"/><Relationship Id="rId1" Type="http://schemas.openxmlformats.org/officeDocument/2006/relationships/slideMaster" Target="../slideMasters/slideMaster245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0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7.xml"/></Relationships>
</file>

<file path=ppt/slideLayouts/_rels/slideLayout18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jpg"/><Relationship Id="rId1" Type="http://schemas.openxmlformats.org/officeDocument/2006/relationships/slideMaster" Target="../slideMasters/slideMaster245.xml"/></Relationships>
</file>

<file path=ppt/slideLayouts/_rels/slideLayout18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jpg"/><Relationship Id="rId1" Type="http://schemas.openxmlformats.org/officeDocument/2006/relationships/slideMaster" Target="../slideMasters/slideMaster245.xml"/></Relationships>
</file>

<file path=ppt/slideLayouts/_rels/slideLayout18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245.xml"/></Relationships>
</file>

<file path=ppt/slideLayouts/_rels/slideLayout18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jpg"/><Relationship Id="rId1" Type="http://schemas.openxmlformats.org/officeDocument/2006/relationships/slideMaster" Target="../slideMasters/slideMaster245.xml"/></Relationships>
</file>

<file path=ppt/slideLayouts/_rels/slideLayout18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jpg"/><Relationship Id="rId1" Type="http://schemas.openxmlformats.org/officeDocument/2006/relationships/slideMaster" Target="../slideMasters/slideMaster245.xml"/></Relationships>
</file>

<file path=ppt/slideLayouts/_rels/slideLayout18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5.xml"/></Relationships>
</file>

<file path=ppt/slideLayouts/_rels/slideLayout18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5.xml"/></Relationships>
</file>

<file path=ppt/slideLayouts/_rels/slideLayout181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7.xml"/></Relationships>
</file>

<file path=ppt/slideLayouts/_rels/slideLayout182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7.xml"/></Relationships>
</file>

<file path=ppt/slideLayouts/_rels/slideLayout183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7.xml"/></Relationships>
</file>

<file path=ppt/slideLayouts/_rels/slideLayout184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7.xml"/></Relationships>
</file>

<file path=ppt/slideLayouts/_rels/slideLayout1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1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1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1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1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4" Type="http://schemas.openxmlformats.org/officeDocument/2006/relationships/oleObject" Target="../embeddings/oleObject8.bin"/></Relationships>
</file>

<file path=ppt/slideLayouts/_rels/slideLayout1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19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9.xml"/><Relationship Id="rId2" Type="http://schemas.openxmlformats.org/officeDocument/2006/relationships/tags" Target="../tags/tag36.xml"/><Relationship Id="rId1" Type="http://schemas.openxmlformats.org/officeDocument/2006/relationships/vmlDrawing" Target="../drawings/vmlDrawing35.vml"/><Relationship Id="rId4" Type="http://schemas.openxmlformats.org/officeDocument/2006/relationships/oleObject" Target="../embeddings/oleObject35.bin"/></Relationships>
</file>

<file path=ppt/slideLayouts/_rels/slideLayout1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193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30.xml"/></Relationships>
</file>

<file path=ppt/slideLayouts/_rels/slideLayout194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30.xml"/></Relationships>
</file>

<file path=ppt/slideLayouts/_rels/slideLayout195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30.xml"/></Relationships>
</file>

<file path=ppt/slideLayouts/_rels/slideLayout196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30.xml"/></Relationships>
</file>

<file path=ppt/slideLayouts/_rels/slideLayout197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30.xml"/></Relationships>
</file>

<file path=ppt/slideLayouts/_rels/slideLayout198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30.xml"/></Relationships>
</file>

<file path=ppt/slideLayouts/_rels/slideLayout199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30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4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00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30.xml"/></Relationships>
</file>

<file path=ppt/slideLayouts/_rels/slideLayout20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0.xml"/><Relationship Id="rId2" Type="http://schemas.openxmlformats.org/officeDocument/2006/relationships/tags" Target="../tags/tag38.xml"/><Relationship Id="rId1" Type="http://schemas.openxmlformats.org/officeDocument/2006/relationships/vmlDrawing" Target="../drawings/vmlDrawing37.vml"/><Relationship Id="rId4" Type="http://schemas.openxmlformats.org/officeDocument/2006/relationships/oleObject" Target="../embeddings/oleObject37.bin"/></Relationships>
</file>

<file path=ppt/slideLayouts/_rels/slideLayout2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2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2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2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2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2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2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2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5" Type="http://schemas.openxmlformats.org/officeDocument/2006/relationships/image" Target="NULL"/><Relationship Id="rId4" Type="http://schemas.openxmlformats.org/officeDocument/2006/relationships/oleObject" Target="../embeddings/oleObject10.bin"/></Relationships>
</file>

<file path=ppt/slideLayouts/_rels/slideLayout210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33.xml"/></Relationships>
</file>

<file path=ppt/slideLayouts/_rels/slideLayout211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33.xml"/></Relationships>
</file>

<file path=ppt/slideLayouts/_rels/slideLayout212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33.xml"/></Relationships>
</file>

<file path=ppt/slideLayouts/_rels/slideLayout213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33.xml"/></Relationships>
</file>

<file path=ppt/slideLayouts/_rels/slideLayout214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33.xml"/></Relationships>
</file>

<file path=ppt/slideLayouts/_rels/slideLayout215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33.xml"/></Relationships>
</file>

<file path=ppt/slideLayouts/_rels/slideLayout216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33.xml"/></Relationships>
</file>

<file path=ppt/slideLayouts/_rels/slideLayout217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33.xml"/></Relationships>
</file>

<file path=ppt/slideLayouts/_rels/slideLayout218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34.xml"/></Relationships>
</file>

<file path=ppt/slideLayouts/_rels/slideLayout219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34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4" Type="http://schemas.openxmlformats.org/officeDocument/2006/relationships/oleObject" Target="../embeddings/oleObject11.bin"/></Relationships>
</file>

<file path=ppt/slideLayouts/_rels/slideLayout220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34.xml"/></Relationships>
</file>

<file path=ppt/slideLayouts/_rels/slideLayout221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34.xml"/></Relationships>
</file>

<file path=ppt/slideLayouts/_rels/slideLayout222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34.xml"/></Relationships>
</file>

<file path=ppt/slideLayouts/_rels/slideLayout223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34.xml"/></Relationships>
</file>

<file path=ppt/slideLayouts/_rels/slideLayout224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34.xml"/></Relationships>
</file>

<file path=ppt/slideLayouts/_rels/slideLayout225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34.xml"/></Relationships>
</file>

<file path=ppt/slideLayouts/_rels/slideLayout2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2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2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2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30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36.xml"/></Relationships>
</file>

<file path=ppt/slideLayouts/_rels/slideLayout231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36.xml"/></Relationships>
</file>

<file path=ppt/slideLayouts/_rels/slideLayout232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36.xml"/></Relationships>
</file>

<file path=ppt/slideLayouts/_rels/slideLayout233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36.xml"/></Relationships>
</file>

<file path=ppt/slideLayouts/_rels/slideLayout234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36.xml"/></Relationships>
</file>

<file path=ppt/slideLayouts/_rels/slideLayout235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36.xml"/></Relationships>
</file>

<file path=ppt/slideLayouts/_rels/slideLayout236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36.xml"/></Relationships>
</file>

<file path=ppt/slideLayouts/_rels/slideLayout237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36.xml"/></Relationships>
</file>

<file path=ppt/slideLayouts/_rels/slideLayout2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2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2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2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8.xml"/></Relationships>
</file>

<file path=ppt/slideLayouts/_rels/slideLayout2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8.xml"/></Relationships>
</file>

<file path=ppt/slideLayouts/_rels/slideLayout2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8.xml"/></Relationships>
</file>

<file path=ppt/slideLayouts/_rels/slideLayout2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8.xml"/></Relationships>
</file>

<file path=ppt/slideLayouts/_rels/slideLayout2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2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2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2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5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9.xml"/><Relationship Id="rId2" Type="http://schemas.openxmlformats.org/officeDocument/2006/relationships/tags" Target="../tags/tag40.xml"/><Relationship Id="rId1" Type="http://schemas.openxmlformats.org/officeDocument/2006/relationships/vmlDrawing" Target="../drawings/vmlDrawing39.vml"/><Relationship Id="rId4" Type="http://schemas.openxmlformats.org/officeDocument/2006/relationships/oleObject" Target="../embeddings/oleObject39.bin"/></Relationships>
</file>

<file path=ppt/slideLayouts/_rels/slideLayout2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2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2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2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2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2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2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0.xml"/></Relationships>
</file>

<file path=ppt/slideLayouts/_rels/slideLayout2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0.xml"/></Relationships>
</file>

<file path=ppt/slideLayouts/_rels/slideLayout2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0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0.xml"/></Relationships>
</file>

<file path=ppt/slideLayouts/_rels/slideLayout261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41.xml"/></Relationships>
</file>

<file path=ppt/slideLayouts/_rels/slideLayout262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41.xml"/></Relationships>
</file>

<file path=ppt/slideLayouts/_rels/slideLayout263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41.xml"/></Relationships>
</file>

<file path=ppt/slideLayouts/_rels/slideLayout264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41.xml"/></Relationships>
</file>

<file path=ppt/slideLayouts/_rels/slideLayout265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41.xml"/></Relationships>
</file>

<file path=ppt/slideLayouts/_rels/slideLayout266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41.xml"/></Relationships>
</file>

<file path=ppt/slideLayouts/_rels/slideLayout267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41.xml"/></Relationships>
</file>

<file path=ppt/slideLayouts/_rels/slideLayout268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41.xml"/></Relationships>
</file>

<file path=ppt/slideLayouts/_rels/slideLayout2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2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4" Type="http://schemas.openxmlformats.org/officeDocument/2006/relationships/oleObject" Target="../embeddings/oleObject12.bin"/></Relationships>
</file>

<file path=ppt/slideLayouts/_rels/slideLayout2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2.xml"/></Relationships>
</file>

<file path=ppt/slideLayouts/_rels/slideLayout2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2.xml"/></Relationships>
</file>

<file path=ppt/slideLayouts/_rels/slideLayout2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2.xml"/></Relationships>
</file>

<file path=ppt/slideLayouts/_rels/slideLayout2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3.xml"/></Relationships>
</file>

<file path=ppt/slideLayouts/_rels/slideLayout2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3.xml"/></Relationships>
</file>

<file path=ppt/slideLayouts/_rels/slideLayout2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3.xml"/></Relationships>
</file>

<file path=ppt/slideLayouts/_rels/slideLayout2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3.xml"/></Relationships>
</file>

<file path=ppt/slideLayouts/_rels/slideLayout27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3.xml"/><Relationship Id="rId2" Type="http://schemas.openxmlformats.org/officeDocument/2006/relationships/tags" Target="../tags/tag42.xml"/><Relationship Id="rId1" Type="http://schemas.openxmlformats.org/officeDocument/2006/relationships/vmlDrawing" Target="../drawings/vmlDrawing41.vml"/><Relationship Id="rId4" Type="http://schemas.openxmlformats.org/officeDocument/2006/relationships/oleObject" Target="../embeddings/oleObject41.bin"/></Relationships>
</file>

<file path=ppt/slideLayouts/_rels/slideLayout2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3.xml"/></Relationships>
</file>

<file path=ppt/slideLayouts/_rels/slideLayout2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3.xml"/></Relationships>
</file>

<file path=ppt/slideLayouts/_rels/slideLayout2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3.xml"/></Relationships>
</file>

<file path=ppt/slideLayouts/_rels/slideLayout2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3.xml"/></Relationships>
</file>

<file path=ppt/slideLayouts/_rels/slideLayout2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3.xml"/></Relationships>
</file>

<file path=ppt/slideLayouts/_rels/slideLayout2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4.xml"/></Relationships>
</file>

<file path=ppt/slideLayouts/_rels/slideLayout2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4.xml"/></Relationships>
</file>

<file path=ppt/slideLayouts/_rels/slideLayout2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4.xml"/></Relationships>
</file>

<file path=ppt/slideLayouts/_rels/slideLayout2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4.xml"/></Relationships>
</file>

<file path=ppt/slideLayouts/_rels/slideLayout2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5.xml"/></Relationships>
</file>

<file path=ppt/slideLayouts/_rels/slideLayout2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5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5.xml"/></Relationships>
</file>

<file path=ppt/slideLayouts/_rels/slideLayout2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5.xml"/></Relationships>
</file>

<file path=ppt/slideLayouts/_rels/slideLayout29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6.xml"/><Relationship Id="rId2" Type="http://schemas.openxmlformats.org/officeDocument/2006/relationships/tags" Target="../tags/tag44.xml"/><Relationship Id="rId1" Type="http://schemas.openxmlformats.org/officeDocument/2006/relationships/vmlDrawing" Target="../drawings/vmlDrawing43.vml"/><Relationship Id="rId5" Type="http://schemas.openxmlformats.org/officeDocument/2006/relationships/image" Target="NULL"/><Relationship Id="rId4" Type="http://schemas.openxmlformats.org/officeDocument/2006/relationships/oleObject" Target="../embeddings/oleObject43.bin"/></Relationships>
</file>

<file path=ppt/slideLayouts/_rels/slideLayout29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6.xml"/><Relationship Id="rId2" Type="http://schemas.openxmlformats.org/officeDocument/2006/relationships/tags" Target="../tags/tag45.xml"/><Relationship Id="rId1" Type="http://schemas.openxmlformats.org/officeDocument/2006/relationships/vmlDrawing" Target="../drawings/vmlDrawing44.vml"/><Relationship Id="rId4" Type="http://schemas.openxmlformats.org/officeDocument/2006/relationships/oleObject" Target="../embeddings/oleObject44.bin"/></Relationships>
</file>

<file path=ppt/slideLayouts/_rels/slideLayout2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6.xml"/></Relationships>
</file>

<file path=ppt/slideLayouts/_rels/slideLayout2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6.xml"/></Relationships>
</file>

<file path=ppt/slideLayouts/_rels/slideLayout2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6.xml"/></Relationships>
</file>

<file path=ppt/slideLayouts/_rels/slideLayout2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6.xml"/></Relationships>
</file>

<file path=ppt/slideLayouts/_rels/slideLayout29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6.xml"/><Relationship Id="rId2" Type="http://schemas.openxmlformats.org/officeDocument/2006/relationships/tags" Target="../tags/tag46.xml"/><Relationship Id="rId1" Type="http://schemas.openxmlformats.org/officeDocument/2006/relationships/vmlDrawing" Target="../drawings/vmlDrawing45.vml"/><Relationship Id="rId4" Type="http://schemas.openxmlformats.org/officeDocument/2006/relationships/oleObject" Target="../embeddings/oleObject45.bin"/></Relationships>
</file>

<file path=ppt/slideLayouts/_rels/slideLayout2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6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6.xml"/></Relationships>
</file>

<file path=ppt/slideLayouts/_rels/slideLayout301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46.xml"/></Relationships>
</file>

<file path=ppt/slideLayouts/_rels/slideLayout30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6.xml"/><Relationship Id="rId2" Type="http://schemas.openxmlformats.org/officeDocument/2006/relationships/tags" Target="../tags/tag47.xml"/><Relationship Id="rId1" Type="http://schemas.openxmlformats.org/officeDocument/2006/relationships/vmlDrawing" Target="../drawings/vmlDrawing46.vml"/><Relationship Id="rId4" Type="http://schemas.openxmlformats.org/officeDocument/2006/relationships/oleObject" Target="../embeddings/oleObject46.bin"/></Relationships>
</file>

<file path=ppt/slideLayouts/_rels/slideLayout30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6.xml"/><Relationship Id="rId2" Type="http://schemas.openxmlformats.org/officeDocument/2006/relationships/tags" Target="../tags/tag48.xml"/><Relationship Id="rId1" Type="http://schemas.openxmlformats.org/officeDocument/2006/relationships/vmlDrawing" Target="../drawings/vmlDrawing47.vml"/><Relationship Id="rId5" Type="http://schemas.openxmlformats.org/officeDocument/2006/relationships/image" Target="NULL"/><Relationship Id="rId4" Type="http://schemas.openxmlformats.org/officeDocument/2006/relationships/oleObject" Target="../embeddings/oleObject47.bin"/></Relationships>
</file>

<file path=ppt/slideLayouts/_rels/slideLayout30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7.xml"/><Relationship Id="rId2" Type="http://schemas.openxmlformats.org/officeDocument/2006/relationships/tags" Target="../tags/tag50.xml"/><Relationship Id="rId1" Type="http://schemas.openxmlformats.org/officeDocument/2006/relationships/vmlDrawing" Target="../drawings/vmlDrawing49.vml"/><Relationship Id="rId5" Type="http://schemas.openxmlformats.org/officeDocument/2006/relationships/image" Target="NULL"/><Relationship Id="rId4" Type="http://schemas.openxmlformats.org/officeDocument/2006/relationships/oleObject" Target="../embeddings/oleObject49.bin"/></Relationships>
</file>

<file path=ppt/slideLayouts/_rels/slideLayout30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7.xml"/><Relationship Id="rId2" Type="http://schemas.openxmlformats.org/officeDocument/2006/relationships/tags" Target="../tags/tag51.xml"/><Relationship Id="rId1" Type="http://schemas.openxmlformats.org/officeDocument/2006/relationships/vmlDrawing" Target="../drawings/vmlDrawing50.vml"/><Relationship Id="rId4" Type="http://schemas.openxmlformats.org/officeDocument/2006/relationships/oleObject" Target="../embeddings/oleObject50.bin"/></Relationships>
</file>

<file path=ppt/slideLayouts/_rels/slideLayout3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7.xml"/></Relationships>
</file>

<file path=ppt/slideLayouts/_rels/slideLayout3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7.xml"/></Relationships>
</file>

<file path=ppt/slideLayouts/_rels/slideLayout3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7.xml"/></Relationships>
</file>

<file path=ppt/slideLayouts/_rels/slideLayout3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7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7.xml"/><Relationship Id="rId2" Type="http://schemas.openxmlformats.org/officeDocument/2006/relationships/tags" Target="../tags/tag52.xml"/><Relationship Id="rId1" Type="http://schemas.openxmlformats.org/officeDocument/2006/relationships/vmlDrawing" Target="../drawings/vmlDrawing51.vml"/><Relationship Id="rId4" Type="http://schemas.openxmlformats.org/officeDocument/2006/relationships/oleObject" Target="../embeddings/oleObject51.bin"/></Relationships>
</file>

<file path=ppt/slideLayouts/_rels/slideLayout3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7.xml"/></Relationships>
</file>

<file path=ppt/slideLayouts/_rels/slideLayout312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47.xml"/></Relationships>
</file>

<file path=ppt/slideLayouts/_rels/slideLayout313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47.xml"/></Relationships>
</file>

<file path=ppt/slideLayouts/_rels/slideLayout3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7.xml"/><Relationship Id="rId2" Type="http://schemas.openxmlformats.org/officeDocument/2006/relationships/tags" Target="../tags/tag53.xml"/><Relationship Id="rId1" Type="http://schemas.openxmlformats.org/officeDocument/2006/relationships/vmlDrawing" Target="../drawings/vmlDrawing52.vml"/><Relationship Id="rId4" Type="http://schemas.openxmlformats.org/officeDocument/2006/relationships/oleObject" Target="../embeddings/oleObject52.bin"/></Relationships>
</file>

<file path=ppt/slideLayouts/_rels/slideLayout3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7.xml"/><Relationship Id="rId2" Type="http://schemas.openxmlformats.org/officeDocument/2006/relationships/tags" Target="../tags/tag54.xml"/><Relationship Id="rId1" Type="http://schemas.openxmlformats.org/officeDocument/2006/relationships/vmlDrawing" Target="../drawings/vmlDrawing53.vml"/><Relationship Id="rId5" Type="http://schemas.openxmlformats.org/officeDocument/2006/relationships/image" Target="NULL"/><Relationship Id="rId4" Type="http://schemas.openxmlformats.org/officeDocument/2006/relationships/oleObject" Target="../embeddings/oleObject53.bin"/></Relationships>
</file>

<file path=ppt/slideLayouts/_rels/slideLayout316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48.xml"/></Relationships>
</file>

<file path=ppt/slideLayouts/_rels/slideLayout317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48.xml"/></Relationships>
</file>

<file path=ppt/slideLayouts/_rels/slideLayout318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48.xml"/></Relationships>
</file>

<file path=ppt/slideLayouts/_rels/slideLayout319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48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20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48.xml"/></Relationships>
</file>

<file path=ppt/slideLayouts/_rels/slideLayout321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48.xml"/></Relationships>
</file>

<file path=ppt/slideLayouts/_rels/slideLayout322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48.xml"/></Relationships>
</file>

<file path=ppt/slideLayouts/_rels/slideLayout323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48.xml"/></Relationships>
</file>

<file path=ppt/slideLayouts/_rels/slideLayout3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9.xml"/></Relationships>
</file>

<file path=ppt/slideLayouts/_rels/slideLayout3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9.xml"/></Relationships>
</file>

<file path=ppt/slideLayouts/_rels/slideLayout3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9.xml"/></Relationships>
</file>

<file path=ppt/slideLayouts/_rels/slideLayout3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9.xml"/></Relationships>
</file>

<file path=ppt/slideLayouts/_rels/slideLayout3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0.xml"/></Relationships>
</file>

<file path=ppt/slideLayouts/_rels/slideLayout3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0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5.xml"/></Relationships>
</file>

<file path=ppt/slideLayouts/_rels/slideLayout3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0.xml"/></Relationships>
</file>

<file path=ppt/slideLayouts/_rels/slideLayout3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0.xml"/></Relationships>
</file>

<file path=ppt/slideLayouts/_rels/slideLayout332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51.xml"/></Relationships>
</file>

<file path=ppt/slideLayouts/_rels/slideLayout333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51.xml"/></Relationships>
</file>

<file path=ppt/slideLayouts/_rels/slideLayout334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51.xml"/></Relationships>
</file>

<file path=ppt/slideLayouts/_rels/slideLayout335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51.xml"/></Relationships>
</file>

<file path=ppt/slideLayouts/_rels/slideLayout336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51.xml"/></Relationships>
</file>

<file path=ppt/slideLayouts/_rels/slideLayout337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51.xml"/></Relationships>
</file>

<file path=ppt/slideLayouts/_rels/slideLayout338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51.xml"/></Relationships>
</file>

<file path=ppt/slideLayouts/_rels/slideLayout339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51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4.vml"/><Relationship Id="rId5" Type="http://schemas.openxmlformats.org/officeDocument/2006/relationships/image" Target="NULL"/><Relationship Id="rId4" Type="http://schemas.openxmlformats.org/officeDocument/2006/relationships/oleObject" Target="../embeddings/oleObject14.bin"/></Relationships>
</file>

<file path=ppt/slideLayouts/_rels/slideLayout3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2.xml"/><Relationship Id="rId2" Type="http://schemas.openxmlformats.org/officeDocument/2006/relationships/tags" Target="../tags/tag56.xml"/><Relationship Id="rId1" Type="http://schemas.openxmlformats.org/officeDocument/2006/relationships/vmlDrawing" Target="../drawings/vmlDrawing55.vml"/><Relationship Id="rId5" Type="http://schemas.openxmlformats.org/officeDocument/2006/relationships/image" Target="NULL"/><Relationship Id="rId4" Type="http://schemas.openxmlformats.org/officeDocument/2006/relationships/oleObject" Target="../embeddings/oleObject55.bin"/></Relationships>
</file>

<file path=ppt/slideLayouts/_rels/slideLayout3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2.xml"/><Relationship Id="rId2" Type="http://schemas.openxmlformats.org/officeDocument/2006/relationships/tags" Target="../tags/tag57.xml"/><Relationship Id="rId1" Type="http://schemas.openxmlformats.org/officeDocument/2006/relationships/vmlDrawing" Target="../drawings/vmlDrawing56.vml"/><Relationship Id="rId4" Type="http://schemas.openxmlformats.org/officeDocument/2006/relationships/oleObject" Target="../embeddings/oleObject56.bin"/></Relationships>
</file>

<file path=ppt/slideLayouts/_rels/slideLayout3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2.xml"/></Relationships>
</file>

<file path=ppt/slideLayouts/_rels/slideLayout3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2.xml"/></Relationships>
</file>

<file path=ppt/slideLayouts/_rels/slideLayout3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2.xml"/></Relationships>
</file>

<file path=ppt/slideLayouts/_rels/slideLayout3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2.xml"/></Relationships>
</file>

<file path=ppt/slideLayouts/_rels/slideLayout3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2.xml"/><Relationship Id="rId2" Type="http://schemas.openxmlformats.org/officeDocument/2006/relationships/tags" Target="../tags/tag58.xml"/><Relationship Id="rId1" Type="http://schemas.openxmlformats.org/officeDocument/2006/relationships/vmlDrawing" Target="../drawings/vmlDrawing57.vml"/><Relationship Id="rId4" Type="http://schemas.openxmlformats.org/officeDocument/2006/relationships/oleObject" Target="../embeddings/oleObject57.bin"/></Relationships>
</file>

<file path=ppt/slideLayouts/_rels/slideLayout3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2.xml"/></Relationships>
</file>

<file path=ppt/slideLayouts/_rels/slideLayout348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52.xml"/></Relationships>
</file>

<file path=ppt/slideLayouts/_rels/slideLayout349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53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6.xml"/><Relationship Id="rId1" Type="http://schemas.openxmlformats.org/officeDocument/2006/relationships/vmlDrawing" Target="../drawings/vmlDrawing15.vml"/><Relationship Id="rId4" Type="http://schemas.openxmlformats.org/officeDocument/2006/relationships/oleObject" Target="../embeddings/oleObject15.bin"/></Relationships>
</file>

<file path=ppt/slideLayouts/_rels/slideLayout350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53.xml"/></Relationships>
</file>

<file path=ppt/slideLayouts/_rels/slideLayout351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53.xml"/></Relationships>
</file>

<file path=ppt/slideLayouts/_rels/slideLayout352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53.xml"/></Relationships>
</file>

<file path=ppt/slideLayouts/_rels/slideLayout353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53.xml"/></Relationships>
</file>

<file path=ppt/slideLayouts/_rels/slideLayout354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53.xml"/></Relationships>
</file>

<file path=ppt/slideLayouts/_rels/slideLayout355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53.xml"/></Relationships>
</file>

<file path=ppt/slideLayouts/_rels/slideLayout356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53.xml"/></Relationships>
</file>

<file path=ppt/slideLayouts/_rels/slideLayout357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54.xml"/></Relationships>
</file>

<file path=ppt/slideLayouts/_rels/slideLayout358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54.xml"/></Relationships>
</file>

<file path=ppt/slideLayouts/_rels/slideLayout359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5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60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54.xml"/></Relationships>
</file>

<file path=ppt/slideLayouts/_rels/slideLayout361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54.xml"/></Relationships>
</file>

<file path=ppt/slideLayouts/_rels/slideLayout362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54.xml"/></Relationships>
</file>

<file path=ppt/slideLayouts/_rels/slideLayout363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54.xml"/></Relationships>
</file>

<file path=ppt/slideLayouts/_rels/slideLayout364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54.xml"/></Relationships>
</file>

<file path=ppt/slideLayouts/_rels/slideLayout365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55.xml"/></Relationships>
</file>

<file path=ppt/slideLayouts/_rels/slideLayout366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55.xml"/></Relationships>
</file>

<file path=ppt/slideLayouts/_rels/slideLayout367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55.xml"/></Relationships>
</file>

<file path=ppt/slideLayouts/_rels/slideLayout368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55.xml"/></Relationships>
</file>

<file path=ppt/slideLayouts/_rels/slideLayout369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55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70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55.xml"/></Relationships>
</file>

<file path=ppt/slideLayouts/_rels/slideLayout371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55.xml"/></Relationships>
</file>

<file path=ppt/slideLayouts/_rels/slideLayout372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55.xml"/></Relationships>
</file>

<file path=ppt/slideLayouts/_rels/slideLayout373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56.xml"/></Relationships>
</file>

<file path=ppt/slideLayouts/_rels/slideLayout374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56.xml"/></Relationships>
</file>

<file path=ppt/slideLayouts/_rels/slideLayout375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56.xml"/></Relationships>
</file>

<file path=ppt/slideLayouts/_rels/slideLayout376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56.xml"/></Relationships>
</file>

<file path=ppt/slideLayouts/_rels/slideLayout377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56.xml"/></Relationships>
</file>

<file path=ppt/slideLayouts/_rels/slideLayout378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56.xml"/></Relationships>
</file>

<file path=ppt/slideLayouts/_rels/slideLayout379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56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80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56.xml"/></Relationships>
</file>

<file path=ppt/slideLayouts/_rels/slideLayout38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7.xml"/><Relationship Id="rId2" Type="http://schemas.openxmlformats.org/officeDocument/2006/relationships/tags" Target="../tags/tag64.xml"/><Relationship Id="rId1" Type="http://schemas.openxmlformats.org/officeDocument/2006/relationships/vmlDrawing" Target="../drawings/vmlDrawing63.vml"/><Relationship Id="rId5" Type="http://schemas.openxmlformats.org/officeDocument/2006/relationships/image" Target="NULL"/><Relationship Id="rId4" Type="http://schemas.openxmlformats.org/officeDocument/2006/relationships/oleObject" Target="../embeddings/oleObject63.bin"/></Relationships>
</file>

<file path=ppt/slideLayouts/_rels/slideLayout38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7.xml"/><Relationship Id="rId2" Type="http://schemas.openxmlformats.org/officeDocument/2006/relationships/tags" Target="../tags/tag65.xml"/><Relationship Id="rId1" Type="http://schemas.openxmlformats.org/officeDocument/2006/relationships/vmlDrawing" Target="../drawings/vmlDrawing64.vml"/><Relationship Id="rId4" Type="http://schemas.openxmlformats.org/officeDocument/2006/relationships/oleObject" Target="../embeddings/oleObject64.bin"/></Relationships>
</file>

<file path=ppt/slideLayouts/_rels/slideLayout3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7.xml"/></Relationships>
</file>

<file path=ppt/slideLayouts/_rels/slideLayout3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7.xml"/></Relationships>
</file>

<file path=ppt/slideLayouts/_rels/slideLayout3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7.xml"/></Relationships>
</file>

<file path=ppt/slideLayouts/_rels/slideLayout3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7.xml"/></Relationships>
</file>

<file path=ppt/slideLayouts/_rels/slideLayout38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7.xml"/><Relationship Id="rId2" Type="http://schemas.openxmlformats.org/officeDocument/2006/relationships/tags" Target="../tags/tag66.xml"/><Relationship Id="rId1" Type="http://schemas.openxmlformats.org/officeDocument/2006/relationships/vmlDrawing" Target="../drawings/vmlDrawing65.vml"/><Relationship Id="rId4" Type="http://schemas.openxmlformats.org/officeDocument/2006/relationships/oleObject" Target="../embeddings/oleObject65.bin"/></Relationships>
</file>

<file path=ppt/slideLayouts/_rels/slideLayout3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7.xml"/></Relationships>
</file>

<file path=ppt/slideLayouts/_rels/slideLayout38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8.xml"/><Relationship Id="rId2" Type="http://schemas.openxmlformats.org/officeDocument/2006/relationships/tags" Target="../tags/tag68.xml"/><Relationship Id="rId1" Type="http://schemas.openxmlformats.org/officeDocument/2006/relationships/vmlDrawing" Target="../drawings/vmlDrawing67.vml"/><Relationship Id="rId5" Type="http://schemas.openxmlformats.org/officeDocument/2006/relationships/image" Target="NULL"/><Relationship Id="rId4" Type="http://schemas.openxmlformats.org/officeDocument/2006/relationships/oleObject" Target="../embeddings/oleObject67.bin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9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8.xml"/><Relationship Id="rId2" Type="http://schemas.openxmlformats.org/officeDocument/2006/relationships/tags" Target="../tags/tag69.xml"/><Relationship Id="rId1" Type="http://schemas.openxmlformats.org/officeDocument/2006/relationships/vmlDrawing" Target="../drawings/vmlDrawing68.vml"/><Relationship Id="rId4" Type="http://schemas.openxmlformats.org/officeDocument/2006/relationships/oleObject" Target="../embeddings/oleObject68.bin"/></Relationships>
</file>

<file path=ppt/slideLayouts/_rels/slideLayout3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8.xml"/></Relationships>
</file>

<file path=ppt/slideLayouts/_rels/slideLayout3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8.xml"/></Relationships>
</file>

<file path=ppt/slideLayouts/_rels/slideLayout3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8.xml"/></Relationships>
</file>

<file path=ppt/slideLayouts/_rels/slideLayout3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8.xml"/></Relationships>
</file>

<file path=ppt/slideLayouts/_rels/slideLayout39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8.xml"/><Relationship Id="rId2" Type="http://schemas.openxmlformats.org/officeDocument/2006/relationships/tags" Target="../tags/tag70.xml"/><Relationship Id="rId1" Type="http://schemas.openxmlformats.org/officeDocument/2006/relationships/vmlDrawing" Target="../drawings/vmlDrawing69.vml"/><Relationship Id="rId4" Type="http://schemas.openxmlformats.org/officeDocument/2006/relationships/oleObject" Target="../embeddings/oleObject69.bin"/></Relationships>
</file>

<file path=ppt/slideLayouts/_rels/slideLayout3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8.xml"/></Relationships>
</file>

<file path=ppt/slideLayouts/_rels/slideLayout397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58.xml"/></Relationships>
</file>

<file path=ppt/slideLayouts/_rels/slideLayout398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58.xml"/></Relationships>
</file>

<file path=ppt/slideLayouts/_rels/slideLayout39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8.xml"/><Relationship Id="rId2" Type="http://schemas.openxmlformats.org/officeDocument/2006/relationships/tags" Target="../tags/tag71.xml"/><Relationship Id="rId1" Type="http://schemas.openxmlformats.org/officeDocument/2006/relationships/vmlDrawing" Target="../drawings/vmlDrawing70.vml"/><Relationship Id="rId5" Type="http://schemas.openxmlformats.org/officeDocument/2006/relationships/image" Target="NULL"/><Relationship Id="rId4" Type="http://schemas.openxmlformats.org/officeDocument/2006/relationships/oleObject" Target="../embeddings/oleObject70.bin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6.vml"/><Relationship Id="rId4" Type="http://schemas.openxmlformats.org/officeDocument/2006/relationships/oleObject" Target="../embeddings/oleObject16.bin"/></Relationships>
</file>

<file path=ppt/slideLayouts/_rels/slideLayout400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59.xml"/></Relationships>
</file>

<file path=ppt/slideLayouts/_rels/slideLayout401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59.xml"/></Relationships>
</file>

<file path=ppt/slideLayouts/_rels/slideLayout402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59.xml"/></Relationships>
</file>

<file path=ppt/slideLayouts/_rels/slideLayout403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59.xml"/></Relationships>
</file>

<file path=ppt/slideLayouts/_rels/slideLayout404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59.xml"/></Relationships>
</file>

<file path=ppt/slideLayouts/_rels/slideLayout405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59.xml"/></Relationships>
</file>

<file path=ppt/slideLayouts/_rels/slideLayout406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59.xml"/></Relationships>
</file>

<file path=ppt/slideLayouts/_rels/slideLayout407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59.xml"/></Relationships>
</file>

<file path=ppt/slideLayouts/_rels/slideLayout4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0.xml"/></Relationships>
</file>

<file path=ppt/slideLayouts/_rels/slideLayout4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0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0.xml"/></Relationships>
</file>

<file path=ppt/slideLayouts/_rels/slideLayout4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0.xml"/></Relationships>
</file>

<file path=ppt/slideLayouts/_rels/slideLayout4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1.xml"/></Relationships>
</file>

<file path=ppt/slideLayouts/_rels/slideLayout4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1.xml"/></Relationships>
</file>

<file path=ppt/slideLayouts/_rels/slideLayout4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1.xml"/></Relationships>
</file>

<file path=ppt/slideLayouts/_rels/slideLayout4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1.xml"/></Relationships>
</file>

<file path=ppt/slideLayouts/_rels/slideLayout4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2.xml"/></Relationships>
</file>

<file path=ppt/slideLayouts/_rels/slideLayout4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2.xml"/></Relationships>
</file>

<file path=ppt/slideLayouts/_rels/slideLayout4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2.xml"/></Relationships>
</file>

<file path=ppt/slideLayouts/_rels/slideLayout4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2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8.xml"/><Relationship Id="rId1" Type="http://schemas.openxmlformats.org/officeDocument/2006/relationships/vmlDrawing" Target="../drawings/vmlDrawing17.vml"/><Relationship Id="rId4" Type="http://schemas.openxmlformats.org/officeDocument/2006/relationships/oleObject" Target="../embeddings/oleObject17.bin"/></Relationships>
</file>

<file path=ppt/slideLayouts/_rels/slideLayout420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63.xml"/></Relationships>
</file>

<file path=ppt/slideLayouts/_rels/slideLayout421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63.xml"/></Relationships>
</file>

<file path=ppt/slideLayouts/_rels/slideLayout422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63.xml"/></Relationships>
</file>

<file path=ppt/slideLayouts/_rels/slideLayout423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63.xml"/></Relationships>
</file>

<file path=ppt/slideLayouts/_rels/slideLayout424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63.xml"/></Relationships>
</file>

<file path=ppt/slideLayouts/_rels/slideLayout425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63.xml"/></Relationships>
</file>

<file path=ppt/slideLayouts/_rels/slideLayout426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63.xml"/></Relationships>
</file>

<file path=ppt/slideLayouts/_rels/slideLayout427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63.xml"/></Relationships>
</file>

<file path=ppt/slideLayouts/_rels/slideLayout4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4.xml"/></Relationships>
</file>

<file path=ppt/slideLayouts/_rels/slideLayout4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4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9.vml"/><Relationship Id="rId5" Type="http://schemas.openxmlformats.org/officeDocument/2006/relationships/image" Target="NULL"/><Relationship Id="rId4" Type="http://schemas.openxmlformats.org/officeDocument/2006/relationships/oleObject" Target="../embeddings/oleObject19.bin"/></Relationships>
</file>

<file path=ppt/slideLayouts/_rels/slideLayout4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4.xml"/></Relationships>
</file>

<file path=ppt/slideLayouts/_rels/slideLayout4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4.xml"/></Relationships>
</file>

<file path=ppt/slideLayouts/_rels/slideLayout4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5.xml"/><Relationship Id="rId2" Type="http://schemas.openxmlformats.org/officeDocument/2006/relationships/tags" Target="../tags/tag73.xml"/><Relationship Id="rId1" Type="http://schemas.openxmlformats.org/officeDocument/2006/relationships/vmlDrawing" Target="../drawings/vmlDrawing72.vml"/><Relationship Id="rId5" Type="http://schemas.openxmlformats.org/officeDocument/2006/relationships/image" Target="NULL"/><Relationship Id="rId4" Type="http://schemas.openxmlformats.org/officeDocument/2006/relationships/oleObject" Target="../embeddings/oleObject72.bin"/></Relationships>
</file>

<file path=ppt/slideLayouts/_rels/slideLayout4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5.xml"/><Relationship Id="rId2" Type="http://schemas.openxmlformats.org/officeDocument/2006/relationships/tags" Target="../tags/tag74.xml"/><Relationship Id="rId1" Type="http://schemas.openxmlformats.org/officeDocument/2006/relationships/vmlDrawing" Target="../drawings/vmlDrawing73.vml"/><Relationship Id="rId4" Type="http://schemas.openxmlformats.org/officeDocument/2006/relationships/oleObject" Target="../embeddings/oleObject73.bin"/></Relationships>
</file>

<file path=ppt/slideLayouts/_rels/slideLayout4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5.xml"/></Relationships>
</file>

<file path=ppt/slideLayouts/_rels/slideLayout4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5.xml"/></Relationships>
</file>

<file path=ppt/slideLayouts/_rels/slideLayout4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5.xml"/></Relationships>
</file>

<file path=ppt/slideLayouts/_rels/slideLayout4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5.xml"/></Relationships>
</file>

<file path=ppt/slideLayouts/_rels/slideLayout4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5.xml"/><Relationship Id="rId2" Type="http://schemas.openxmlformats.org/officeDocument/2006/relationships/tags" Target="../tags/tag75.xml"/><Relationship Id="rId1" Type="http://schemas.openxmlformats.org/officeDocument/2006/relationships/vmlDrawing" Target="../drawings/vmlDrawing74.vml"/><Relationship Id="rId4" Type="http://schemas.openxmlformats.org/officeDocument/2006/relationships/oleObject" Target="../embeddings/oleObject74.bin"/></Relationships>
</file>

<file path=ppt/slideLayouts/_rels/slideLayout4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5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21.xml"/><Relationship Id="rId1" Type="http://schemas.openxmlformats.org/officeDocument/2006/relationships/vmlDrawing" Target="../drawings/vmlDrawing20.vml"/><Relationship Id="rId4" Type="http://schemas.openxmlformats.org/officeDocument/2006/relationships/oleObject" Target="../embeddings/oleObject20.bin"/></Relationships>
</file>

<file path=ppt/slideLayouts/_rels/slideLayout440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66.xml"/></Relationships>
</file>

<file path=ppt/slideLayouts/_rels/slideLayout441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66.xml"/></Relationships>
</file>

<file path=ppt/slideLayouts/_rels/slideLayout442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66.xml"/></Relationships>
</file>

<file path=ppt/slideLayouts/_rels/slideLayout443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66.xml"/></Relationships>
</file>

<file path=ppt/slideLayouts/_rels/slideLayout444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66.xml"/></Relationships>
</file>

<file path=ppt/slideLayouts/_rels/slideLayout445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66.xml"/></Relationships>
</file>

<file path=ppt/slideLayouts/_rels/slideLayout446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66.xml"/></Relationships>
</file>

<file path=ppt/slideLayouts/_rels/slideLayout447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66.xml"/></Relationships>
</file>

<file path=ppt/slideLayouts/_rels/slideLayout4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7.xml"/><Relationship Id="rId2" Type="http://schemas.openxmlformats.org/officeDocument/2006/relationships/tags" Target="../tags/tag78.xml"/><Relationship Id="rId1" Type="http://schemas.openxmlformats.org/officeDocument/2006/relationships/vmlDrawing" Target="../drawings/vmlDrawing77.vml"/><Relationship Id="rId5" Type="http://schemas.openxmlformats.org/officeDocument/2006/relationships/image" Target="NULL"/><Relationship Id="rId4" Type="http://schemas.openxmlformats.org/officeDocument/2006/relationships/oleObject" Target="../embeddings/oleObject77.bin"/></Relationships>
</file>

<file path=ppt/slideLayouts/_rels/slideLayout4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7.xml"/><Relationship Id="rId2" Type="http://schemas.openxmlformats.org/officeDocument/2006/relationships/tags" Target="../tags/tag79.xml"/><Relationship Id="rId1" Type="http://schemas.openxmlformats.org/officeDocument/2006/relationships/vmlDrawing" Target="../drawings/vmlDrawing78.vml"/><Relationship Id="rId4" Type="http://schemas.openxmlformats.org/officeDocument/2006/relationships/oleObject" Target="../embeddings/oleObject78.bin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7.xml"/></Relationships>
</file>

<file path=ppt/slideLayouts/_rels/slideLayout4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7.xml"/></Relationships>
</file>

<file path=ppt/slideLayouts/_rels/slideLayout4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7.xml"/></Relationships>
</file>

<file path=ppt/slideLayouts/_rels/slideLayout4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7.xml"/></Relationships>
</file>

<file path=ppt/slideLayouts/_rels/slideLayout45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7.xml"/><Relationship Id="rId2" Type="http://schemas.openxmlformats.org/officeDocument/2006/relationships/tags" Target="../tags/tag80.xml"/><Relationship Id="rId1" Type="http://schemas.openxmlformats.org/officeDocument/2006/relationships/vmlDrawing" Target="../drawings/vmlDrawing79.vml"/><Relationship Id="rId4" Type="http://schemas.openxmlformats.org/officeDocument/2006/relationships/oleObject" Target="../embeddings/oleObject79.bin"/></Relationships>
</file>

<file path=ppt/slideLayouts/_rels/slideLayout4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7.xml"/></Relationships>
</file>

<file path=ppt/slideLayouts/_rels/slideLayout45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8.xml"/><Relationship Id="rId2" Type="http://schemas.openxmlformats.org/officeDocument/2006/relationships/tags" Target="../tags/tag82.xml"/><Relationship Id="rId1" Type="http://schemas.openxmlformats.org/officeDocument/2006/relationships/vmlDrawing" Target="../drawings/vmlDrawing81.vml"/><Relationship Id="rId5" Type="http://schemas.openxmlformats.org/officeDocument/2006/relationships/image" Target="NULL"/><Relationship Id="rId4" Type="http://schemas.openxmlformats.org/officeDocument/2006/relationships/oleObject" Target="../embeddings/oleObject81.bin"/></Relationships>
</file>

<file path=ppt/slideLayouts/_rels/slideLayout45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8.xml"/><Relationship Id="rId2" Type="http://schemas.openxmlformats.org/officeDocument/2006/relationships/tags" Target="../tags/tag83.xml"/><Relationship Id="rId1" Type="http://schemas.openxmlformats.org/officeDocument/2006/relationships/vmlDrawing" Target="../drawings/vmlDrawing82.vml"/><Relationship Id="rId4" Type="http://schemas.openxmlformats.org/officeDocument/2006/relationships/oleObject" Target="../embeddings/oleObject82.bin"/></Relationships>
</file>

<file path=ppt/slideLayouts/_rels/slideLayout4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8.xml"/></Relationships>
</file>

<file path=ppt/slideLayouts/_rels/slideLayout4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8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8.xml"/></Relationships>
</file>

<file path=ppt/slideLayouts/_rels/slideLayout4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8.xml"/></Relationships>
</file>

<file path=ppt/slideLayouts/_rels/slideLayout46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8.xml"/><Relationship Id="rId2" Type="http://schemas.openxmlformats.org/officeDocument/2006/relationships/tags" Target="../tags/tag84.xml"/><Relationship Id="rId1" Type="http://schemas.openxmlformats.org/officeDocument/2006/relationships/vmlDrawing" Target="../drawings/vmlDrawing83.vml"/><Relationship Id="rId4" Type="http://schemas.openxmlformats.org/officeDocument/2006/relationships/oleObject" Target="../embeddings/oleObject83.bin"/></Relationships>
</file>

<file path=ppt/slideLayouts/_rels/slideLayout4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8.xml"/></Relationships>
</file>

<file path=ppt/slideLayouts/_rels/slideLayout464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68.xml"/></Relationships>
</file>

<file path=ppt/slideLayouts/_rels/slideLayout46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8.xml"/><Relationship Id="rId2" Type="http://schemas.openxmlformats.org/officeDocument/2006/relationships/tags" Target="../tags/tag85.xml"/><Relationship Id="rId1" Type="http://schemas.openxmlformats.org/officeDocument/2006/relationships/vmlDrawing" Target="../drawings/vmlDrawing84.vml"/><Relationship Id="rId4" Type="http://schemas.openxmlformats.org/officeDocument/2006/relationships/oleObject" Target="../embeddings/oleObject84.bin"/></Relationships>
</file>

<file path=ppt/slideLayouts/_rels/slideLayout466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69.xml"/></Relationships>
</file>

<file path=ppt/slideLayouts/_rels/slideLayout467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69.xml"/></Relationships>
</file>

<file path=ppt/slideLayouts/_rels/slideLayout468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69.xml"/></Relationships>
</file>

<file path=ppt/slideLayouts/_rels/slideLayout469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69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70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69.xml"/></Relationships>
</file>

<file path=ppt/slideLayouts/_rels/slideLayout471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69.xml"/></Relationships>
</file>

<file path=ppt/slideLayouts/_rels/slideLayout472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69.xml"/></Relationships>
</file>

<file path=ppt/slideLayouts/_rels/slideLayout473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69.xml"/></Relationships>
</file>

<file path=ppt/slideLayouts/_rels/slideLayout4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0.xml"/></Relationships>
</file>

<file path=ppt/slideLayouts/_rels/slideLayout4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0.xml"/></Relationships>
</file>

<file path=ppt/slideLayouts/_rels/slideLayout4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0.xml"/></Relationships>
</file>

<file path=ppt/slideLayouts/_rels/slideLayout4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0.xml"/></Relationships>
</file>

<file path=ppt/slideLayouts/_rels/slideLayout478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70.xml"/></Relationships>
</file>

<file path=ppt/slideLayouts/_rels/slideLayout4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0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0.xml"/></Relationships>
</file>

<file path=ppt/slideLayouts/_rels/slideLayout4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0.xml"/></Relationships>
</file>

<file path=ppt/slideLayouts/_rels/slideLayout4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0.xml"/></Relationships>
</file>

<file path=ppt/slideLayouts/_rels/slideLayout483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70.xml"/></Relationships>
</file>

<file path=ppt/slideLayouts/_rels/slideLayout484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71.xml"/></Relationships>
</file>

<file path=ppt/slideLayouts/_rels/slideLayout4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1.xml"/></Relationships>
</file>

<file path=ppt/slideLayouts/_rels/slideLayout486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72.xml"/></Relationships>
</file>

<file path=ppt/slideLayouts/_rels/slideLayout487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72.xml"/></Relationships>
</file>

<file path=ppt/slideLayouts/_rels/slideLayout488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72.xml"/></Relationships>
</file>

<file path=ppt/slideLayouts/_rels/slideLayout489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72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22.xml"/><Relationship Id="rId1" Type="http://schemas.openxmlformats.org/officeDocument/2006/relationships/vmlDrawing" Target="../drawings/vmlDrawing21.vml"/><Relationship Id="rId4" Type="http://schemas.openxmlformats.org/officeDocument/2006/relationships/oleObject" Target="../embeddings/oleObject21.bin"/></Relationships>
</file>

<file path=ppt/slideLayouts/_rels/slideLayout490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72.xml"/></Relationships>
</file>

<file path=ppt/slideLayouts/_rels/slideLayout491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72.xml"/></Relationships>
</file>

<file path=ppt/slideLayouts/_rels/slideLayout492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72.xml"/></Relationships>
</file>

<file path=ppt/slideLayouts/_rels/slideLayout493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72.xml"/></Relationships>
</file>

<file path=ppt/slideLayouts/_rels/slideLayout49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3.xml"/><Relationship Id="rId2" Type="http://schemas.openxmlformats.org/officeDocument/2006/relationships/tags" Target="../tags/tag88.xml"/><Relationship Id="rId1" Type="http://schemas.openxmlformats.org/officeDocument/2006/relationships/vmlDrawing" Target="../drawings/vmlDrawing87.vml"/><Relationship Id="rId5" Type="http://schemas.openxmlformats.org/officeDocument/2006/relationships/image" Target="NULL"/><Relationship Id="rId4" Type="http://schemas.openxmlformats.org/officeDocument/2006/relationships/oleObject" Target="../embeddings/oleObject87.bin"/></Relationships>
</file>

<file path=ppt/slideLayouts/_rels/slideLayout49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3.xml"/><Relationship Id="rId2" Type="http://schemas.openxmlformats.org/officeDocument/2006/relationships/tags" Target="../tags/tag89.xml"/><Relationship Id="rId1" Type="http://schemas.openxmlformats.org/officeDocument/2006/relationships/vmlDrawing" Target="../drawings/vmlDrawing88.vml"/><Relationship Id="rId4" Type="http://schemas.openxmlformats.org/officeDocument/2006/relationships/oleObject" Target="../embeddings/oleObject88.bin"/></Relationships>
</file>

<file path=ppt/slideLayouts/_rels/slideLayout4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3.xml"/></Relationships>
</file>

<file path=ppt/slideLayouts/_rels/slideLayout4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3.xml"/></Relationships>
</file>

<file path=ppt/slideLayouts/_rels/slideLayout4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3.xml"/></Relationships>
</file>

<file path=ppt/slideLayouts/_rels/slideLayout4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0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3.xml"/><Relationship Id="rId2" Type="http://schemas.openxmlformats.org/officeDocument/2006/relationships/tags" Target="../tags/tag90.xml"/><Relationship Id="rId1" Type="http://schemas.openxmlformats.org/officeDocument/2006/relationships/vmlDrawing" Target="../drawings/vmlDrawing89.vml"/><Relationship Id="rId4" Type="http://schemas.openxmlformats.org/officeDocument/2006/relationships/oleObject" Target="../embeddings/oleObject89.bin"/></Relationships>
</file>

<file path=ppt/slideLayouts/_rels/slideLayout5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3.xml"/></Relationships>
</file>

<file path=ppt/slideLayouts/_rels/slideLayout50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4.xml"/><Relationship Id="rId2" Type="http://schemas.openxmlformats.org/officeDocument/2006/relationships/tags" Target="../tags/tag92.xml"/><Relationship Id="rId1" Type="http://schemas.openxmlformats.org/officeDocument/2006/relationships/vmlDrawing" Target="../drawings/vmlDrawing91.vml"/><Relationship Id="rId5" Type="http://schemas.openxmlformats.org/officeDocument/2006/relationships/image" Target="NULL"/><Relationship Id="rId4" Type="http://schemas.openxmlformats.org/officeDocument/2006/relationships/oleObject" Target="../embeddings/oleObject91.bin"/></Relationships>
</file>

<file path=ppt/slideLayouts/_rels/slideLayout50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4.xml"/><Relationship Id="rId2" Type="http://schemas.openxmlformats.org/officeDocument/2006/relationships/tags" Target="../tags/tag93.xml"/><Relationship Id="rId1" Type="http://schemas.openxmlformats.org/officeDocument/2006/relationships/vmlDrawing" Target="../drawings/vmlDrawing92.vml"/><Relationship Id="rId4" Type="http://schemas.openxmlformats.org/officeDocument/2006/relationships/oleObject" Target="../embeddings/oleObject92.bin"/></Relationships>
</file>

<file path=ppt/slideLayouts/_rels/slideLayout5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4.xml"/></Relationships>
</file>

<file path=ppt/slideLayouts/_rels/slideLayout5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4.xml"/></Relationships>
</file>

<file path=ppt/slideLayouts/_rels/slideLayout5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4.xml"/></Relationships>
</file>

<file path=ppt/slideLayouts/_rels/slideLayout5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4.xml"/></Relationships>
</file>

<file path=ppt/slideLayouts/_rels/slideLayout50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4.xml"/><Relationship Id="rId2" Type="http://schemas.openxmlformats.org/officeDocument/2006/relationships/tags" Target="../tags/tag94.xml"/><Relationship Id="rId1" Type="http://schemas.openxmlformats.org/officeDocument/2006/relationships/vmlDrawing" Target="../drawings/vmlDrawing93.vml"/><Relationship Id="rId4" Type="http://schemas.openxmlformats.org/officeDocument/2006/relationships/oleObject" Target="../embeddings/oleObject93.bin"/></Relationships>
</file>

<file path=ppt/slideLayouts/_rels/slideLayout5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4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24.xml"/><Relationship Id="rId1" Type="http://schemas.openxmlformats.org/officeDocument/2006/relationships/vmlDrawing" Target="../drawings/vmlDrawing23.vml"/><Relationship Id="rId5" Type="http://schemas.openxmlformats.org/officeDocument/2006/relationships/image" Target="NULL"/><Relationship Id="rId4" Type="http://schemas.openxmlformats.org/officeDocument/2006/relationships/oleObject" Target="../embeddings/oleObject23.bin"/></Relationships>
</file>

<file path=ppt/slideLayouts/_rels/slideLayout5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5.xml"/></Relationships>
</file>

<file path=ppt/slideLayouts/_rels/slideLayout5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5.xml"/></Relationships>
</file>

<file path=ppt/slideLayouts/_rels/slideLayout5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5.xml"/></Relationships>
</file>

<file path=ppt/slideLayouts/_rels/slideLayout5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5.xml"/></Relationships>
</file>

<file path=ppt/slideLayouts/_rels/slideLayout5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6.xml"/></Relationships>
</file>

<file path=ppt/slideLayouts/_rels/slideLayout5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6.xml"/></Relationships>
</file>

<file path=ppt/slideLayouts/_rels/slideLayout5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6.xml"/></Relationships>
</file>

<file path=ppt/slideLayouts/_rels/slideLayout5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6.xml"/></Relationships>
</file>

<file path=ppt/slideLayouts/_rels/slideLayout5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6.xml"/><Relationship Id="rId2" Type="http://schemas.openxmlformats.org/officeDocument/2006/relationships/tags" Target="../tags/tag96.xml"/><Relationship Id="rId1" Type="http://schemas.openxmlformats.org/officeDocument/2006/relationships/vmlDrawing" Target="../drawings/vmlDrawing95.vml"/><Relationship Id="rId4" Type="http://schemas.openxmlformats.org/officeDocument/2006/relationships/oleObject" Target="../embeddings/oleObject95.bin"/></Relationships>
</file>

<file path=ppt/slideLayouts/_rels/slideLayout5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6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25.xml"/><Relationship Id="rId1" Type="http://schemas.openxmlformats.org/officeDocument/2006/relationships/vmlDrawing" Target="../drawings/vmlDrawing24.vml"/><Relationship Id="rId4" Type="http://schemas.openxmlformats.org/officeDocument/2006/relationships/oleObject" Target="../embeddings/oleObject24.bin"/></Relationships>
</file>

<file path=ppt/slideLayouts/_rels/slideLayout5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6.xml"/></Relationships>
</file>

<file path=ppt/slideLayouts/_rels/slideLayout5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6.xml"/></Relationships>
</file>

<file path=ppt/slideLayouts/_rels/slideLayout5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6.xml"/></Relationships>
</file>

<file path=ppt/slideLayouts/_rels/slideLayout5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6.xml"/></Relationships>
</file>

<file path=ppt/slideLayouts/_rels/slideLayout5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6.xml"/></Relationships>
</file>

<file path=ppt/slideLayouts/_rels/slideLayout5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7.xml"/></Relationships>
</file>

<file path=ppt/slideLayouts/_rels/slideLayout5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7.xml"/></Relationships>
</file>

<file path=ppt/slideLayouts/_rels/slideLayout5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7.xml"/></Relationships>
</file>

<file path=ppt/slideLayouts/_rels/slideLayout5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7.xml"/></Relationships>
</file>

<file path=ppt/slideLayouts/_rels/slideLayout5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8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8.xml"/></Relationships>
</file>

<file path=ppt/slideLayouts/_rels/slideLayout5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8.xml"/></Relationships>
</file>

<file path=ppt/slideLayouts/_rels/slideLayout5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8.xml"/></Relationships>
</file>

<file path=ppt/slideLayouts/_rels/slideLayout5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9.xml"/></Relationships>
</file>

<file path=ppt/slideLayouts/_rels/slideLayout5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9.xml"/></Relationships>
</file>

<file path=ppt/slideLayouts/_rels/slideLayout5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9.xml"/></Relationships>
</file>

<file path=ppt/slideLayouts/_rels/slideLayout5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9.xml"/></Relationships>
</file>

<file path=ppt/slideLayouts/_rels/slideLayout5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0.xml"/></Relationships>
</file>

<file path=ppt/slideLayouts/_rels/slideLayout5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0.xml"/></Relationships>
</file>

<file path=ppt/slideLayouts/_rels/slideLayout5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0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0.xml"/></Relationships>
</file>

<file path=ppt/slideLayouts/_rels/slideLayout541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80.xml"/></Relationships>
</file>

<file path=ppt/slideLayouts/_rels/slideLayout5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0.xml"/></Relationships>
</file>

<file path=ppt/slideLayouts/_rels/slideLayout5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0.xml"/></Relationships>
</file>

<file path=ppt/slideLayouts/_rels/slideLayout5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0.xml"/></Relationships>
</file>

<file path=ppt/slideLayouts/_rels/slideLayout5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0.xml"/></Relationships>
</file>

<file path=ppt/slideLayouts/_rels/slideLayout546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80.xml"/></Relationships>
</file>

<file path=ppt/slideLayouts/_rels/slideLayout547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81.xml"/></Relationships>
</file>

<file path=ppt/slideLayouts/_rels/slideLayout5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1.xml"/></Relationships>
</file>

<file path=ppt/slideLayouts/_rels/slideLayout5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2.xml"/><Relationship Id="rId2" Type="http://schemas.openxmlformats.org/officeDocument/2006/relationships/tags" Target="../tags/tag99.xml"/><Relationship Id="rId1" Type="http://schemas.openxmlformats.org/officeDocument/2006/relationships/vmlDrawing" Target="../drawings/vmlDrawing98.vml"/><Relationship Id="rId5" Type="http://schemas.openxmlformats.org/officeDocument/2006/relationships/image" Target="NULL"/><Relationship Id="rId4" Type="http://schemas.openxmlformats.org/officeDocument/2006/relationships/oleObject" Target="../embeddings/oleObject98.bin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5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2.xml"/><Relationship Id="rId2" Type="http://schemas.openxmlformats.org/officeDocument/2006/relationships/tags" Target="../tags/tag100.xml"/><Relationship Id="rId1" Type="http://schemas.openxmlformats.org/officeDocument/2006/relationships/vmlDrawing" Target="../drawings/vmlDrawing99.vml"/><Relationship Id="rId4" Type="http://schemas.openxmlformats.org/officeDocument/2006/relationships/oleObject" Target="../embeddings/oleObject99.bin"/></Relationships>
</file>

<file path=ppt/slideLayouts/_rels/slideLayout5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2.xml"/></Relationships>
</file>

<file path=ppt/slideLayouts/_rels/slideLayout5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2.xml"/></Relationships>
</file>

<file path=ppt/slideLayouts/_rels/slideLayout5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2.xml"/></Relationships>
</file>

<file path=ppt/slideLayouts/_rels/slideLayout5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2.xml"/></Relationships>
</file>

<file path=ppt/slideLayouts/_rels/slideLayout55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2.xml"/><Relationship Id="rId2" Type="http://schemas.openxmlformats.org/officeDocument/2006/relationships/tags" Target="../tags/tag101.xml"/><Relationship Id="rId1" Type="http://schemas.openxmlformats.org/officeDocument/2006/relationships/vmlDrawing" Target="../drawings/vmlDrawing100.vml"/><Relationship Id="rId4" Type="http://schemas.openxmlformats.org/officeDocument/2006/relationships/oleObject" Target="../embeddings/oleObject100.bin"/></Relationships>
</file>

<file path=ppt/slideLayouts/_rels/slideLayout5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2.xml"/></Relationships>
</file>

<file path=ppt/slideLayouts/_rels/slideLayout557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82.xml"/></Relationships>
</file>

<file path=ppt/slideLayouts/_rels/slideLayout55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2.xml"/><Relationship Id="rId2" Type="http://schemas.openxmlformats.org/officeDocument/2006/relationships/tags" Target="../tags/tag102.xml"/><Relationship Id="rId1" Type="http://schemas.openxmlformats.org/officeDocument/2006/relationships/vmlDrawing" Target="../drawings/vmlDrawing101.vml"/><Relationship Id="rId4" Type="http://schemas.openxmlformats.org/officeDocument/2006/relationships/oleObject" Target="../embeddings/oleObject101.bin"/></Relationships>
</file>

<file path=ppt/slideLayouts/_rels/slideLayout5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3.xml"/></Relationships>
</file>

<file path=ppt/slideLayouts/_rels/slideLayout5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3.xml"/></Relationships>
</file>

<file path=ppt/slideLayouts/_rels/slideLayout5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3.xml"/></Relationships>
</file>

<file path=ppt/slideLayouts/_rels/slideLayout563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83.xml"/></Relationships>
</file>

<file path=ppt/slideLayouts/_rels/slideLayout5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3.xml"/></Relationships>
</file>

<file path=ppt/slideLayouts/_rels/slideLayout5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3.xml"/></Relationships>
</file>

<file path=ppt/slideLayouts/_rels/slideLayout5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3.xml"/></Relationships>
</file>

<file path=ppt/slideLayouts/_rels/slideLayout5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3.xml"/></Relationships>
</file>

<file path=ppt/slideLayouts/_rels/slideLayout568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84.xml"/></Relationships>
</file>

<file path=ppt/slideLayouts/_rels/slideLayout569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84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26.xml"/><Relationship Id="rId1" Type="http://schemas.openxmlformats.org/officeDocument/2006/relationships/vmlDrawing" Target="../drawings/vmlDrawing25.vml"/><Relationship Id="rId4" Type="http://schemas.openxmlformats.org/officeDocument/2006/relationships/oleObject" Target="../embeddings/oleObject25.bin"/></Relationships>
</file>

<file path=ppt/slideLayouts/_rels/slideLayout570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84.xml"/></Relationships>
</file>

<file path=ppt/slideLayouts/_rels/slideLayout571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84.xml"/></Relationships>
</file>

<file path=ppt/slideLayouts/_rels/slideLayout572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84.xml"/></Relationships>
</file>

<file path=ppt/slideLayouts/_rels/slideLayout573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84.xml"/></Relationships>
</file>

<file path=ppt/slideLayouts/_rels/slideLayout574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84.xml"/></Relationships>
</file>

<file path=ppt/slideLayouts/_rels/slideLayout575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84.xml"/></Relationships>
</file>

<file path=ppt/slideLayouts/_rels/slideLayout57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5.xml"/><Relationship Id="rId2" Type="http://schemas.openxmlformats.org/officeDocument/2006/relationships/tags" Target="../tags/tag105.xml"/><Relationship Id="rId1" Type="http://schemas.openxmlformats.org/officeDocument/2006/relationships/vmlDrawing" Target="../drawings/vmlDrawing104.vml"/><Relationship Id="rId5" Type="http://schemas.openxmlformats.org/officeDocument/2006/relationships/image" Target="NULL"/><Relationship Id="rId4" Type="http://schemas.openxmlformats.org/officeDocument/2006/relationships/oleObject" Target="../embeddings/oleObject104.bin"/></Relationships>
</file>

<file path=ppt/slideLayouts/_rels/slideLayout57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5.xml"/><Relationship Id="rId2" Type="http://schemas.openxmlformats.org/officeDocument/2006/relationships/tags" Target="../tags/tag106.xml"/><Relationship Id="rId1" Type="http://schemas.openxmlformats.org/officeDocument/2006/relationships/vmlDrawing" Target="../drawings/vmlDrawing105.vml"/><Relationship Id="rId4" Type="http://schemas.openxmlformats.org/officeDocument/2006/relationships/oleObject" Target="../embeddings/oleObject105.bin"/></Relationships>
</file>

<file path=ppt/slideLayouts/_rels/slideLayout5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5.xml"/></Relationships>
</file>

<file path=ppt/slideLayouts/_rels/slideLayout5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5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5.xml"/></Relationships>
</file>

<file path=ppt/slideLayouts/_rels/slideLayout5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5.xml"/></Relationships>
</file>

<file path=ppt/slideLayouts/_rels/slideLayout58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5.xml"/><Relationship Id="rId2" Type="http://schemas.openxmlformats.org/officeDocument/2006/relationships/tags" Target="../tags/tag107.xml"/><Relationship Id="rId1" Type="http://schemas.openxmlformats.org/officeDocument/2006/relationships/vmlDrawing" Target="../drawings/vmlDrawing106.vml"/><Relationship Id="rId4" Type="http://schemas.openxmlformats.org/officeDocument/2006/relationships/oleObject" Target="../embeddings/oleObject106.bin"/></Relationships>
</file>

<file path=ppt/slideLayouts/_rels/slideLayout5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5.xml"/></Relationships>
</file>

<file path=ppt/slideLayouts/_rels/slideLayout584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85.xml"/></Relationships>
</file>

<file path=ppt/slideLayouts/_rels/slideLayout58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5.xml"/><Relationship Id="rId2" Type="http://schemas.openxmlformats.org/officeDocument/2006/relationships/tags" Target="../tags/tag108.xml"/><Relationship Id="rId1" Type="http://schemas.openxmlformats.org/officeDocument/2006/relationships/vmlDrawing" Target="../drawings/vmlDrawing107.vml"/><Relationship Id="rId4" Type="http://schemas.openxmlformats.org/officeDocument/2006/relationships/oleObject" Target="../embeddings/oleObject107.bin"/></Relationships>
</file>

<file path=ppt/slideLayouts/_rels/slideLayout58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6.xml"/><Relationship Id="rId2" Type="http://schemas.openxmlformats.org/officeDocument/2006/relationships/tags" Target="../tags/tag110.xml"/><Relationship Id="rId1" Type="http://schemas.openxmlformats.org/officeDocument/2006/relationships/vmlDrawing" Target="../drawings/vmlDrawing109.vml"/><Relationship Id="rId5" Type="http://schemas.openxmlformats.org/officeDocument/2006/relationships/image" Target="NULL"/><Relationship Id="rId4" Type="http://schemas.openxmlformats.org/officeDocument/2006/relationships/oleObject" Target="../embeddings/oleObject109.bin"/></Relationships>
</file>

<file path=ppt/slideLayouts/_rels/slideLayout58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6.xml"/><Relationship Id="rId2" Type="http://schemas.openxmlformats.org/officeDocument/2006/relationships/tags" Target="../tags/tag111.xml"/><Relationship Id="rId1" Type="http://schemas.openxmlformats.org/officeDocument/2006/relationships/vmlDrawing" Target="../drawings/vmlDrawing110.vml"/><Relationship Id="rId4" Type="http://schemas.openxmlformats.org/officeDocument/2006/relationships/oleObject" Target="../embeddings/oleObject110.bin"/></Relationships>
</file>

<file path=ppt/slideLayouts/_rels/slideLayout5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6.xml"/></Relationships>
</file>

<file path=ppt/slideLayouts/_rels/slideLayout5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6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28.xml"/><Relationship Id="rId1" Type="http://schemas.openxmlformats.org/officeDocument/2006/relationships/vmlDrawing" Target="../drawings/vmlDrawing27.vml"/><Relationship Id="rId5" Type="http://schemas.openxmlformats.org/officeDocument/2006/relationships/image" Target="NULL"/><Relationship Id="rId4" Type="http://schemas.openxmlformats.org/officeDocument/2006/relationships/oleObject" Target="../embeddings/oleObject27.bin"/></Relationships>
</file>

<file path=ppt/slideLayouts/_rels/slideLayout5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6.xml"/></Relationships>
</file>

<file path=ppt/slideLayouts/_rels/slideLayout5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6.xml"/></Relationships>
</file>

<file path=ppt/slideLayouts/_rels/slideLayout59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6.xml"/><Relationship Id="rId2" Type="http://schemas.openxmlformats.org/officeDocument/2006/relationships/tags" Target="../tags/tag112.xml"/><Relationship Id="rId1" Type="http://schemas.openxmlformats.org/officeDocument/2006/relationships/vmlDrawing" Target="../drawings/vmlDrawing111.vml"/><Relationship Id="rId4" Type="http://schemas.openxmlformats.org/officeDocument/2006/relationships/oleObject" Target="../embeddings/oleObject111.bin"/></Relationships>
</file>

<file path=ppt/slideLayouts/_rels/slideLayout5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6.xml"/></Relationships>
</file>

<file path=ppt/slideLayouts/_rels/slideLayout59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7.xml"/><Relationship Id="rId2" Type="http://schemas.openxmlformats.org/officeDocument/2006/relationships/tags" Target="../tags/tag114.xml"/><Relationship Id="rId1" Type="http://schemas.openxmlformats.org/officeDocument/2006/relationships/vmlDrawing" Target="../drawings/vmlDrawing113.vml"/><Relationship Id="rId5" Type="http://schemas.openxmlformats.org/officeDocument/2006/relationships/image" Target="NULL"/><Relationship Id="rId4" Type="http://schemas.openxmlformats.org/officeDocument/2006/relationships/oleObject" Target="../embeddings/oleObject113.bin"/></Relationships>
</file>

<file path=ppt/slideLayouts/_rels/slideLayout59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7.xml"/><Relationship Id="rId2" Type="http://schemas.openxmlformats.org/officeDocument/2006/relationships/tags" Target="../tags/tag115.xml"/><Relationship Id="rId1" Type="http://schemas.openxmlformats.org/officeDocument/2006/relationships/vmlDrawing" Target="../drawings/vmlDrawing114.vml"/><Relationship Id="rId4" Type="http://schemas.openxmlformats.org/officeDocument/2006/relationships/oleObject" Target="../embeddings/oleObject114.bin"/></Relationships>
</file>

<file path=ppt/slideLayouts/_rels/slideLayout5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7.xml"/></Relationships>
</file>

<file path=ppt/slideLayouts/_rels/slideLayout5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7.xml"/></Relationships>
</file>

<file path=ppt/slideLayouts/_rels/slideLayout5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7.xml"/></Relationships>
</file>

<file path=ppt/slideLayouts/_rels/slideLayout5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7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29.xml"/><Relationship Id="rId1" Type="http://schemas.openxmlformats.org/officeDocument/2006/relationships/vmlDrawing" Target="../drawings/vmlDrawing28.vml"/><Relationship Id="rId4" Type="http://schemas.openxmlformats.org/officeDocument/2006/relationships/oleObject" Target="../embeddings/oleObject28.bin"/></Relationships>
</file>

<file path=ppt/slideLayouts/_rels/slideLayout60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7.xml"/><Relationship Id="rId2" Type="http://schemas.openxmlformats.org/officeDocument/2006/relationships/tags" Target="../tags/tag116.xml"/><Relationship Id="rId1" Type="http://schemas.openxmlformats.org/officeDocument/2006/relationships/vmlDrawing" Target="../drawings/vmlDrawing115.vml"/><Relationship Id="rId4" Type="http://schemas.openxmlformats.org/officeDocument/2006/relationships/oleObject" Target="../embeddings/oleObject115.bin"/></Relationships>
</file>

<file path=ppt/slideLayouts/_rels/slideLayout6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7.xml"/></Relationships>
</file>

<file path=ppt/slideLayouts/_rels/slideLayout602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88.xml"/></Relationships>
</file>

<file path=ppt/slideLayouts/_rels/slideLayout603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88.xml"/></Relationships>
</file>

<file path=ppt/slideLayouts/_rels/slideLayout604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88.xml"/></Relationships>
</file>

<file path=ppt/slideLayouts/_rels/slideLayout605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88.xml"/></Relationships>
</file>

<file path=ppt/slideLayouts/_rels/slideLayout606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88.xml"/></Relationships>
</file>

<file path=ppt/slideLayouts/_rels/slideLayout607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88.xml"/></Relationships>
</file>

<file path=ppt/slideLayouts/_rels/slideLayout608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88.xml"/></Relationships>
</file>

<file path=ppt/slideLayouts/_rels/slideLayout609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88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9.xml"/><Relationship Id="rId2" Type="http://schemas.openxmlformats.org/officeDocument/2006/relationships/tags" Target="../tags/tag119.xml"/><Relationship Id="rId1" Type="http://schemas.openxmlformats.org/officeDocument/2006/relationships/vmlDrawing" Target="../drawings/vmlDrawing118.vml"/><Relationship Id="rId5" Type="http://schemas.openxmlformats.org/officeDocument/2006/relationships/image" Target="NULL"/><Relationship Id="rId4" Type="http://schemas.openxmlformats.org/officeDocument/2006/relationships/oleObject" Target="../embeddings/oleObject118.bin"/></Relationships>
</file>

<file path=ppt/slideLayouts/_rels/slideLayout6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9.xml"/><Relationship Id="rId2" Type="http://schemas.openxmlformats.org/officeDocument/2006/relationships/tags" Target="../tags/tag120.xml"/><Relationship Id="rId1" Type="http://schemas.openxmlformats.org/officeDocument/2006/relationships/vmlDrawing" Target="../drawings/vmlDrawing119.vml"/><Relationship Id="rId4" Type="http://schemas.openxmlformats.org/officeDocument/2006/relationships/oleObject" Target="../embeddings/oleObject119.bin"/></Relationships>
</file>

<file path=ppt/slideLayouts/_rels/slideLayout6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9.xml"/></Relationships>
</file>

<file path=ppt/slideLayouts/_rels/slideLayout6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9.xml"/></Relationships>
</file>

<file path=ppt/slideLayouts/_rels/slideLayout6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9.xml"/></Relationships>
</file>

<file path=ppt/slideLayouts/_rels/slideLayout6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9.xml"/></Relationships>
</file>

<file path=ppt/slideLayouts/_rels/slideLayout6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9.xml"/><Relationship Id="rId2" Type="http://schemas.openxmlformats.org/officeDocument/2006/relationships/tags" Target="../tags/tag121.xml"/><Relationship Id="rId1" Type="http://schemas.openxmlformats.org/officeDocument/2006/relationships/vmlDrawing" Target="../drawings/vmlDrawing120.vml"/><Relationship Id="rId4" Type="http://schemas.openxmlformats.org/officeDocument/2006/relationships/oleObject" Target="../embeddings/oleObject120.bin"/></Relationships>
</file>

<file path=ppt/slideLayouts/_rels/slideLayout6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9.xml"/></Relationships>
</file>

<file path=ppt/slideLayouts/_rels/slideLayout6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0.xml"/><Relationship Id="rId2" Type="http://schemas.openxmlformats.org/officeDocument/2006/relationships/tags" Target="../tags/tag123.xml"/><Relationship Id="rId1" Type="http://schemas.openxmlformats.org/officeDocument/2006/relationships/vmlDrawing" Target="../drawings/vmlDrawing122.vml"/><Relationship Id="rId5" Type="http://schemas.openxmlformats.org/officeDocument/2006/relationships/image" Target="NULL"/><Relationship Id="rId4" Type="http://schemas.openxmlformats.org/officeDocument/2006/relationships/oleObject" Target="../embeddings/oleObject122.bin"/></Relationships>
</file>

<file path=ppt/slideLayouts/_rels/slideLayout6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0.xml"/><Relationship Id="rId2" Type="http://schemas.openxmlformats.org/officeDocument/2006/relationships/tags" Target="../tags/tag124.xml"/><Relationship Id="rId1" Type="http://schemas.openxmlformats.org/officeDocument/2006/relationships/vmlDrawing" Target="../drawings/vmlDrawing123.vml"/><Relationship Id="rId4" Type="http://schemas.openxmlformats.org/officeDocument/2006/relationships/oleObject" Target="../embeddings/oleObject123.bin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0.xml"/></Relationships>
</file>

<file path=ppt/slideLayouts/_rels/slideLayout6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0.xml"/></Relationships>
</file>

<file path=ppt/slideLayouts/_rels/slideLayout6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0.xml"/></Relationships>
</file>

<file path=ppt/slideLayouts/_rels/slideLayout6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0.xml"/></Relationships>
</file>

<file path=ppt/slideLayouts/_rels/slideLayout6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0.xml"/><Relationship Id="rId2" Type="http://schemas.openxmlformats.org/officeDocument/2006/relationships/tags" Target="../tags/tag125.xml"/><Relationship Id="rId1" Type="http://schemas.openxmlformats.org/officeDocument/2006/relationships/vmlDrawing" Target="../drawings/vmlDrawing124.vml"/><Relationship Id="rId4" Type="http://schemas.openxmlformats.org/officeDocument/2006/relationships/oleObject" Target="../embeddings/oleObject124.bin"/></Relationships>
</file>

<file path=ppt/slideLayouts/_rels/slideLayout6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0.xml"/></Relationships>
</file>

<file path=ppt/slideLayouts/_rels/slideLayout626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91.xml"/></Relationships>
</file>

<file path=ppt/slideLayouts/_rels/slideLayout627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91.xml"/></Relationships>
</file>

<file path=ppt/slideLayouts/_rels/slideLayout628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91.xml"/></Relationships>
</file>

<file path=ppt/slideLayouts/_rels/slideLayout629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91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30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91.xml"/></Relationships>
</file>

<file path=ppt/slideLayouts/_rels/slideLayout631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91.xml"/></Relationships>
</file>

<file path=ppt/slideLayouts/_rels/slideLayout632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91.xml"/></Relationships>
</file>

<file path=ppt/slideLayouts/_rels/slideLayout633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91.xml"/></Relationships>
</file>

<file path=ppt/slideLayouts/_rels/slideLayout6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2.xml"/></Relationships>
</file>

<file path=ppt/slideLayouts/_rels/slideLayout6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2.xml"/></Relationships>
</file>

<file path=ppt/slideLayouts/_rels/slideLayout6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2.xml"/></Relationships>
</file>

<file path=ppt/slideLayouts/_rels/slideLayout6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2.xml"/></Relationships>
</file>

<file path=ppt/slideLayouts/_rels/slideLayout6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3.xml"/></Relationships>
</file>

<file path=ppt/slideLayouts/_rels/slideLayout6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3.xml"/></Relationships>
</file>

<file path=ppt/slideLayouts/_rels/slideLayout6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3.xml"/></Relationships>
</file>

<file path=ppt/slideLayouts/_rels/slideLayout6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4.xml"/></Relationships>
</file>

<file path=ppt/slideLayouts/_rels/slideLayout6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4.xml"/></Relationships>
</file>

<file path=ppt/slideLayouts/_rels/slideLayout6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4.xml"/></Relationships>
</file>

<file path=ppt/slideLayouts/_rels/slideLayout6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4.xml"/></Relationships>
</file>

<file path=ppt/slideLayouts/_rels/slideLayout6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5.xml"/></Relationships>
</file>

<file path=ppt/slideLayouts/_rels/slideLayout6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5.xml"/></Relationships>
</file>

<file path=ppt/slideLayouts/_rels/slideLayout6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5.xml"/></Relationships>
</file>

<file path=ppt/slideLayouts/_rels/slideLayout6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5.xml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30.xml"/><Relationship Id="rId1" Type="http://schemas.openxmlformats.org/officeDocument/2006/relationships/vmlDrawing" Target="../drawings/vmlDrawing29.vml"/><Relationship Id="rId4" Type="http://schemas.openxmlformats.org/officeDocument/2006/relationships/oleObject" Target="../embeddings/oleObject29.bin"/></Relationships>
</file>

<file path=ppt/slideLayouts/_rels/slideLayout6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6.xml"/></Relationships>
</file>

<file path=ppt/slideLayouts/_rels/slideLayout6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6.xml"/></Relationships>
</file>

<file path=ppt/slideLayouts/_rels/slideLayout6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6.xml"/></Relationships>
</file>

<file path=ppt/slideLayouts/_rels/slideLayout6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6.xml"/></Relationships>
</file>

<file path=ppt/slideLayouts/_rels/slideLayout65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6.xml"/><Relationship Id="rId2" Type="http://schemas.openxmlformats.org/officeDocument/2006/relationships/tags" Target="../tags/tag128.xml"/><Relationship Id="rId1" Type="http://schemas.openxmlformats.org/officeDocument/2006/relationships/vmlDrawing" Target="../drawings/vmlDrawing127.vml"/><Relationship Id="rId4" Type="http://schemas.openxmlformats.org/officeDocument/2006/relationships/oleObject" Target="../embeddings/oleObject127.bin"/></Relationships>
</file>

<file path=ppt/slideLayouts/_rels/slideLayout6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6.xml"/></Relationships>
</file>

<file path=ppt/slideLayouts/_rels/slideLayout6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6.xml"/></Relationships>
</file>

<file path=ppt/slideLayouts/_rels/slideLayout6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6.xml"/></Relationships>
</file>

<file path=ppt/slideLayouts/_rels/slideLayout6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6.xml"/></Relationships>
</file>

<file path=ppt/slideLayouts/_rels/slideLayout6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6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6.xml"/></Relationships>
</file>

<file path=ppt/slideLayouts/_rels/slideLayout6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7.xml"/></Relationships>
</file>

<file path=ppt/slideLayouts/_rels/slideLayout6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7.xml"/></Relationships>
</file>

<file path=ppt/slideLayouts/_rels/slideLayout6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7.xml"/></Relationships>
</file>

<file path=ppt/slideLayouts/_rels/slideLayout6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7.xml"/></Relationships>
</file>

<file path=ppt/slideLayouts/_rels/slideLayout665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98.xml"/></Relationships>
</file>

<file path=ppt/slideLayouts/_rels/slideLayout666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98.xml"/></Relationships>
</file>

<file path=ppt/slideLayouts/_rels/slideLayout667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98.xml"/></Relationships>
</file>

<file path=ppt/slideLayouts/_rels/slideLayout668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98.xml"/></Relationships>
</file>

<file path=ppt/slideLayouts/_rels/slideLayout669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98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70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98.xml"/></Relationships>
</file>

<file path=ppt/slideLayouts/_rels/slideLayout671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98.xml"/></Relationships>
</file>

<file path=ppt/slideLayouts/_rels/slideLayout672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98.xml"/></Relationships>
</file>

<file path=ppt/slideLayouts/_rels/slideLayout6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9.xml"/></Relationships>
</file>

<file path=ppt/slideLayouts/_rels/slideLayout6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9.xml"/></Relationships>
</file>

<file path=ppt/slideLayouts/_rels/slideLayout6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9.xml"/></Relationships>
</file>

<file path=ppt/slideLayouts/_rels/slideLayout6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9.xml"/></Relationships>
</file>

<file path=ppt/slideLayouts/_rels/slideLayout677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99.xml"/></Relationships>
</file>

<file path=ppt/slideLayouts/_rels/slideLayout6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9.xml"/></Relationships>
</file>

<file path=ppt/slideLayouts/_rels/slideLayout6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9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9.xml"/></Relationships>
</file>

<file path=ppt/slideLayouts/_rels/slideLayout6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9.xml"/></Relationships>
</file>

<file path=ppt/slideLayouts/_rels/slideLayout682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99.xml"/></Relationships>
</file>

<file path=ppt/slideLayouts/_rels/slideLayout683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00.xml"/></Relationships>
</file>

<file path=ppt/slideLayouts/_rels/slideLayout684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00.xml"/></Relationships>
</file>

<file path=ppt/slideLayouts/_rels/slideLayout685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00.xml"/></Relationships>
</file>

<file path=ppt/slideLayouts/_rels/slideLayout686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00.xml"/></Relationships>
</file>

<file path=ppt/slideLayouts/_rels/slideLayout687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00.xml"/></Relationships>
</file>

<file path=ppt/slideLayouts/_rels/slideLayout688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00.xml"/></Relationships>
</file>

<file path=ppt/slideLayouts/_rels/slideLayout689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00.xml"/></Relationships>
</file>

<file path=ppt/slideLayouts/_rels/slideLayout69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0.xml"/></Relationships>
</file>

<file path=ppt/slideLayouts/_rels/slideLayout690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00.xml"/></Relationships>
</file>

<file path=ppt/slideLayouts/_rels/slideLayout691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01.xml"/></Relationships>
</file>

<file path=ppt/slideLayouts/_rels/slideLayout6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1.xml"/></Relationships>
</file>

<file path=ppt/slideLayouts/_rels/slideLayout69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2.xml"/><Relationship Id="rId2" Type="http://schemas.openxmlformats.org/officeDocument/2006/relationships/tags" Target="../tags/tag131.xml"/><Relationship Id="rId1" Type="http://schemas.openxmlformats.org/officeDocument/2006/relationships/vmlDrawing" Target="../drawings/vmlDrawing130.vml"/><Relationship Id="rId5" Type="http://schemas.openxmlformats.org/officeDocument/2006/relationships/image" Target="NULL"/><Relationship Id="rId4" Type="http://schemas.openxmlformats.org/officeDocument/2006/relationships/oleObject" Target="../embeddings/oleObject130.bin"/></Relationships>
</file>

<file path=ppt/slideLayouts/_rels/slideLayout69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2.xml"/><Relationship Id="rId2" Type="http://schemas.openxmlformats.org/officeDocument/2006/relationships/tags" Target="../tags/tag132.xml"/><Relationship Id="rId1" Type="http://schemas.openxmlformats.org/officeDocument/2006/relationships/vmlDrawing" Target="../drawings/vmlDrawing131.vml"/><Relationship Id="rId4" Type="http://schemas.openxmlformats.org/officeDocument/2006/relationships/oleObject" Target="../embeddings/oleObject131.bin"/></Relationships>
</file>

<file path=ppt/slideLayouts/_rels/slideLayout6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2.xml"/></Relationships>
</file>

<file path=ppt/slideLayouts/_rels/slideLayout6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2.xml"/></Relationships>
</file>

<file path=ppt/slideLayouts/_rels/slideLayout6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2.xml"/></Relationships>
</file>

<file path=ppt/slideLayouts/_rels/slideLayout6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2.xml"/></Relationships>
</file>

<file path=ppt/slideLayouts/_rels/slideLayout69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2.xml"/><Relationship Id="rId2" Type="http://schemas.openxmlformats.org/officeDocument/2006/relationships/tags" Target="../tags/tag133.xml"/><Relationship Id="rId1" Type="http://schemas.openxmlformats.org/officeDocument/2006/relationships/vmlDrawing" Target="../drawings/vmlDrawing132.vml"/><Relationship Id="rId4" Type="http://schemas.openxmlformats.org/officeDocument/2006/relationships/oleObject" Target="../embeddings/oleObject132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4" Type="http://schemas.openxmlformats.org/officeDocument/2006/relationships/oleObject" Target="../embeddings/oleObject4.bin"/></Relationships>
</file>

<file path=ppt/slideLayouts/_rels/slideLayout70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0.xml"/></Relationships>
</file>

<file path=ppt/slideLayouts/_rels/slideLayout7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2.xml"/></Relationships>
</file>

<file path=ppt/slideLayouts/_rels/slideLayout701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03.xml"/></Relationships>
</file>

<file path=ppt/slideLayouts/_rels/slideLayout702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03.xml"/></Relationships>
</file>

<file path=ppt/slideLayouts/_rels/slideLayout703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03.xml"/></Relationships>
</file>

<file path=ppt/slideLayouts/_rels/slideLayout704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03.xml"/></Relationships>
</file>

<file path=ppt/slideLayouts/_rels/slideLayout705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03.xml"/></Relationships>
</file>

<file path=ppt/slideLayouts/_rels/slideLayout706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03.xml"/></Relationships>
</file>

<file path=ppt/slideLayouts/_rels/slideLayout707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03.xml"/></Relationships>
</file>

<file path=ppt/slideLayouts/_rels/slideLayout708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03.xml"/></Relationships>
</file>

<file path=ppt/slideLayouts/_rels/slideLayout709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04.xml"/></Relationships>
</file>

<file path=ppt/slideLayouts/_rels/slideLayout71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0.xml"/></Relationships>
</file>

<file path=ppt/slideLayouts/_rels/slideLayout710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04.xml"/></Relationships>
</file>

<file path=ppt/slideLayouts/_rels/slideLayout711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04.xml"/></Relationships>
</file>

<file path=ppt/slideLayouts/_rels/slideLayout712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04.xml"/></Relationships>
</file>

<file path=ppt/slideLayouts/_rels/slideLayout713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04.xml"/></Relationships>
</file>

<file path=ppt/slideLayouts/_rels/slideLayout714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04.xml"/></Relationships>
</file>

<file path=ppt/slideLayouts/_rels/slideLayout715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04.xml"/></Relationships>
</file>

<file path=ppt/slideLayouts/_rels/slideLayout716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04.xml"/></Relationships>
</file>

<file path=ppt/slideLayouts/_rels/slideLayout7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5.xml"/><Relationship Id="rId2" Type="http://schemas.openxmlformats.org/officeDocument/2006/relationships/tags" Target="../tags/tag135.xml"/><Relationship Id="rId1" Type="http://schemas.openxmlformats.org/officeDocument/2006/relationships/vmlDrawing" Target="../drawings/vmlDrawing134.vml"/><Relationship Id="rId5" Type="http://schemas.openxmlformats.org/officeDocument/2006/relationships/image" Target="NULL"/><Relationship Id="rId4" Type="http://schemas.openxmlformats.org/officeDocument/2006/relationships/oleObject" Target="../embeddings/oleObject134.bin"/></Relationships>
</file>

<file path=ppt/slideLayouts/_rels/slideLayout7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5.xml"/><Relationship Id="rId2" Type="http://schemas.openxmlformats.org/officeDocument/2006/relationships/tags" Target="../tags/tag136.xml"/><Relationship Id="rId1" Type="http://schemas.openxmlformats.org/officeDocument/2006/relationships/vmlDrawing" Target="../drawings/vmlDrawing135.vml"/><Relationship Id="rId4" Type="http://schemas.openxmlformats.org/officeDocument/2006/relationships/oleObject" Target="../embeddings/oleObject135.bin"/></Relationships>
</file>

<file path=ppt/slideLayouts/_rels/slideLayout7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5.xml"/></Relationships>
</file>

<file path=ppt/slideLayouts/_rels/slideLayout72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0.xml"/></Relationships>
</file>

<file path=ppt/slideLayouts/_rels/slideLayout7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5.xml"/></Relationships>
</file>

<file path=ppt/slideLayouts/_rels/slideLayout7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5.xml"/></Relationships>
</file>

<file path=ppt/slideLayouts/_rels/slideLayout7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5.xml"/></Relationships>
</file>

<file path=ppt/slideLayouts/_rels/slideLayout7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5.xml"/><Relationship Id="rId2" Type="http://schemas.openxmlformats.org/officeDocument/2006/relationships/tags" Target="../tags/tag137.xml"/><Relationship Id="rId1" Type="http://schemas.openxmlformats.org/officeDocument/2006/relationships/vmlDrawing" Target="../drawings/vmlDrawing136.vml"/><Relationship Id="rId4" Type="http://schemas.openxmlformats.org/officeDocument/2006/relationships/oleObject" Target="../embeddings/oleObject136.bin"/></Relationships>
</file>

<file path=ppt/slideLayouts/_rels/slideLayout7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5.xml"/></Relationships>
</file>

<file path=ppt/slideLayouts/_rels/slideLayout7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6.xml"/></Relationships>
</file>

<file path=ppt/slideLayouts/_rels/slideLayout7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6.xml"/></Relationships>
</file>

<file path=ppt/slideLayouts/_rels/slideLayout7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6.xml"/></Relationships>
</file>

<file path=ppt/slideLayouts/_rels/slideLayout7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6.xml"/></Relationships>
</file>

<file path=ppt/slideLayouts/_rels/slideLayout729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07.xml"/></Relationships>
</file>

<file path=ppt/slideLayouts/_rels/slideLayout73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0.xml"/></Relationships>
</file>

<file path=ppt/slideLayouts/_rels/slideLayout730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07.xml"/></Relationships>
</file>

<file path=ppt/slideLayouts/_rels/slideLayout731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07.xml"/></Relationships>
</file>

<file path=ppt/slideLayouts/_rels/slideLayout732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07.xml"/></Relationships>
</file>

<file path=ppt/slideLayouts/_rels/slideLayout733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07.xml"/></Relationships>
</file>

<file path=ppt/slideLayouts/_rels/slideLayout734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07.xml"/></Relationships>
</file>

<file path=ppt/slideLayouts/_rels/slideLayout735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07.xml"/></Relationships>
</file>

<file path=ppt/slideLayouts/_rels/slideLayout736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07.xml"/></Relationships>
</file>

<file path=ppt/slideLayouts/_rels/slideLayout7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8.xml"/><Relationship Id="rId2" Type="http://schemas.openxmlformats.org/officeDocument/2006/relationships/tags" Target="../tags/tag139.xml"/><Relationship Id="rId1" Type="http://schemas.openxmlformats.org/officeDocument/2006/relationships/vmlDrawing" Target="../drawings/vmlDrawing138.vml"/><Relationship Id="rId5" Type="http://schemas.openxmlformats.org/officeDocument/2006/relationships/image" Target="NULL"/><Relationship Id="rId4" Type="http://schemas.openxmlformats.org/officeDocument/2006/relationships/oleObject" Target="../embeddings/oleObject138.bin"/></Relationships>
</file>

<file path=ppt/slideLayouts/_rels/slideLayout7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8.xml"/><Relationship Id="rId2" Type="http://schemas.openxmlformats.org/officeDocument/2006/relationships/tags" Target="../tags/tag140.xml"/><Relationship Id="rId1" Type="http://schemas.openxmlformats.org/officeDocument/2006/relationships/vmlDrawing" Target="../drawings/vmlDrawing139.vml"/><Relationship Id="rId4" Type="http://schemas.openxmlformats.org/officeDocument/2006/relationships/oleObject" Target="../embeddings/oleObject139.bin"/></Relationships>
</file>

<file path=ppt/slideLayouts/_rels/slideLayout7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8.xml"/></Relationships>
</file>

<file path=ppt/slideLayouts/_rels/slideLayout74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0.xml"/></Relationships>
</file>

<file path=ppt/slideLayouts/_rels/slideLayout7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8.xml"/></Relationships>
</file>

<file path=ppt/slideLayouts/_rels/slideLayout7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8.xml"/></Relationships>
</file>

<file path=ppt/slideLayouts/_rels/slideLayout7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8.xml"/></Relationships>
</file>

<file path=ppt/slideLayouts/_rels/slideLayout7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8.xml"/><Relationship Id="rId2" Type="http://schemas.openxmlformats.org/officeDocument/2006/relationships/tags" Target="../tags/tag141.xml"/><Relationship Id="rId1" Type="http://schemas.openxmlformats.org/officeDocument/2006/relationships/vmlDrawing" Target="../drawings/vmlDrawing140.vml"/><Relationship Id="rId4" Type="http://schemas.openxmlformats.org/officeDocument/2006/relationships/oleObject" Target="../embeddings/oleObject140.bin"/></Relationships>
</file>

<file path=ppt/slideLayouts/_rels/slideLayout7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8.xml"/></Relationships>
</file>

<file path=ppt/slideLayouts/_rels/slideLayout745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08.xml"/></Relationships>
</file>

<file path=ppt/slideLayouts/_rels/slideLayout7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9.xml"/></Relationships>
</file>

<file path=ppt/slideLayouts/_rels/slideLayout7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9.xml"/></Relationships>
</file>

<file path=ppt/slideLayouts/_rels/slideLayout7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9.xml"/></Relationships>
</file>

<file path=ppt/slideLayouts/_rels/slideLayout7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9.xml"/></Relationships>
</file>

<file path=ppt/slideLayouts/_rels/slideLayout75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0.xml"/></Relationships>
</file>

<file path=ppt/slideLayouts/_rels/slideLayout750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09.xml"/></Relationships>
</file>

<file path=ppt/slideLayouts/_rels/slideLayout7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9.xml"/></Relationships>
</file>

<file path=ppt/slideLayouts/_rels/slideLayout7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9.xml"/></Relationships>
</file>

<file path=ppt/slideLayouts/_rels/slideLayout7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9.xml"/></Relationships>
</file>

<file path=ppt/slideLayouts/_rels/slideLayout7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9.xml"/></Relationships>
</file>

<file path=ppt/slideLayouts/_rels/slideLayout755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09.xml"/></Relationships>
</file>

<file path=ppt/slideLayouts/_rels/slideLayout75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0.xml"/><Relationship Id="rId2" Type="http://schemas.openxmlformats.org/officeDocument/2006/relationships/tags" Target="../tags/tag143.xml"/><Relationship Id="rId1" Type="http://schemas.openxmlformats.org/officeDocument/2006/relationships/vmlDrawing" Target="../drawings/vmlDrawing142.vml"/><Relationship Id="rId5" Type="http://schemas.openxmlformats.org/officeDocument/2006/relationships/image" Target="NULL"/><Relationship Id="rId4" Type="http://schemas.openxmlformats.org/officeDocument/2006/relationships/oleObject" Target="../embeddings/oleObject142.bin"/></Relationships>
</file>

<file path=ppt/slideLayouts/_rels/slideLayout75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0.xml"/><Relationship Id="rId2" Type="http://schemas.openxmlformats.org/officeDocument/2006/relationships/tags" Target="../tags/tag144.xml"/><Relationship Id="rId1" Type="http://schemas.openxmlformats.org/officeDocument/2006/relationships/vmlDrawing" Target="../drawings/vmlDrawing143.vml"/><Relationship Id="rId4" Type="http://schemas.openxmlformats.org/officeDocument/2006/relationships/oleObject" Target="../embeddings/oleObject143.bin"/></Relationships>
</file>

<file path=ppt/slideLayouts/_rels/slideLayout7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0.xml"/></Relationships>
</file>

<file path=ppt/slideLayouts/_rels/slideLayout7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0.xml"/></Relationships>
</file>

<file path=ppt/slideLayouts/_rels/slideLayout76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0.xml"/></Relationships>
</file>

<file path=ppt/slideLayouts/_rels/slideLayout7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0.xml"/></Relationships>
</file>

<file path=ppt/slideLayouts/_rels/slideLayout7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0.xml"/></Relationships>
</file>

<file path=ppt/slideLayouts/_rels/slideLayout76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0.xml"/><Relationship Id="rId2" Type="http://schemas.openxmlformats.org/officeDocument/2006/relationships/tags" Target="../tags/tag145.xml"/><Relationship Id="rId1" Type="http://schemas.openxmlformats.org/officeDocument/2006/relationships/vmlDrawing" Target="../drawings/vmlDrawing144.vml"/><Relationship Id="rId4" Type="http://schemas.openxmlformats.org/officeDocument/2006/relationships/oleObject" Target="../embeddings/oleObject144.bin"/></Relationships>
</file>

<file path=ppt/slideLayouts/_rels/slideLayout7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0.xml"/></Relationships>
</file>

<file path=ppt/slideLayouts/_rels/slideLayout764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11.xml"/></Relationships>
</file>

<file path=ppt/slideLayouts/_rels/slideLayout765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11.xml"/></Relationships>
</file>

<file path=ppt/slideLayouts/_rels/slideLayout766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11.xml"/></Relationships>
</file>

<file path=ppt/slideLayouts/_rels/slideLayout767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11.xml"/></Relationships>
</file>

<file path=ppt/slideLayouts/_rels/slideLayout768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11.xml"/></Relationships>
</file>

<file path=ppt/slideLayouts/_rels/slideLayout769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11.xml"/></Relationships>
</file>

<file path=ppt/slideLayouts/_rels/slideLayout77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1.xml"/></Relationships>
</file>

<file path=ppt/slideLayouts/_rels/slideLayout770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11.xml"/></Relationships>
</file>

<file path=ppt/slideLayouts/_rels/slideLayout771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11.xml"/></Relationships>
</file>

<file path=ppt/slideLayouts/_rels/slideLayout772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12.xml"/></Relationships>
</file>

<file path=ppt/slideLayouts/_rels/slideLayout773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12.xml"/></Relationships>
</file>

<file path=ppt/slideLayouts/_rels/slideLayout774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12.xml"/></Relationships>
</file>

<file path=ppt/slideLayouts/_rels/slideLayout775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12.xml"/></Relationships>
</file>

<file path=ppt/slideLayouts/_rels/slideLayout776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12.xml"/></Relationships>
</file>

<file path=ppt/slideLayouts/_rels/slideLayout777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12.xml"/></Relationships>
</file>

<file path=ppt/slideLayouts/_rels/slideLayout778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12.xml"/></Relationships>
</file>

<file path=ppt/slideLayouts/_rels/slideLayout779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12.xml"/></Relationships>
</file>

<file path=ppt/slideLayouts/_rels/slideLayout78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1.xml"/></Relationships>
</file>

<file path=ppt/slideLayouts/_rels/slideLayout7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3.xml"/></Relationships>
</file>

<file path=ppt/slideLayouts/_rels/slideLayout7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3.xml"/></Relationships>
</file>

<file path=ppt/slideLayouts/_rels/slideLayout7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3.xml"/></Relationships>
</file>

<file path=ppt/slideLayouts/_rels/slideLayout7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3.xml"/></Relationships>
</file>

<file path=ppt/slideLayouts/_rels/slideLayout784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13.xml"/></Relationships>
</file>

<file path=ppt/slideLayouts/_rels/slideLayout7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3.xml"/></Relationships>
</file>

<file path=ppt/slideLayouts/_rels/slideLayout7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3.xml"/></Relationships>
</file>

<file path=ppt/slideLayouts/_rels/slideLayout7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3.xml"/></Relationships>
</file>

<file path=ppt/slideLayouts/_rels/slideLayout7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3.xml"/></Relationships>
</file>

<file path=ppt/slideLayouts/_rels/slideLayout789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13.xml"/></Relationships>
</file>

<file path=ppt/slideLayouts/_rels/slideLayout79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1.xml"/></Relationships>
</file>

<file path=ppt/slideLayouts/_rels/slideLayout7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4.xml"/></Relationships>
</file>

<file path=ppt/slideLayouts/_rels/slideLayout7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4.xml"/></Relationships>
</file>

<file path=ppt/slideLayouts/_rels/slideLayout7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4.xml"/></Relationships>
</file>

<file path=ppt/slideLayouts/_rels/slideLayout7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4.xml"/></Relationships>
</file>

<file path=ppt/slideLayouts/_rels/slideLayout794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14.xml"/></Relationships>
</file>

<file path=ppt/slideLayouts/_rels/slideLayout7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4.xml"/></Relationships>
</file>

<file path=ppt/slideLayouts/_rels/slideLayout7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4.xml"/></Relationships>
</file>

<file path=ppt/slideLayouts/_rels/slideLayout7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4.xml"/></Relationships>
</file>

<file path=ppt/slideLayouts/_rels/slideLayout7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4.xml"/></Relationships>
</file>

<file path=ppt/slideLayouts/_rels/slideLayout799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14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1.xml"/></Relationships>
</file>

<file path=ppt/slideLayouts/_rels/slideLayout800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15.xml"/></Relationships>
</file>

<file path=ppt/slideLayouts/_rels/slideLayout801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15.xml"/></Relationships>
</file>

<file path=ppt/slideLayouts/_rels/slideLayout802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15.xml"/></Relationships>
</file>

<file path=ppt/slideLayouts/_rels/slideLayout803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15.xml"/></Relationships>
</file>

<file path=ppt/slideLayouts/_rels/slideLayout804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15.xml"/></Relationships>
</file>

<file path=ppt/slideLayouts/_rels/slideLayout805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15.xml"/></Relationships>
</file>

<file path=ppt/slideLayouts/_rels/slideLayout806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15.xml"/></Relationships>
</file>

<file path=ppt/slideLayouts/_rels/slideLayout807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15.xml"/></Relationships>
</file>

<file path=ppt/slideLayouts/_rels/slideLayout808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16.xml"/></Relationships>
</file>

<file path=ppt/slideLayouts/_rels/slideLayout809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16.xml"/></Relationships>
</file>

<file path=ppt/slideLayouts/_rels/slideLayout81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1.xml"/></Relationships>
</file>

<file path=ppt/slideLayouts/_rels/slideLayout810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16.xml"/></Relationships>
</file>

<file path=ppt/slideLayouts/_rels/slideLayout811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16.xml"/></Relationships>
</file>

<file path=ppt/slideLayouts/_rels/slideLayout812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16.xml"/></Relationships>
</file>

<file path=ppt/slideLayouts/_rels/slideLayout813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16.xml"/></Relationships>
</file>

<file path=ppt/slideLayouts/_rels/slideLayout814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16.xml"/></Relationships>
</file>

<file path=ppt/slideLayouts/_rels/slideLayout815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16.xml"/></Relationships>
</file>

<file path=ppt/slideLayouts/_rels/slideLayout8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6.xml"/></Relationships>
</file>

<file path=ppt/slideLayouts/_rels/slideLayout8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7.xml"/></Relationships>
</file>

<file path=ppt/slideLayouts/_rels/slideLayout8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7.xml"/></Relationships>
</file>

<file path=ppt/slideLayouts/_rels/slideLayout8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7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1.xml"/></Relationships>
</file>

<file path=ppt/slideLayouts/_rels/slideLayout8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7.xml"/></Relationships>
</file>

<file path=ppt/slideLayouts/_rels/slideLayout8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7.xml"/><Relationship Id="rId2" Type="http://schemas.openxmlformats.org/officeDocument/2006/relationships/tags" Target="../tags/tag149.xml"/><Relationship Id="rId1" Type="http://schemas.openxmlformats.org/officeDocument/2006/relationships/vmlDrawing" Target="../drawings/vmlDrawing148.vml"/><Relationship Id="rId4" Type="http://schemas.openxmlformats.org/officeDocument/2006/relationships/oleObject" Target="../embeddings/oleObject148.bin"/></Relationships>
</file>

<file path=ppt/slideLayouts/_rels/slideLayout8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7.xml"/></Relationships>
</file>

<file path=ppt/slideLayouts/_rels/slideLayout8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7.xml"/></Relationships>
</file>

<file path=ppt/slideLayouts/_rels/slideLayout8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7.xml"/></Relationships>
</file>

<file path=ppt/slideLayouts/_rels/slideLayout8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7.xml"/></Relationships>
</file>

<file path=ppt/slideLayouts/_rels/slideLayout8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7.xml"/></Relationships>
</file>

<file path=ppt/slideLayouts/_rels/slideLayout8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7.xml"/></Relationships>
</file>

<file path=ppt/slideLayouts/_rels/slideLayout8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8.xml"/></Relationships>
</file>

<file path=ppt/slideLayouts/_rels/slideLayout8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8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1.xml"/></Relationships>
</file>

<file path=ppt/slideLayouts/_rels/slideLayout8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8.xml"/></Relationships>
</file>

<file path=ppt/slideLayouts/_rels/slideLayout8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8.xml"/></Relationships>
</file>

<file path=ppt/slideLayouts/_rels/slideLayout8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9.xml"/></Relationships>
</file>

<file path=ppt/slideLayouts/_rels/slideLayout8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9.xml"/></Relationships>
</file>

<file path=ppt/slideLayouts/_rels/slideLayout8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9.xml"/></Relationships>
</file>

<file path=ppt/slideLayouts/_rels/slideLayout8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9.xml"/></Relationships>
</file>

<file path=ppt/slideLayouts/_rels/slideLayout8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0.xml"/></Relationships>
</file>

<file path=ppt/slideLayouts/_rels/slideLayout8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0.xml"/></Relationships>
</file>

<file path=ppt/slideLayouts/_rels/slideLayout8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0.xml"/></Relationships>
</file>

<file path=ppt/slideLayouts/_rels/slideLayout8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0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1.xml"/></Relationships>
</file>

<file path=ppt/slideLayouts/_rels/slideLayout8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1.xml"/></Relationships>
</file>

<file path=ppt/slideLayouts/_rels/slideLayout8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1.xml"/></Relationships>
</file>

<file path=ppt/slideLayouts/_rels/slideLayout8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1.xml"/></Relationships>
</file>

<file path=ppt/slideLayouts/_rels/slideLayout8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1.xml"/></Relationships>
</file>

<file path=ppt/slideLayouts/_rels/slideLayout8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2.xml"/></Relationships>
</file>

<file path=ppt/slideLayouts/_rels/slideLayout8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2.xml"/></Relationships>
</file>

<file path=ppt/slideLayouts/_rels/slideLayout8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2.xml"/></Relationships>
</file>

<file path=ppt/slideLayouts/_rels/slideLayout8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2.xml"/></Relationships>
</file>

<file path=ppt/slideLayouts/_rels/slideLayout8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3.xml"/><Relationship Id="rId2" Type="http://schemas.openxmlformats.org/officeDocument/2006/relationships/tags" Target="../tags/tag152.xml"/><Relationship Id="rId1" Type="http://schemas.openxmlformats.org/officeDocument/2006/relationships/vmlDrawing" Target="../drawings/vmlDrawing151.vml"/><Relationship Id="rId5" Type="http://schemas.openxmlformats.org/officeDocument/2006/relationships/image" Target="NULL"/><Relationship Id="rId4" Type="http://schemas.openxmlformats.org/officeDocument/2006/relationships/oleObject" Target="../embeddings/oleObject151.bin"/></Relationships>
</file>

<file path=ppt/slideLayouts/_rels/slideLayout8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3.xml"/><Relationship Id="rId2" Type="http://schemas.openxmlformats.org/officeDocument/2006/relationships/tags" Target="../tags/tag153.xml"/><Relationship Id="rId1" Type="http://schemas.openxmlformats.org/officeDocument/2006/relationships/vmlDrawing" Target="../drawings/vmlDrawing152.vml"/><Relationship Id="rId4" Type="http://schemas.openxmlformats.org/officeDocument/2006/relationships/oleObject" Target="../embeddings/oleObject152.bin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8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3.xml"/></Relationships>
</file>

<file path=ppt/slideLayouts/_rels/slideLayout8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3.xml"/></Relationships>
</file>

<file path=ppt/slideLayouts/_rels/slideLayout8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3.xml"/></Relationships>
</file>

<file path=ppt/slideLayouts/_rels/slideLayout8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3.xml"/></Relationships>
</file>

<file path=ppt/slideLayouts/_rels/slideLayout85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3.xml"/><Relationship Id="rId2" Type="http://schemas.openxmlformats.org/officeDocument/2006/relationships/tags" Target="../tags/tag154.xml"/><Relationship Id="rId1" Type="http://schemas.openxmlformats.org/officeDocument/2006/relationships/vmlDrawing" Target="../drawings/vmlDrawing153.vml"/><Relationship Id="rId4" Type="http://schemas.openxmlformats.org/officeDocument/2006/relationships/oleObject" Target="../embeddings/oleObject153.bin"/></Relationships>
</file>

<file path=ppt/slideLayouts/_rels/slideLayout8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3.xml"/></Relationships>
</file>

<file path=ppt/slideLayouts/_rels/slideLayout8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4.xml"/></Relationships>
</file>

<file path=ppt/slideLayouts/_rels/slideLayout8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4.xml"/></Relationships>
</file>

<file path=ppt/slideLayouts/_rels/slideLayout8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4.xml"/></Relationships>
</file>

<file path=ppt/slideLayouts/_rels/slideLayout85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5.xml"/><Relationship Id="rId2" Type="http://schemas.openxmlformats.org/officeDocument/2006/relationships/tags" Target="../tags/tag156.xml"/><Relationship Id="rId1" Type="http://schemas.openxmlformats.org/officeDocument/2006/relationships/vmlDrawing" Target="../drawings/vmlDrawing155.vml"/><Relationship Id="rId5" Type="http://schemas.openxmlformats.org/officeDocument/2006/relationships/image" Target="NULL"/><Relationship Id="rId4" Type="http://schemas.openxmlformats.org/officeDocument/2006/relationships/oleObject" Target="../embeddings/oleObject155.bin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86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5.xml"/><Relationship Id="rId2" Type="http://schemas.openxmlformats.org/officeDocument/2006/relationships/tags" Target="../tags/tag157.xml"/><Relationship Id="rId1" Type="http://schemas.openxmlformats.org/officeDocument/2006/relationships/vmlDrawing" Target="../drawings/vmlDrawing156.vml"/><Relationship Id="rId4" Type="http://schemas.openxmlformats.org/officeDocument/2006/relationships/oleObject" Target="../embeddings/oleObject156.bin"/></Relationships>
</file>

<file path=ppt/slideLayouts/_rels/slideLayout8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5.xml"/></Relationships>
</file>

<file path=ppt/slideLayouts/_rels/slideLayout8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5.xml"/></Relationships>
</file>

<file path=ppt/slideLayouts/_rels/slideLayout8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5.xml"/></Relationships>
</file>

<file path=ppt/slideLayouts/_rels/slideLayout8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5.xml"/></Relationships>
</file>

<file path=ppt/slideLayouts/_rels/slideLayout86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5.xml"/><Relationship Id="rId2" Type="http://schemas.openxmlformats.org/officeDocument/2006/relationships/tags" Target="../tags/tag158.xml"/><Relationship Id="rId1" Type="http://schemas.openxmlformats.org/officeDocument/2006/relationships/vmlDrawing" Target="../drawings/vmlDrawing157.vml"/><Relationship Id="rId4" Type="http://schemas.openxmlformats.org/officeDocument/2006/relationships/oleObject" Target="../embeddings/oleObject157.bin"/></Relationships>
</file>

<file path=ppt/slideLayouts/_rels/slideLayout8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5.xml"/></Relationships>
</file>

<file path=ppt/slideLayouts/_rels/slideLayout867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25.xml"/></Relationships>
</file>

<file path=ppt/slideLayouts/_rels/slideLayout868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26.xml"/></Relationships>
</file>

<file path=ppt/slideLayouts/_rels/slideLayout869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26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870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26.xml"/></Relationships>
</file>

<file path=ppt/slideLayouts/_rels/slideLayout871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26.xml"/></Relationships>
</file>

<file path=ppt/slideLayouts/_rels/slideLayout872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26.xml"/></Relationships>
</file>

<file path=ppt/slideLayouts/_rels/slideLayout873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26.xml"/></Relationships>
</file>

<file path=ppt/slideLayouts/_rels/slideLayout874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26.xml"/></Relationships>
</file>

<file path=ppt/slideLayouts/_rels/slideLayout875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26.xml"/></Relationships>
</file>

<file path=ppt/slideLayouts/_rels/slideLayout8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7.xml"/></Relationships>
</file>

<file path=ppt/slideLayouts/_rels/slideLayout8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7.xml"/></Relationships>
</file>

<file path=ppt/slideLayouts/_rels/slideLayout8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7.xml"/></Relationships>
</file>

<file path=ppt/slideLayouts/_rels/slideLayout8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7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880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28.xml"/></Relationships>
</file>

<file path=ppt/slideLayouts/_rels/slideLayout881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28.xml"/></Relationships>
</file>

<file path=ppt/slideLayouts/_rels/slideLayout882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28.xml"/></Relationships>
</file>

<file path=ppt/slideLayouts/_rels/slideLayout883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28.xml"/></Relationships>
</file>

<file path=ppt/slideLayouts/_rels/slideLayout884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28.xml"/></Relationships>
</file>

<file path=ppt/slideLayouts/_rels/slideLayout885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28.xml"/></Relationships>
</file>

<file path=ppt/slideLayouts/_rels/slideLayout886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28.xml"/></Relationships>
</file>

<file path=ppt/slideLayouts/_rels/slideLayout887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28.xml"/></Relationships>
</file>

<file path=ppt/slideLayouts/_rels/slideLayout88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9.xml"/><Relationship Id="rId2" Type="http://schemas.openxmlformats.org/officeDocument/2006/relationships/tags" Target="../tags/tag161.xml"/><Relationship Id="rId1" Type="http://schemas.openxmlformats.org/officeDocument/2006/relationships/vmlDrawing" Target="../drawings/vmlDrawing160.vml"/><Relationship Id="rId5" Type="http://schemas.openxmlformats.org/officeDocument/2006/relationships/image" Target="NULL"/><Relationship Id="rId4" Type="http://schemas.openxmlformats.org/officeDocument/2006/relationships/oleObject" Target="../embeddings/oleObject160.bin"/></Relationships>
</file>

<file path=ppt/slideLayouts/_rels/slideLayout88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9.xml"/><Relationship Id="rId2" Type="http://schemas.openxmlformats.org/officeDocument/2006/relationships/tags" Target="../tags/tag162.xml"/><Relationship Id="rId1" Type="http://schemas.openxmlformats.org/officeDocument/2006/relationships/vmlDrawing" Target="../drawings/vmlDrawing161.vml"/><Relationship Id="rId4" Type="http://schemas.openxmlformats.org/officeDocument/2006/relationships/oleObject" Target="../embeddings/oleObject161.bin"/></Relationships>
</file>

<file path=ppt/slideLayouts/_rels/slideLayout89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3.xml"/></Relationships>
</file>

<file path=ppt/slideLayouts/_rels/slideLayout8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9.xml"/></Relationships>
</file>

<file path=ppt/slideLayouts/_rels/slideLayout8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9.xml"/></Relationships>
</file>

<file path=ppt/slideLayouts/_rels/slideLayout8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9.xml"/></Relationships>
</file>

<file path=ppt/slideLayouts/_rels/slideLayout8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9.xml"/></Relationships>
</file>

<file path=ppt/slideLayouts/_rels/slideLayout89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9.xml"/><Relationship Id="rId2" Type="http://schemas.openxmlformats.org/officeDocument/2006/relationships/tags" Target="../tags/tag163.xml"/><Relationship Id="rId1" Type="http://schemas.openxmlformats.org/officeDocument/2006/relationships/vmlDrawing" Target="../drawings/vmlDrawing162.vml"/><Relationship Id="rId4" Type="http://schemas.openxmlformats.org/officeDocument/2006/relationships/oleObject" Target="../embeddings/oleObject162.bin"/></Relationships>
</file>

<file path=ppt/slideLayouts/_rels/slideLayout8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9.xml"/></Relationships>
</file>

<file path=ppt/slideLayouts/_rels/slideLayout896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30.xml"/></Relationships>
</file>

<file path=ppt/slideLayouts/_rels/slideLayout897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30.xml"/></Relationships>
</file>

<file path=ppt/slideLayouts/_rels/slideLayout898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30.xml"/></Relationships>
</file>

<file path=ppt/slideLayouts/_rels/slideLayout899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30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0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3.xml"/></Relationships>
</file>

<file path=ppt/slideLayouts/_rels/slideLayout900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30.xml"/></Relationships>
</file>

<file path=ppt/slideLayouts/_rels/slideLayout901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30.xml"/></Relationships>
</file>

<file path=ppt/slideLayouts/_rels/slideLayout902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30.xml"/></Relationships>
</file>

<file path=ppt/slideLayouts/_rels/slideLayout903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30.xml"/></Relationships>
</file>

<file path=ppt/slideLayouts/_rels/slideLayout904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31.xml"/></Relationships>
</file>

<file path=ppt/slideLayouts/_rels/slideLayout905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31.xml"/></Relationships>
</file>

<file path=ppt/slideLayouts/_rels/slideLayout906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31.xml"/></Relationships>
</file>

<file path=ppt/slideLayouts/_rels/slideLayout907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31.xml"/></Relationships>
</file>

<file path=ppt/slideLayouts/_rels/slideLayout908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31.xml"/></Relationships>
</file>

<file path=ppt/slideLayouts/_rels/slideLayout909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31.xml"/></Relationships>
</file>

<file path=ppt/slideLayouts/_rels/slideLayout91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3.xml"/></Relationships>
</file>

<file path=ppt/slideLayouts/_rels/slideLayout910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31.xml"/></Relationships>
</file>

<file path=ppt/slideLayouts/_rels/slideLayout911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31.xml"/></Relationships>
</file>

<file path=ppt/slideLayouts/_rels/slideLayout912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32.xml"/></Relationships>
</file>

<file path=ppt/slideLayouts/_rels/slideLayout913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32.xml"/></Relationships>
</file>

<file path=ppt/slideLayouts/_rels/slideLayout914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32.xml"/></Relationships>
</file>

<file path=ppt/slideLayouts/_rels/slideLayout915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32.xml"/></Relationships>
</file>

<file path=ppt/slideLayouts/_rels/slideLayout916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32.xml"/></Relationships>
</file>

<file path=ppt/slideLayouts/_rels/slideLayout917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32.xml"/></Relationships>
</file>

<file path=ppt/slideLayouts/_rels/slideLayout918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32.xml"/></Relationships>
</file>

<file path=ppt/slideLayouts/_rels/slideLayout919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32.xml"/></Relationships>
</file>

<file path=ppt/slideLayouts/_rels/slideLayout92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3.xml"/></Relationships>
</file>

<file path=ppt/slideLayouts/_rels/slideLayout9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3.xml"/></Relationships>
</file>

<file path=ppt/slideLayouts/_rels/slideLayout9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3.xml"/></Relationships>
</file>

<file path=ppt/slideLayouts/_rels/slideLayout9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3.xml"/></Relationships>
</file>

<file path=ppt/slideLayouts/_rels/slideLayout9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3.xml"/></Relationships>
</file>

<file path=ppt/slideLayouts/_rels/slideLayout924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34.xml"/></Relationships>
</file>

<file path=ppt/slideLayouts/_rels/slideLayout925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34.xml"/></Relationships>
</file>

<file path=ppt/slideLayouts/_rels/slideLayout926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34.xml"/></Relationships>
</file>

<file path=ppt/slideLayouts/_rels/slideLayout927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34.xml"/></Relationships>
</file>

<file path=ppt/slideLayouts/_rels/slideLayout928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34.xml"/></Relationships>
</file>

<file path=ppt/slideLayouts/_rels/slideLayout929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34.xml"/></Relationships>
</file>

<file path=ppt/slideLayouts/_rels/slideLayout93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3.xml"/></Relationships>
</file>

<file path=ppt/slideLayouts/_rels/slideLayout930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34.xml"/></Relationships>
</file>

<file path=ppt/slideLayouts/_rels/slideLayout931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34.xml"/></Relationships>
</file>

<file path=ppt/slideLayouts/_rels/slideLayout9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5.xml"/></Relationships>
</file>

<file path=ppt/slideLayouts/_rels/slideLayout9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5.xml"/></Relationships>
</file>

<file path=ppt/slideLayouts/_rels/slideLayout9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5.xml"/></Relationships>
</file>

<file path=ppt/slideLayouts/_rels/slideLayout9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5.xml"/></Relationships>
</file>

<file path=ppt/slideLayouts/_rels/slideLayout9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6.xml"/></Relationships>
</file>

<file path=ppt/slideLayouts/_rels/slideLayout9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6.xml"/></Relationships>
</file>

<file path=ppt/slideLayouts/_rels/slideLayout9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6.xml"/></Relationships>
</file>

<file path=ppt/slideLayouts/_rels/slideLayout9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6.xml"/></Relationships>
</file>

<file path=ppt/slideLayouts/_rels/slideLayout94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3.xml"/></Relationships>
</file>

<file path=ppt/slideLayouts/_rels/slideLayout9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7.xml"/><Relationship Id="rId2" Type="http://schemas.openxmlformats.org/officeDocument/2006/relationships/tags" Target="../tags/tag167.xml"/><Relationship Id="rId1" Type="http://schemas.openxmlformats.org/officeDocument/2006/relationships/vmlDrawing" Target="../drawings/vmlDrawing166.vml"/><Relationship Id="rId5" Type="http://schemas.openxmlformats.org/officeDocument/2006/relationships/image" Target="NULL"/><Relationship Id="rId4" Type="http://schemas.openxmlformats.org/officeDocument/2006/relationships/oleObject" Target="../embeddings/oleObject166.bin"/></Relationships>
</file>

<file path=ppt/slideLayouts/_rels/slideLayout9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7.xml"/><Relationship Id="rId2" Type="http://schemas.openxmlformats.org/officeDocument/2006/relationships/tags" Target="../tags/tag168.xml"/><Relationship Id="rId1" Type="http://schemas.openxmlformats.org/officeDocument/2006/relationships/vmlDrawing" Target="../drawings/vmlDrawing167.vml"/><Relationship Id="rId4" Type="http://schemas.openxmlformats.org/officeDocument/2006/relationships/oleObject" Target="../embeddings/oleObject167.bin"/></Relationships>
</file>

<file path=ppt/slideLayouts/_rels/slideLayout9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7.xml"/></Relationships>
</file>

<file path=ppt/slideLayouts/_rels/slideLayout9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7.xml"/></Relationships>
</file>

<file path=ppt/slideLayouts/_rels/slideLayout9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7.xml"/></Relationships>
</file>

<file path=ppt/slideLayouts/_rels/slideLayout9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7.xml"/></Relationships>
</file>

<file path=ppt/slideLayouts/_rels/slideLayout9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7.xml"/><Relationship Id="rId2" Type="http://schemas.openxmlformats.org/officeDocument/2006/relationships/tags" Target="../tags/tag169.xml"/><Relationship Id="rId1" Type="http://schemas.openxmlformats.org/officeDocument/2006/relationships/vmlDrawing" Target="../drawings/vmlDrawing168.vml"/><Relationship Id="rId4" Type="http://schemas.openxmlformats.org/officeDocument/2006/relationships/oleObject" Target="../embeddings/oleObject168.bin"/></Relationships>
</file>

<file path=ppt/slideLayouts/_rels/slideLayout9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7.xml"/></Relationships>
</file>

<file path=ppt/slideLayouts/_rels/slideLayout948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37.xml"/></Relationships>
</file>

<file path=ppt/slideLayouts/_rels/slideLayout949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37.xml"/></Relationships>
</file>

<file path=ppt/slideLayouts/_rels/slideLayout95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3.xml"/></Relationships>
</file>

<file path=ppt/slideLayouts/_rels/slideLayout9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8.xml"/></Relationships>
</file>

<file path=ppt/slideLayouts/_rels/slideLayout9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8.xml"/></Relationships>
</file>

<file path=ppt/slideLayouts/_rels/slideLayout9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8.xml"/></Relationships>
</file>

<file path=ppt/slideLayouts/_rels/slideLayout9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8.xml"/></Relationships>
</file>

<file path=ppt/slideLayouts/_rels/slideLayout9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9.xml"/></Relationships>
</file>

<file path=ppt/slideLayouts/_rels/slideLayout9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9.xml"/></Relationships>
</file>

<file path=ppt/slideLayouts/_rels/slideLayout9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9.xml"/></Relationships>
</file>

<file path=ppt/slideLayouts/_rels/slideLayout9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9.xml"/></Relationships>
</file>

<file path=ppt/slideLayouts/_rels/slideLayout95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0.xml"/><Relationship Id="rId2" Type="http://schemas.openxmlformats.org/officeDocument/2006/relationships/tags" Target="../tags/tag173.xml"/><Relationship Id="rId1" Type="http://schemas.openxmlformats.org/officeDocument/2006/relationships/vmlDrawing" Target="../drawings/vmlDrawing172.vml"/><Relationship Id="rId5" Type="http://schemas.openxmlformats.org/officeDocument/2006/relationships/image" Target="NULL"/><Relationship Id="rId4" Type="http://schemas.openxmlformats.org/officeDocument/2006/relationships/oleObject" Target="../embeddings/oleObject172.bin"/></Relationships>
</file>

<file path=ppt/slideLayouts/_rels/slideLayout95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0.xml"/><Relationship Id="rId2" Type="http://schemas.openxmlformats.org/officeDocument/2006/relationships/tags" Target="../tags/tag174.xml"/><Relationship Id="rId1" Type="http://schemas.openxmlformats.org/officeDocument/2006/relationships/vmlDrawing" Target="../drawings/vmlDrawing173.vml"/><Relationship Id="rId4" Type="http://schemas.openxmlformats.org/officeDocument/2006/relationships/oleObject" Target="../embeddings/oleObject173.bin"/></Relationships>
</file>

<file path=ppt/slideLayouts/_rels/slideLayout96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3.xml"/></Relationships>
</file>

<file path=ppt/slideLayouts/_rels/slideLayout9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0.xml"/></Relationships>
</file>

<file path=ppt/slideLayouts/_rels/slideLayout9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0.xml"/></Relationships>
</file>

<file path=ppt/slideLayouts/_rels/slideLayout9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0.xml"/></Relationships>
</file>

<file path=ppt/slideLayouts/_rels/slideLayout9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0.xml"/></Relationships>
</file>

<file path=ppt/slideLayouts/_rels/slideLayout96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0.xml"/><Relationship Id="rId2" Type="http://schemas.openxmlformats.org/officeDocument/2006/relationships/tags" Target="../tags/tag175.xml"/><Relationship Id="rId1" Type="http://schemas.openxmlformats.org/officeDocument/2006/relationships/vmlDrawing" Target="../drawings/vmlDrawing174.vml"/><Relationship Id="rId4" Type="http://schemas.openxmlformats.org/officeDocument/2006/relationships/oleObject" Target="../embeddings/oleObject174.bin"/></Relationships>
</file>

<file path=ppt/slideLayouts/_rels/slideLayout9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0.xml"/></Relationships>
</file>

<file path=ppt/slideLayouts/_rels/slideLayout96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1.xml"/><Relationship Id="rId2" Type="http://schemas.openxmlformats.org/officeDocument/2006/relationships/tags" Target="../tags/tag177.xml"/><Relationship Id="rId1" Type="http://schemas.openxmlformats.org/officeDocument/2006/relationships/vmlDrawing" Target="../drawings/vmlDrawing176.vml"/><Relationship Id="rId5" Type="http://schemas.openxmlformats.org/officeDocument/2006/relationships/image" Target="NULL"/><Relationship Id="rId4" Type="http://schemas.openxmlformats.org/officeDocument/2006/relationships/oleObject" Target="../embeddings/oleObject176.bin"/></Relationships>
</file>

<file path=ppt/slideLayouts/_rels/slideLayout96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1.xml"/><Relationship Id="rId2" Type="http://schemas.openxmlformats.org/officeDocument/2006/relationships/tags" Target="../tags/tag178.xml"/><Relationship Id="rId1" Type="http://schemas.openxmlformats.org/officeDocument/2006/relationships/vmlDrawing" Target="../drawings/vmlDrawing177.vml"/><Relationship Id="rId4" Type="http://schemas.openxmlformats.org/officeDocument/2006/relationships/oleObject" Target="../embeddings/oleObject177.bin"/></Relationships>
</file>

<file path=ppt/slideLayouts/_rels/slideLayout9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1.xml"/></Relationships>
</file>

<file path=ppt/slideLayouts/_rels/slideLayout9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1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9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1.xml"/></Relationships>
</file>

<file path=ppt/slideLayouts/_rels/slideLayout9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1.xml"/></Relationships>
</file>

<file path=ppt/slideLayouts/_rels/slideLayout97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1.xml"/><Relationship Id="rId2" Type="http://schemas.openxmlformats.org/officeDocument/2006/relationships/tags" Target="../tags/tag179.xml"/><Relationship Id="rId1" Type="http://schemas.openxmlformats.org/officeDocument/2006/relationships/vmlDrawing" Target="../drawings/vmlDrawing178.vml"/><Relationship Id="rId4" Type="http://schemas.openxmlformats.org/officeDocument/2006/relationships/oleObject" Target="../embeddings/oleObject178.bin"/></Relationships>
</file>

<file path=ppt/slideLayouts/_rels/slideLayout9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1.xml"/></Relationships>
</file>

<file path=ppt/slideLayouts/_rels/slideLayout974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41.xml"/></Relationships>
</file>

<file path=ppt/slideLayouts/_rels/slideLayout975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41.xml"/></Relationships>
</file>

<file path=ppt/slideLayouts/_rels/slideLayout9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2.xml"/></Relationships>
</file>

<file path=ppt/slideLayouts/_rels/slideLayout9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2.xml"/></Relationships>
</file>

<file path=ppt/slideLayouts/_rels/slideLayout9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2.xml"/></Relationships>
</file>

<file path=ppt/slideLayouts/_rels/slideLayout9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2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980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42.xml"/></Relationships>
</file>

<file path=ppt/slideLayouts/_rels/slideLayout9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2.xml"/></Relationships>
</file>

<file path=ppt/slideLayouts/_rels/slideLayout9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2.xml"/></Relationships>
</file>

<file path=ppt/slideLayouts/_rels/slideLayout9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2.xml"/></Relationships>
</file>

<file path=ppt/slideLayouts/_rels/slideLayout9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2.xml"/></Relationships>
</file>

<file path=ppt/slideLayouts/_rels/slideLayout985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42.xml"/></Relationships>
</file>

<file path=ppt/slideLayouts/_rels/slideLayout986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43.xml"/></Relationships>
</file>

<file path=ppt/slideLayouts/_rels/slideLayout987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43.xml"/></Relationships>
</file>

<file path=ppt/slideLayouts/_rels/slideLayout988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43.xml"/></Relationships>
</file>

<file path=ppt/slideLayouts/_rels/slideLayout989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43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990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43.xml"/></Relationships>
</file>

<file path=ppt/slideLayouts/_rels/slideLayout991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43.xml"/></Relationships>
</file>

<file path=ppt/slideLayouts/_rels/slideLayout992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43.xml"/></Relationships>
</file>

<file path=ppt/slideLayouts/_rels/slideLayout993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43.xml"/></Relationships>
</file>

<file path=ppt/slideLayouts/_rels/slideLayout9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4.xml"/></Relationships>
</file>

<file path=ppt/slideLayouts/_rels/slideLayout9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4.xml"/></Relationships>
</file>

<file path=ppt/slideLayouts/_rels/slideLayout9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4.xml"/></Relationships>
</file>

<file path=ppt/slideLayouts/_rels/slideLayout9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4.xml"/></Relationships>
</file>

<file path=ppt/slideLayouts/_rels/slideLayout998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44.xml"/></Relationships>
</file>

<file path=ppt/slideLayouts/_rels/slideLayout9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23804973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30455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165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 userDrawn="1"/>
        </p:nvSpPr>
        <p:spPr bwMode="auto">
          <a:xfrm>
            <a:off x="437849" y="131306"/>
            <a:ext cx="88165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pt-BR" sz="800" b="1" baseline="0" noProof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WORKING DRAFT</a:t>
            </a:r>
            <a:endParaRPr lang="pt-BR" sz="800" b="1" baseline="0" noProof="0" dirty="0" smtClean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256937" y="36518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pt-BR" sz="800" baseline="0" noProof="0" dirty="0" smtClean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 userDrawn="1"/>
        </p:nvSpPr>
        <p:spPr bwMode="auto">
          <a:xfrm>
            <a:off x="437874" y="286879"/>
            <a:ext cx="3069751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baseline="0" noProof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sz="800" baseline="0" noProof="0" dirty="0" smtClean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 userDrawn="1"/>
        </p:nvSpPr>
        <p:spPr bwMode="auto">
          <a:xfrm>
            <a:off x="437851" y="444039"/>
            <a:ext cx="270106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baseline="0" noProof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sz="800" baseline="0" noProof="0" dirty="0" smtClean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8" name="McK Title Elements" hidden="1"/>
          <p:cNvGrpSpPr>
            <a:grpSpLocks/>
          </p:cNvGrpSpPr>
          <p:nvPr userDrawn="1"/>
        </p:nvGrpSpPr>
        <p:grpSpPr bwMode="auto">
          <a:xfrm>
            <a:off x="5" y="121"/>
            <a:ext cx="11944879" cy="6723063"/>
            <a:chOff x="0" y="0"/>
            <a:chExt cx="5643" cy="4235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207" y="3361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z="1600" baseline="0" noProof="0" smtClean="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ocument type</a:t>
              </a:r>
              <a:endParaRPr lang="pt-BR" sz="1600" baseline="0" noProof="0" dirty="0" smtClean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207" y="3550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z="1600" baseline="0" noProof="0" smtClean="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ate</a:t>
              </a:r>
              <a:endParaRPr lang="pt-BR" sz="1600" baseline="0" noProof="0" dirty="0" smtClean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1" name="McK Disclaimer"/>
            <p:cNvSpPr>
              <a:spLocks noChangeArrowheads="1"/>
            </p:cNvSpPr>
            <p:nvPr/>
          </p:nvSpPr>
          <p:spPr bwMode="auto">
            <a:xfrm>
              <a:off x="207" y="3963"/>
              <a:ext cx="3226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797488" eaLnBrk="0" hangingPunct="0"/>
              <a:r>
                <a:rPr lang="pt-BR" sz="800" baseline="0" noProof="0" dirty="0" err="1" smtClean="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NFIDENTIAL</a:t>
              </a:r>
              <a:r>
                <a:rPr lang="pt-BR" sz="800" baseline="0" noProof="0" dirty="0" smtClean="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baseline="0" noProof="0" dirty="0" err="1" smtClean="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D</a:t>
              </a:r>
              <a:r>
                <a:rPr lang="pt-BR" sz="800" baseline="0" noProof="0" dirty="0" smtClean="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baseline="0" noProof="0" dirty="0" err="1" smtClean="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PRIETARY</a:t>
              </a:r>
              <a:endParaRPr lang="pt-BR" sz="800" baseline="0" noProof="0" dirty="0" smtClean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  <a:p>
              <a:pPr defTabSz="797488" eaLnBrk="0" hangingPunct="0"/>
              <a:r>
                <a:rPr lang="pt-BR" sz="800" baseline="0" noProof="0" dirty="0" err="1" smtClean="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y</a:t>
              </a:r>
              <a:r>
                <a:rPr lang="pt-BR" sz="800" baseline="0" noProof="0" dirty="0" smtClean="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use </a:t>
              </a:r>
              <a:r>
                <a:rPr lang="pt-BR" sz="800" baseline="0" noProof="0" dirty="0" err="1" smtClean="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baseline="0" noProof="0" dirty="0" smtClean="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baseline="0" noProof="0" dirty="0" err="1" smtClean="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his</a:t>
              </a:r>
              <a:r>
                <a:rPr lang="pt-BR" sz="800" baseline="0" noProof="0" dirty="0" smtClean="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aterial </a:t>
              </a:r>
              <a:r>
                <a:rPr lang="pt-BR" sz="800" baseline="0" noProof="0" dirty="0" err="1" smtClean="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without</a:t>
              </a:r>
              <a:r>
                <a:rPr lang="pt-BR" sz="800" baseline="0" noProof="0" dirty="0" smtClean="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baseline="0" noProof="0" dirty="0" err="1" smtClean="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pecific</a:t>
              </a:r>
              <a:r>
                <a:rPr lang="pt-BR" sz="800" baseline="0" noProof="0" dirty="0" smtClean="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baseline="0" noProof="0" dirty="0" err="1" smtClean="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ermission</a:t>
              </a:r>
              <a:r>
                <a:rPr lang="pt-BR" sz="800" baseline="0" noProof="0" dirty="0" smtClean="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baseline="0" noProof="0" dirty="0" err="1" smtClean="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baseline="0" noProof="0" dirty="0" smtClean="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cKinsey &amp; </a:t>
              </a:r>
              <a:r>
                <a:rPr lang="pt-BR" sz="800" baseline="0" noProof="0" dirty="0" err="1" smtClean="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mpany</a:t>
              </a:r>
              <a:r>
                <a:rPr lang="pt-BR" sz="800" baseline="0" noProof="0" dirty="0" smtClean="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baseline="0" noProof="0" dirty="0" err="1" smtClean="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is</a:t>
              </a:r>
              <a:r>
                <a:rPr lang="pt-BR" sz="800" baseline="0" noProof="0" dirty="0" smtClean="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baseline="0" noProof="0" dirty="0" err="1" smtClean="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trictly</a:t>
              </a:r>
              <a:r>
                <a:rPr lang="pt-BR" sz="800" baseline="0" noProof="0" dirty="0" smtClean="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baseline="0" noProof="0" dirty="0" err="1" smtClean="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hibited</a:t>
              </a:r>
              <a:endParaRPr lang="pt-BR" sz="800" baseline="0" noProof="0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2" name="TitleBottomPlaceholder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1"/>
              <a:endParaRPr lang="pt-BR" sz="1600" baseline="0" noProof="0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3" name="TitleTopPlaceholder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1"/>
              <a:endParaRPr lang="pt-BR" sz="1600" baseline="0" noProof="0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Rectangle 1189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1"/>
              <a:endParaRPr lang="pt-BR" sz="1600" baseline="0" noProof="0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pic>
        <p:nvPicPr>
          <p:cNvPr id="18" name="TitleBottomBarBW" hidden="1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65766" y="6443669"/>
            <a:ext cx="2182379" cy="1920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7" name="Freeform 5"/>
          <p:cNvSpPr>
            <a:spLocks/>
          </p:cNvSpPr>
          <p:nvPr userDrawn="1"/>
        </p:nvSpPr>
        <p:spPr bwMode="auto">
          <a:xfrm flipH="1">
            <a:off x="4236" y="6635876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0587" tIns="45292" rIns="90587" bIns="45292" numCol="1" anchor="t" anchorCtr="0" compatLnSpc="1">
            <a:prstTxWarp prst="textNoShape">
              <a:avLst/>
            </a:prstTxWarp>
          </a:bodyPr>
          <a:lstStyle/>
          <a:p>
            <a:pPr lvl="0" eaLnBrk="1"/>
            <a:endParaRPr lang="pt-BR" sz="16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9" name="Freeform 5"/>
          <p:cNvSpPr>
            <a:spLocks/>
          </p:cNvSpPr>
          <p:nvPr userDrawn="1"/>
        </p:nvSpPr>
        <p:spPr bwMode="auto">
          <a:xfrm flipH="1">
            <a:off x="4236" y="3283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0587" tIns="45292" rIns="90587" bIns="45292" numCol="1" anchor="t" anchorCtr="0" compatLnSpc="1">
            <a:prstTxWarp prst="textNoShape">
              <a:avLst/>
            </a:prstTxWarp>
          </a:bodyPr>
          <a:lstStyle/>
          <a:p>
            <a:pPr eaLnBrk="1"/>
            <a:endParaRPr lang="pt-BR" sz="16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 userDrawn="1">
            <p:ph type="ctrTitle"/>
          </p:nvPr>
        </p:nvSpPr>
        <p:spPr>
          <a:xfrm>
            <a:off x="437853" y="2238434"/>
            <a:ext cx="6581329" cy="1292662"/>
          </a:xfrm>
          <a:prstGeom prst="rect">
            <a:avLst/>
          </a:prstGeom>
        </p:spPr>
        <p:txBody>
          <a:bodyPr/>
          <a:lstStyle>
            <a:lvl1pPr>
              <a:defRPr sz="4200" b="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dirty="0" smtClean="0"/>
              <a:t>Click </a:t>
            </a:r>
            <a:r>
              <a:rPr lang="pt-BR" noProof="0" dirty="0" err="1" smtClean="0"/>
              <a:t>to</a:t>
            </a:r>
            <a:r>
              <a:rPr lang="pt-BR" noProof="0" dirty="0" smtClean="0"/>
              <a:t> </a:t>
            </a:r>
            <a:r>
              <a:rPr lang="pt-BR" noProof="0" dirty="0" err="1" smtClean="0"/>
              <a:t>edit</a:t>
            </a:r>
            <a:r>
              <a:rPr lang="pt-BR" noProof="0" dirty="0" smtClean="0"/>
              <a:t> Master </a:t>
            </a:r>
            <a:r>
              <a:rPr lang="pt-BR" noProof="0" dirty="0" err="1" smtClean="0"/>
              <a:t>title</a:t>
            </a:r>
            <a:r>
              <a:rPr lang="pt-BR" noProof="0" dirty="0" smtClean="0"/>
              <a:t> </a:t>
            </a:r>
            <a:r>
              <a:rPr lang="pt-BR" noProof="0" dirty="0" err="1" smtClean="0"/>
              <a:t>style</a:t>
            </a:r>
            <a:endParaRPr lang="pt-BR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437852" y="3762851"/>
            <a:ext cx="6450496" cy="482639"/>
          </a:xfrm>
        </p:spPr>
        <p:txBody>
          <a:bodyPr wrap="square">
            <a:spAutoFit/>
          </a:bodyPr>
          <a:lstStyle>
            <a:lvl1pPr>
              <a:defRPr sz="310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smtClean="0"/>
              <a:t>Click to edit Master subtitle style</a:t>
            </a:r>
            <a:endParaRPr lang="pt-BR" noProof="0" dirty="0" smtClean="0"/>
          </a:p>
        </p:txBody>
      </p:sp>
      <p:grpSp>
        <p:nvGrpSpPr>
          <p:cNvPr id="25" name="Group 24"/>
          <p:cNvGrpSpPr/>
          <p:nvPr userDrawn="1"/>
        </p:nvGrpSpPr>
        <p:grpSpPr>
          <a:xfrm>
            <a:off x="8526083" y="2325895"/>
            <a:ext cx="3423031" cy="3656746"/>
            <a:chOff x="5526523" y="2325890"/>
            <a:chExt cx="3423032" cy="3656747"/>
          </a:xfrm>
        </p:grpSpPr>
        <p:sp>
          <p:nvSpPr>
            <p:cNvPr id="26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1"/>
              <a:endParaRPr lang="pt-BR" sz="1600" dirty="0" smtClean="0">
                <a:solidFill>
                  <a:schemeClr val="tx1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27" name="Group 26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28" name="Donut 27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/>
                <a:endParaRPr lang="pt-BR" sz="1600" dirty="0" smtClean="0">
                  <a:solidFill>
                    <a:schemeClr val="tx1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29" name="Oval 28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/>
                <a:endParaRPr lang="pt-BR" sz="1600" dirty="0" smtClean="0">
                  <a:solidFill>
                    <a:schemeClr val="tx1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0" name="Oval 29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/>
                <a:endParaRPr lang="pt-BR" sz="1600" dirty="0" smtClean="0">
                  <a:solidFill>
                    <a:schemeClr val="tx1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78031976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I Titulo Corpo later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105" y="358894"/>
            <a:ext cx="5069337" cy="6014060"/>
          </a:xfrm>
        </p:spPr>
        <p:txBody>
          <a:bodyPr/>
          <a:lstStyle>
            <a:lvl1pPr marL="0" marR="0" indent="0" algn="l" defTabSz="591880" rtl="0" eaLnBrk="1" fontAlgn="auto" latinLnBrk="0" hangingPunct="1">
              <a:lnSpc>
                <a:spcPts val="5486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r>
              <a:rPr lang="pt-PT" dirty="0"/>
              <a:t>Título </a:t>
            </a:r>
            <a:r>
              <a:rPr lang="pt-PT" dirty="0" err="1"/>
              <a:t>Lorem</a:t>
            </a:r>
            <a:r>
              <a:rPr lang="pt-PT" dirty="0"/>
              <a:t> </a:t>
            </a:r>
            <a:r>
              <a:rPr lang="pt-PT" dirty="0" err="1"/>
              <a:t>ipsum</a:t>
            </a:r>
            <a:r>
              <a:rPr lang="pt-PT" dirty="0"/>
              <a:t> DOLOR SIT AMET CONSECTETOR LOREM IPSUM INSERIR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256814" y="358894"/>
            <a:ext cx="5080447" cy="601406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56246823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80" y="1854632"/>
            <a:ext cx="5080446" cy="451832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854730"/>
            <a:ext cx="5080448" cy="451832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2080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4687" indent="0">
              <a:buNone/>
              <a:defRPr sz="2700">
                <a:solidFill>
                  <a:schemeClr val="accent3"/>
                </a:solidFill>
              </a:defRPr>
            </a:lvl2pPr>
            <a:lvl3pPr marL="472916" indent="0">
              <a:buNone/>
              <a:defRPr sz="2700">
                <a:solidFill>
                  <a:schemeClr val="accent3"/>
                </a:solidFill>
              </a:defRPr>
            </a:lvl3pPr>
            <a:lvl4pPr marL="701150" indent="0">
              <a:buNone/>
              <a:defRPr sz="2700">
                <a:solidFill>
                  <a:schemeClr val="accent3"/>
                </a:solidFill>
              </a:defRPr>
            </a:lvl4pPr>
            <a:lvl5pPr marL="929386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05019663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1000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>
          <a:xfrm>
            <a:off x="597456" y="6229821"/>
            <a:ext cx="2788126" cy="357857"/>
          </a:xfrm>
          <a:prstGeom prst="rect">
            <a:avLst/>
          </a:prstGeom>
        </p:spPr>
        <p:txBody>
          <a:bodyPr lIns="91148" tIns="45575" rIns="91148" bIns="45575"/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>
          <a:xfrm>
            <a:off x="4082614" y="6229821"/>
            <a:ext cx="3783886" cy="357857"/>
          </a:xfrm>
          <a:prstGeom prst="rect">
            <a:avLst/>
          </a:prstGeom>
        </p:spPr>
        <p:txBody>
          <a:bodyPr lIns="91148" tIns="45575" rIns="91148" bIns="45575"/>
          <a:lstStyle/>
          <a:p>
            <a:endParaRPr lang="pt-BR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98175360"/>
      </p:ext>
    </p:extLst>
  </p:cSld>
  <p:clrMapOvr>
    <a:masterClrMapping/>
  </p:clrMapOvr>
</p:sldLayout>
</file>

<file path=ppt/slideLayouts/slideLayout100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a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03420328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0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5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 userDrawn="1"/>
        </p:nvSpPr>
        <p:spPr>
          <a:xfrm>
            <a:off x="9689506" y="3762877"/>
            <a:ext cx="1194911" cy="896197"/>
          </a:xfrm>
          <a:prstGeom prst="rect">
            <a:avLst/>
          </a:prstGeom>
        </p:spPr>
        <p:txBody>
          <a:bodyPr vert="horz" wrap="none" lIns="119387" tIns="59693" rIns="119387" bIns="59693" rtlCol="0" anchor="ctr">
            <a:noAutofit/>
          </a:bodyPr>
          <a:lstStyle/>
          <a:p>
            <a:pPr marL="373056" indent="-373056">
              <a:buFont typeface="Arial"/>
              <a:buChar char="•"/>
            </a:pPr>
            <a:endParaRPr lang="en-US" sz="2700" dirty="0">
              <a:solidFill>
                <a:srgbClr val="4D4D4D"/>
              </a:solidFill>
              <a:latin typeface="Simplon BP"/>
            </a:endParaRPr>
          </a:p>
        </p:txBody>
      </p:sp>
      <p:sp>
        <p:nvSpPr>
          <p:cNvPr id="13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422135" y="2848723"/>
            <a:ext cx="5577332" cy="1562434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596885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6885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6885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6885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  <p:sp>
        <p:nvSpPr>
          <p:cNvPr id="14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422135" y="1790555"/>
            <a:ext cx="4970423" cy="73342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596885" rtl="0" eaLnBrk="1" fontAlgn="auto" latinLnBrk="0" hangingPunct="1">
              <a:lnSpc>
                <a:spcPts val="2352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 cap="all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68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smtClean="0"/>
              <a:t>has </a:t>
            </a:r>
            <a:br>
              <a:rPr lang="en-US" dirty="0" smtClean="0"/>
            </a:br>
            <a:r>
              <a:rPr lang="en-US" dirty="0" smtClean="0"/>
              <a:t>id </a:t>
            </a:r>
            <a:r>
              <a:rPr lang="en-US" dirty="0" err="1" smtClean="0"/>
              <a:t>cibo</a:t>
            </a:r>
            <a:r>
              <a:rPr lang="en-US" dirty="0" smtClean="0"/>
              <a:t> </a:t>
            </a:r>
            <a:r>
              <a:rPr lang="en-US" dirty="0" err="1" smtClean="0"/>
              <a:t>quidam</a:t>
            </a:r>
            <a:r>
              <a:rPr lang="en-US" dirty="0" smtClean="0"/>
              <a:t> </a:t>
            </a:r>
            <a:r>
              <a:rPr lang="en-US" dirty="0" err="1" smtClean="0"/>
              <a:t>facilis</a:t>
            </a:r>
            <a:endParaRPr lang="en-US" dirty="0"/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422136" y="349336"/>
            <a:ext cx="4970421" cy="123378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703"/>
              </a:lnSpc>
              <a:defRPr sz="4700">
                <a:solidFill>
                  <a:srgbClr val="EA288C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</a:t>
            </a:r>
            <a:br>
              <a:rPr lang="en-US" dirty="0" smtClean="0"/>
            </a:br>
            <a:r>
              <a:rPr lang="en-US" dirty="0" smtClean="0"/>
              <a:t>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98693239"/>
      </p:ext>
    </p:extLst>
  </p:cSld>
  <p:clrMapOvr>
    <a:masterClrMapping/>
  </p:clrMapOvr>
</p:sldLayout>
</file>

<file path=ppt/slideLayouts/slideLayout100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5411072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0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41" y="358956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38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41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517" indent="0">
              <a:buNone/>
              <a:defRPr sz="2700">
                <a:solidFill>
                  <a:schemeClr val="accent3"/>
                </a:solidFill>
              </a:defRPr>
            </a:lvl2pPr>
            <a:lvl3pPr marL="474524" indent="0">
              <a:buNone/>
              <a:defRPr sz="2700">
                <a:solidFill>
                  <a:schemeClr val="accent3"/>
                </a:solidFill>
              </a:defRPr>
            </a:lvl3pPr>
            <a:lvl4pPr marL="703535" indent="0">
              <a:buNone/>
              <a:defRPr sz="2700">
                <a:solidFill>
                  <a:schemeClr val="accent3"/>
                </a:solidFill>
              </a:defRPr>
            </a:lvl4pPr>
            <a:lvl5pPr marL="932550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613658205"/>
      </p:ext>
    </p:extLst>
  </p:cSld>
  <p:clrMapOvr>
    <a:masterClrMapping/>
  </p:clrMapOvr>
</p:sldLayout>
</file>

<file path=ppt/slideLayouts/slideLayout10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38" y="1854632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31172573"/>
      </p:ext>
    </p:extLst>
  </p:cSld>
  <p:clrMapOvr>
    <a:masterClrMapping/>
  </p:clrMapOvr>
</p:sldLayout>
</file>

<file path=ppt/slideLayouts/slideLayout10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06322744"/>
      </p:ext>
    </p:extLst>
  </p:cSld>
  <p:clrMapOvr>
    <a:masterClrMapping/>
  </p:clrMapOvr>
</p:sldLayout>
</file>

<file path=ppt/slideLayouts/slideLayout10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80" y="1854632"/>
            <a:ext cx="5080446" cy="451832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854691"/>
            <a:ext cx="5080448" cy="451832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2041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517" indent="0">
              <a:buNone/>
              <a:defRPr sz="2700">
                <a:solidFill>
                  <a:schemeClr val="accent3"/>
                </a:solidFill>
              </a:defRPr>
            </a:lvl2pPr>
            <a:lvl3pPr marL="474524" indent="0">
              <a:buNone/>
              <a:defRPr sz="2700">
                <a:solidFill>
                  <a:schemeClr val="accent3"/>
                </a:solidFill>
              </a:defRPr>
            </a:lvl3pPr>
            <a:lvl4pPr marL="703535" indent="0">
              <a:buNone/>
              <a:defRPr sz="2700">
                <a:solidFill>
                  <a:schemeClr val="accent3"/>
                </a:solidFill>
              </a:defRPr>
            </a:lvl4pPr>
            <a:lvl5pPr marL="932550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319358151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100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1375451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00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08" y="358925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07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08" y="819634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6210" indent="0">
              <a:buNone/>
              <a:defRPr sz="2700">
                <a:solidFill>
                  <a:schemeClr val="accent3"/>
                </a:solidFill>
              </a:defRPr>
            </a:lvl2pPr>
            <a:lvl3pPr marL="475867" indent="0">
              <a:buNone/>
              <a:defRPr sz="2700">
                <a:solidFill>
                  <a:schemeClr val="accent3"/>
                </a:solidFill>
              </a:defRPr>
            </a:lvl3pPr>
            <a:lvl4pPr marL="705528" indent="0">
              <a:buNone/>
              <a:defRPr sz="2700">
                <a:solidFill>
                  <a:schemeClr val="accent3"/>
                </a:solidFill>
              </a:defRPr>
            </a:lvl4pPr>
            <a:lvl5pPr marL="935196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520351569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1015718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010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>
          <a:xfrm>
            <a:off x="597456" y="6229821"/>
            <a:ext cx="2788126" cy="357857"/>
          </a:xfrm>
          <a:prstGeom prst="rect">
            <a:avLst/>
          </a:prstGeom>
        </p:spPr>
        <p:txBody>
          <a:bodyPr lIns="91180" tIns="45589" rIns="91180" bIns="45589"/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>
          <a:xfrm>
            <a:off x="4082614" y="6229821"/>
            <a:ext cx="3783886" cy="357857"/>
          </a:xfrm>
          <a:prstGeom prst="rect">
            <a:avLst/>
          </a:prstGeom>
        </p:spPr>
        <p:txBody>
          <a:bodyPr lIns="91180" tIns="45589" rIns="91180" bIns="45589"/>
          <a:lstStyle/>
          <a:p>
            <a:endParaRPr lang="pt-BR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94100046"/>
      </p:ext>
    </p:extLst>
  </p:cSld>
  <p:clrMapOvr>
    <a:masterClrMapping/>
  </p:clrMapOvr>
</p:sldLayout>
</file>

<file path=ppt/slideLayouts/slideLayout10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a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64699408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5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 userDrawn="1"/>
        </p:nvSpPr>
        <p:spPr>
          <a:xfrm>
            <a:off x="9689506" y="3762877"/>
            <a:ext cx="1194911" cy="896197"/>
          </a:xfrm>
          <a:prstGeom prst="rect">
            <a:avLst/>
          </a:prstGeom>
        </p:spPr>
        <p:txBody>
          <a:bodyPr vert="horz" wrap="none" lIns="119425" tIns="59712" rIns="119425" bIns="59712" rtlCol="0" anchor="ctr">
            <a:noAutofit/>
          </a:bodyPr>
          <a:lstStyle/>
          <a:p>
            <a:pPr marL="373179" indent="-373179">
              <a:buFont typeface="Arial"/>
              <a:buChar char="•"/>
            </a:pPr>
            <a:endParaRPr lang="en-US" sz="2700" dirty="0">
              <a:solidFill>
                <a:srgbClr val="4D4D4D"/>
              </a:solidFill>
              <a:latin typeface="Simplon BP"/>
            </a:endParaRPr>
          </a:p>
        </p:txBody>
      </p:sp>
      <p:sp>
        <p:nvSpPr>
          <p:cNvPr id="13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422135" y="2848723"/>
            <a:ext cx="5577332" cy="1562434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597087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7087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7087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7087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  <p:sp>
        <p:nvSpPr>
          <p:cNvPr id="14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422135" y="1790555"/>
            <a:ext cx="4970423" cy="73342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597087" rtl="0" eaLnBrk="1" fontAlgn="auto" latinLnBrk="0" hangingPunct="1">
              <a:lnSpc>
                <a:spcPts val="2352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 cap="all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70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smtClean="0"/>
              <a:t>has </a:t>
            </a:r>
            <a:br>
              <a:rPr lang="en-US" dirty="0" smtClean="0"/>
            </a:br>
            <a:r>
              <a:rPr lang="en-US" dirty="0" smtClean="0"/>
              <a:t>id </a:t>
            </a:r>
            <a:r>
              <a:rPr lang="en-US" dirty="0" err="1" smtClean="0"/>
              <a:t>cibo</a:t>
            </a:r>
            <a:r>
              <a:rPr lang="en-US" dirty="0" smtClean="0"/>
              <a:t> </a:t>
            </a:r>
            <a:r>
              <a:rPr lang="en-US" dirty="0" err="1" smtClean="0"/>
              <a:t>quidam</a:t>
            </a:r>
            <a:r>
              <a:rPr lang="en-US" dirty="0" smtClean="0"/>
              <a:t> </a:t>
            </a:r>
            <a:r>
              <a:rPr lang="en-US" dirty="0" err="1" smtClean="0"/>
              <a:t>facilis</a:t>
            </a:r>
            <a:endParaRPr lang="en-US" dirty="0"/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422136" y="349332"/>
            <a:ext cx="4970421" cy="123378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703"/>
              </a:lnSpc>
              <a:defRPr sz="4700">
                <a:solidFill>
                  <a:srgbClr val="EA288C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</a:t>
            </a:r>
            <a:br>
              <a:rPr lang="en-US" dirty="0" smtClean="0"/>
            </a:br>
            <a:r>
              <a:rPr lang="en-US" dirty="0" smtClean="0"/>
              <a:t>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66980217"/>
      </p:ext>
    </p:extLst>
  </p:cSld>
  <p:clrMapOvr>
    <a:masterClrMapping/>
  </p:clrMapOvr>
</p:sldLayout>
</file>

<file path=ppt/slideLayouts/slideLayout10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670963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0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1840347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0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6351483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0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2553567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0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7771031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0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3930107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0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EA288C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6674823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2173271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0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6D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7431241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0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A02B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146749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0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41" y="358956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38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41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517" indent="0">
              <a:buNone/>
              <a:defRPr sz="2700">
                <a:solidFill>
                  <a:schemeClr val="accent3"/>
                </a:solidFill>
              </a:defRPr>
            </a:lvl2pPr>
            <a:lvl3pPr marL="474524" indent="0">
              <a:buNone/>
              <a:defRPr sz="2700">
                <a:solidFill>
                  <a:schemeClr val="accent3"/>
                </a:solidFill>
              </a:defRPr>
            </a:lvl3pPr>
            <a:lvl4pPr marL="703535" indent="0">
              <a:buNone/>
              <a:defRPr sz="2700">
                <a:solidFill>
                  <a:schemeClr val="accent3"/>
                </a:solidFill>
              </a:defRPr>
            </a:lvl4pPr>
            <a:lvl5pPr marL="932550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21130017"/>
      </p:ext>
    </p:extLst>
  </p:cSld>
  <p:clrMapOvr>
    <a:masterClrMapping/>
  </p:clrMapOvr>
</p:sldLayout>
</file>

<file path=ppt/slideLayouts/slideLayout10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38" y="1854632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73937668"/>
      </p:ext>
    </p:extLst>
  </p:cSld>
  <p:clrMapOvr>
    <a:masterClrMapping/>
  </p:clrMapOvr>
</p:sldLayout>
</file>

<file path=ppt/slideLayouts/slideLayout10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71473584"/>
      </p:ext>
    </p:extLst>
  </p:cSld>
  <p:clrMapOvr>
    <a:masterClrMapping/>
  </p:clrMapOvr>
</p:sldLayout>
</file>

<file path=ppt/slideLayouts/slideLayout10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80" y="1854632"/>
            <a:ext cx="5080446" cy="451832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854691"/>
            <a:ext cx="5080448" cy="451832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2041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517" indent="0">
              <a:buNone/>
              <a:defRPr sz="2700">
                <a:solidFill>
                  <a:schemeClr val="accent3"/>
                </a:solidFill>
              </a:defRPr>
            </a:lvl2pPr>
            <a:lvl3pPr marL="474524" indent="0">
              <a:buNone/>
              <a:defRPr sz="2700">
                <a:solidFill>
                  <a:schemeClr val="accent3"/>
                </a:solidFill>
              </a:defRPr>
            </a:lvl3pPr>
            <a:lvl4pPr marL="703535" indent="0">
              <a:buNone/>
              <a:defRPr sz="2700">
                <a:solidFill>
                  <a:schemeClr val="accent3"/>
                </a:solidFill>
              </a:defRPr>
            </a:lvl4pPr>
            <a:lvl5pPr marL="932550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346087435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10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0868547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0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08" y="358925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07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08" y="819634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6210" indent="0">
              <a:buNone/>
              <a:defRPr sz="2700">
                <a:solidFill>
                  <a:schemeClr val="accent3"/>
                </a:solidFill>
              </a:defRPr>
            </a:lvl2pPr>
            <a:lvl3pPr marL="475867" indent="0">
              <a:buNone/>
              <a:defRPr sz="2700">
                <a:solidFill>
                  <a:schemeClr val="accent3"/>
                </a:solidFill>
              </a:defRPr>
            </a:lvl3pPr>
            <a:lvl4pPr marL="705528" indent="0">
              <a:buNone/>
              <a:defRPr sz="2700">
                <a:solidFill>
                  <a:schemeClr val="accent3"/>
                </a:solidFill>
              </a:defRPr>
            </a:lvl4pPr>
            <a:lvl5pPr marL="935196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007740551"/>
      </p:ext>
    </p:extLst>
  </p:cSld>
  <p:clrMapOvr>
    <a:masterClrMapping/>
  </p:clrMapOvr>
</p:sldLayout>
</file>

<file path=ppt/slideLayouts/slideLayout1028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>
          <a:xfrm>
            <a:off x="597456" y="6229821"/>
            <a:ext cx="2788126" cy="357857"/>
          </a:xfrm>
          <a:prstGeom prst="rect">
            <a:avLst/>
          </a:prstGeom>
        </p:spPr>
        <p:txBody>
          <a:bodyPr lIns="91180" tIns="45589" rIns="91180" bIns="45589"/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>
          <a:xfrm>
            <a:off x="4082614" y="6229821"/>
            <a:ext cx="3783886" cy="357857"/>
          </a:xfrm>
          <a:prstGeom prst="rect">
            <a:avLst/>
          </a:prstGeom>
        </p:spPr>
        <p:txBody>
          <a:bodyPr lIns="91180" tIns="45589" rIns="91180" bIns="45589"/>
          <a:lstStyle/>
          <a:p>
            <a:endParaRPr lang="pt-BR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86961036"/>
      </p:ext>
    </p:extLst>
  </p:cSld>
  <p:clrMapOvr>
    <a:masterClrMapping/>
  </p:clrMapOvr>
</p:sldLayout>
</file>

<file path=ppt/slideLayouts/slideLayout10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a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19446391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7289841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0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5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 userDrawn="1"/>
        </p:nvSpPr>
        <p:spPr>
          <a:xfrm>
            <a:off x="9689506" y="3762877"/>
            <a:ext cx="1194911" cy="896197"/>
          </a:xfrm>
          <a:prstGeom prst="rect">
            <a:avLst/>
          </a:prstGeom>
        </p:spPr>
        <p:txBody>
          <a:bodyPr vert="horz" wrap="none" lIns="119425" tIns="59712" rIns="119425" bIns="59712" rtlCol="0" anchor="ctr">
            <a:noAutofit/>
          </a:bodyPr>
          <a:lstStyle/>
          <a:p>
            <a:pPr marL="373179" indent="-373179">
              <a:buFont typeface="Arial"/>
              <a:buChar char="•"/>
            </a:pPr>
            <a:endParaRPr lang="en-US" sz="2700" dirty="0">
              <a:solidFill>
                <a:srgbClr val="4D4D4D"/>
              </a:solidFill>
              <a:latin typeface="Simplon BP"/>
            </a:endParaRPr>
          </a:p>
        </p:txBody>
      </p:sp>
      <p:sp>
        <p:nvSpPr>
          <p:cNvPr id="13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422135" y="2848723"/>
            <a:ext cx="5577332" cy="1562434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597087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7087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7087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7087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  <p:sp>
        <p:nvSpPr>
          <p:cNvPr id="14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422135" y="1790555"/>
            <a:ext cx="4970423" cy="73342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597087" rtl="0" eaLnBrk="1" fontAlgn="auto" latinLnBrk="0" hangingPunct="1">
              <a:lnSpc>
                <a:spcPts val="2352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 cap="all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70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smtClean="0"/>
              <a:t>has </a:t>
            </a:r>
            <a:br>
              <a:rPr lang="en-US" dirty="0" smtClean="0"/>
            </a:br>
            <a:r>
              <a:rPr lang="en-US" dirty="0" smtClean="0"/>
              <a:t>id </a:t>
            </a:r>
            <a:r>
              <a:rPr lang="en-US" dirty="0" err="1" smtClean="0"/>
              <a:t>cibo</a:t>
            </a:r>
            <a:r>
              <a:rPr lang="en-US" dirty="0" smtClean="0"/>
              <a:t> </a:t>
            </a:r>
            <a:r>
              <a:rPr lang="en-US" dirty="0" err="1" smtClean="0"/>
              <a:t>quidam</a:t>
            </a:r>
            <a:r>
              <a:rPr lang="en-US" dirty="0" smtClean="0"/>
              <a:t> </a:t>
            </a:r>
            <a:r>
              <a:rPr lang="en-US" dirty="0" err="1" smtClean="0"/>
              <a:t>facilis</a:t>
            </a:r>
            <a:endParaRPr lang="en-US" dirty="0"/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422136" y="349332"/>
            <a:ext cx="4970421" cy="123378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703"/>
              </a:lnSpc>
              <a:defRPr sz="4700">
                <a:solidFill>
                  <a:srgbClr val="EA288C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</a:t>
            </a:r>
            <a:br>
              <a:rPr lang="en-US" dirty="0" smtClean="0"/>
            </a:br>
            <a:r>
              <a:rPr lang="en-US" dirty="0" smtClean="0"/>
              <a:t>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51312652"/>
      </p:ext>
    </p:extLst>
  </p:cSld>
  <p:clrMapOvr>
    <a:masterClrMapping/>
  </p:clrMapOvr>
</p:sldLayout>
</file>

<file path=ppt/slideLayouts/slideLayout10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8460969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0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4968651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0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5795398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0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3101758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0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6963375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0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7935602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0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EA288C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2109531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0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6D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9728622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0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A02B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6268141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8400758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0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25" y="358943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25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25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822" indent="0">
              <a:buNone/>
              <a:defRPr sz="2700">
                <a:solidFill>
                  <a:schemeClr val="accent3"/>
                </a:solidFill>
              </a:defRPr>
            </a:lvl2pPr>
            <a:lvl3pPr marL="475115" indent="0">
              <a:buNone/>
              <a:defRPr sz="2700">
                <a:solidFill>
                  <a:schemeClr val="accent3"/>
                </a:solidFill>
              </a:defRPr>
            </a:lvl3pPr>
            <a:lvl4pPr marL="704412" indent="0">
              <a:buNone/>
              <a:defRPr sz="2700">
                <a:solidFill>
                  <a:schemeClr val="accent3"/>
                </a:solidFill>
              </a:defRPr>
            </a:lvl4pPr>
            <a:lvl5pPr marL="933714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91473363"/>
      </p:ext>
    </p:extLst>
  </p:cSld>
  <p:clrMapOvr>
    <a:masterClrMapping/>
  </p:clrMapOvr>
</p:sldLayout>
</file>

<file path=ppt/slideLayouts/slideLayout10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25" y="1854632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82989509"/>
      </p:ext>
    </p:extLst>
  </p:cSld>
  <p:clrMapOvr>
    <a:masterClrMapping/>
  </p:clrMapOvr>
</p:sldLayout>
</file>

<file path=ppt/slideLayouts/slideLayout10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51235604"/>
      </p:ext>
    </p:extLst>
  </p:cSld>
  <p:clrMapOvr>
    <a:masterClrMapping/>
  </p:clrMapOvr>
</p:sldLayout>
</file>

<file path=ppt/slideLayouts/slideLayout10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80" y="1854632"/>
            <a:ext cx="5080446" cy="451832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854677"/>
            <a:ext cx="5080448" cy="451832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2025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822" indent="0">
              <a:buNone/>
              <a:defRPr sz="2700">
                <a:solidFill>
                  <a:schemeClr val="accent3"/>
                </a:solidFill>
              </a:defRPr>
            </a:lvl2pPr>
            <a:lvl3pPr marL="475115" indent="0">
              <a:buNone/>
              <a:defRPr sz="2700">
                <a:solidFill>
                  <a:schemeClr val="accent3"/>
                </a:solidFill>
              </a:defRPr>
            </a:lvl3pPr>
            <a:lvl4pPr marL="704412" indent="0">
              <a:buNone/>
              <a:defRPr sz="2700">
                <a:solidFill>
                  <a:schemeClr val="accent3"/>
                </a:solidFill>
              </a:defRPr>
            </a:lvl4pPr>
            <a:lvl5pPr marL="933714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14568004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10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077" y="2077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81204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21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77" y="2077"/>
                        <a:ext cx="2074" cy="20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7459" y="6371922"/>
            <a:ext cx="10176095" cy="282263"/>
          </a:xfrm>
          <a:prstGeom prst="rect">
            <a:avLst/>
          </a:prstGeom>
        </p:spPr>
        <p:txBody>
          <a:bodyPr vert="horz" lIns="91398" tIns="45699" rIns="91398" bIns="45699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3552" y="6371922"/>
            <a:ext cx="578105" cy="282263"/>
          </a:xfrm>
          <a:prstGeom prst="rect">
            <a:avLst/>
          </a:prstGeom>
        </p:spPr>
        <p:txBody>
          <a:bodyPr vert="horz" lIns="91398" tIns="45699" rIns="91398" bIns="45699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9448787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8429173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0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9367432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0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6317605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0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0341875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0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1570419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9766083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0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EA288C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5639524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0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6D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0262115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0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A02B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2534712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0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4266313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0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3471430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0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003647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0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328822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0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4957186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0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EA288C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2734312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0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6D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422141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EA288C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8396256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0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A02B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2942959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0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41" y="358956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38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41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517" indent="0">
              <a:buNone/>
              <a:defRPr sz="2700">
                <a:solidFill>
                  <a:schemeClr val="accent3"/>
                </a:solidFill>
              </a:defRPr>
            </a:lvl2pPr>
            <a:lvl3pPr marL="474524" indent="0">
              <a:buNone/>
              <a:defRPr sz="2700">
                <a:solidFill>
                  <a:schemeClr val="accent3"/>
                </a:solidFill>
              </a:defRPr>
            </a:lvl3pPr>
            <a:lvl4pPr marL="703535" indent="0">
              <a:buNone/>
              <a:defRPr sz="2700">
                <a:solidFill>
                  <a:schemeClr val="accent3"/>
                </a:solidFill>
              </a:defRPr>
            </a:lvl4pPr>
            <a:lvl5pPr marL="932550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3849118534"/>
      </p:ext>
    </p:extLst>
  </p:cSld>
  <p:clrMapOvr>
    <a:masterClrMapping/>
  </p:clrMapOvr>
</p:sldLayout>
</file>

<file path=ppt/slideLayouts/slideLayout10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38" y="1854632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32413400"/>
      </p:ext>
    </p:extLst>
  </p:cSld>
  <p:clrMapOvr>
    <a:masterClrMapping/>
  </p:clrMapOvr>
</p:sldLayout>
</file>

<file path=ppt/slideLayouts/slideLayout10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0360193"/>
      </p:ext>
    </p:extLst>
  </p:cSld>
  <p:clrMapOvr>
    <a:masterClrMapping/>
  </p:clrMapOvr>
</p:sldLayout>
</file>

<file path=ppt/slideLayouts/slideLayout10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80" y="1854632"/>
            <a:ext cx="5080446" cy="451832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854691"/>
            <a:ext cx="5080448" cy="451832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2041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517" indent="0">
              <a:buNone/>
              <a:defRPr sz="2700">
                <a:solidFill>
                  <a:schemeClr val="accent3"/>
                </a:solidFill>
              </a:defRPr>
            </a:lvl2pPr>
            <a:lvl3pPr marL="474524" indent="0">
              <a:buNone/>
              <a:defRPr sz="2700">
                <a:solidFill>
                  <a:schemeClr val="accent3"/>
                </a:solidFill>
              </a:defRPr>
            </a:lvl3pPr>
            <a:lvl4pPr marL="703535" indent="0">
              <a:buNone/>
              <a:defRPr sz="2700">
                <a:solidFill>
                  <a:schemeClr val="accent3"/>
                </a:solidFill>
              </a:defRPr>
            </a:lvl4pPr>
            <a:lvl5pPr marL="932550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40091479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106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4753734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06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08" y="358925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07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08" y="819634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6210" indent="0">
              <a:buNone/>
              <a:defRPr sz="2700">
                <a:solidFill>
                  <a:schemeClr val="accent3"/>
                </a:solidFill>
              </a:defRPr>
            </a:lvl2pPr>
            <a:lvl3pPr marL="475867" indent="0">
              <a:buNone/>
              <a:defRPr sz="2700">
                <a:solidFill>
                  <a:schemeClr val="accent3"/>
                </a:solidFill>
              </a:defRPr>
            </a:lvl3pPr>
            <a:lvl4pPr marL="705528" indent="0">
              <a:buNone/>
              <a:defRPr sz="2700">
                <a:solidFill>
                  <a:schemeClr val="accent3"/>
                </a:solidFill>
              </a:defRPr>
            </a:lvl4pPr>
            <a:lvl5pPr marL="935196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631597863"/>
      </p:ext>
    </p:extLst>
  </p:cSld>
  <p:clrMapOvr>
    <a:masterClrMapping/>
  </p:clrMapOvr>
</p:sldLayout>
</file>

<file path=ppt/slideLayouts/slideLayout106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>
          <a:xfrm>
            <a:off x="597456" y="6229821"/>
            <a:ext cx="2788126" cy="357857"/>
          </a:xfrm>
          <a:prstGeom prst="rect">
            <a:avLst/>
          </a:prstGeom>
        </p:spPr>
        <p:txBody>
          <a:bodyPr lIns="91180" tIns="45589" rIns="91180" bIns="45589"/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>
          <a:xfrm>
            <a:off x="4082614" y="6229821"/>
            <a:ext cx="3783886" cy="357857"/>
          </a:xfrm>
          <a:prstGeom prst="rect">
            <a:avLst/>
          </a:prstGeom>
        </p:spPr>
        <p:txBody>
          <a:bodyPr lIns="91180" tIns="45589" rIns="91180" bIns="45589"/>
          <a:lstStyle/>
          <a:p>
            <a:endParaRPr lang="pt-BR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25415057"/>
      </p:ext>
    </p:extLst>
  </p:cSld>
  <p:clrMapOvr>
    <a:masterClrMapping/>
  </p:clrMapOvr>
</p:sldLayout>
</file>

<file path=ppt/slideLayouts/slideLayout106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a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3867336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6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5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 userDrawn="1"/>
        </p:nvSpPr>
        <p:spPr>
          <a:xfrm>
            <a:off x="9689506" y="3762877"/>
            <a:ext cx="1194911" cy="896197"/>
          </a:xfrm>
          <a:prstGeom prst="rect">
            <a:avLst/>
          </a:prstGeom>
        </p:spPr>
        <p:txBody>
          <a:bodyPr vert="horz" wrap="none" lIns="119425" tIns="59712" rIns="119425" bIns="59712" rtlCol="0" anchor="ctr">
            <a:noAutofit/>
          </a:bodyPr>
          <a:lstStyle/>
          <a:p>
            <a:pPr marL="373179" indent="-373179">
              <a:buFont typeface="Arial"/>
              <a:buChar char="•"/>
            </a:pPr>
            <a:endParaRPr lang="en-US" sz="2700" dirty="0">
              <a:solidFill>
                <a:srgbClr val="4D4D4D"/>
              </a:solidFill>
              <a:latin typeface="Simplon BP"/>
            </a:endParaRPr>
          </a:p>
        </p:txBody>
      </p:sp>
      <p:sp>
        <p:nvSpPr>
          <p:cNvPr id="13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422135" y="2848723"/>
            <a:ext cx="5577332" cy="1562434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597087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7087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7087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7087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  <p:sp>
        <p:nvSpPr>
          <p:cNvPr id="14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422135" y="1790555"/>
            <a:ext cx="4970423" cy="73342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597087" rtl="0" eaLnBrk="1" fontAlgn="auto" latinLnBrk="0" hangingPunct="1">
              <a:lnSpc>
                <a:spcPts val="2352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 cap="all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70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smtClean="0"/>
              <a:t>has </a:t>
            </a:r>
            <a:br>
              <a:rPr lang="en-US" dirty="0" smtClean="0"/>
            </a:br>
            <a:r>
              <a:rPr lang="en-US" dirty="0" smtClean="0"/>
              <a:t>id </a:t>
            </a:r>
            <a:r>
              <a:rPr lang="en-US" dirty="0" err="1" smtClean="0"/>
              <a:t>cibo</a:t>
            </a:r>
            <a:r>
              <a:rPr lang="en-US" dirty="0" smtClean="0"/>
              <a:t> </a:t>
            </a:r>
            <a:r>
              <a:rPr lang="en-US" dirty="0" err="1" smtClean="0"/>
              <a:t>quidam</a:t>
            </a:r>
            <a:r>
              <a:rPr lang="en-US" dirty="0" smtClean="0"/>
              <a:t> </a:t>
            </a:r>
            <a:r>
              <a:rPr lang="en-US" dirty="0" err="1" smtClean="0"/>
              <a:t>facilis</a:t>
            </a:r>
            <a:endParaRPr lang="en-US" dirty="0"/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422136" y="349332"/>
            <a:ext cx="4970421" cy="123378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703"/>
              </a:lnSpc>
              <a:defRPr sz="4700">
                <a:solidFill>
                  <a:srgbClr val="EA288C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</a:t>
            </a:r>
            <a:br>
              <a:rPr lang="en-US" dirty="0" smtClean="0"/>
            </a:br>
            <a:r>
              <a:rPr lang="en-US" dirty="0" smtClean="0"/>
              <a:t>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34801955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6D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6339674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07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163536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0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8462717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0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6798379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0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1116480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0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5240976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0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4679864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0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EA288C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5834056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0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6D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9451358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0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A02B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6580666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0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41" y="358956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38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41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517" indent="0">
              <a:buNone/>
              <a:defRPr sz="2700">
                <a:solidFill>
                  <a:schemeClr val="accent3"/>
                </a:solidFill>
              </a:defRPr>
            </a:lvl2pPr>
            <a:lvl3pPr marL="474524" indent="0">
              <a:buNone/>
              <a:defRPr sz="2700">
                <a:solidFill>
                  <a:schemeClr val="accent3"/>
                </a:solidFill>
              </a:defRPr>
            </a:lvl3pPr>
            <a:lvl4pPr marL="703535" indent="0">
              <a:buNone/>
              <a:defRPr sz="2700">
                <a:solidFill>
                  <a:schemeClr val="accent3"/>
                </a:solidFill>
              </a:defRPr>
            </a:lvl4pPr>
            <a:lvl5pPr marL="932550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409926156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A02B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8770076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0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38" y="1854632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11387900"/>
      </p:ext>
    </p:extLst>
  </p:cSld>
  <p:clrMapOvr>
    <a:masterClrMapping/>
  </p:clrMapOvr>
</p:sldLayout>
</file>

<file path=ppt/slideLayouts/slideLayout10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47470037"/>
      </p:ext>
    </p:extLst>
  </p:cSld>
  <p:clrMapOvr>
    <a:masterClrMapping/>
  </p:clrMapOvr>
</p:sldLayout>
</file>

<file path=ppt/slideLayouts/slideLayout10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80" y="1854632"/>
            <a:ext cx="5080446" cy="451832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854691"/>
            <a:ext cx="5080448" cy="451832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2041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517" indent="0">
              <a:buNone/>
              <a:defRPr sz="2700">
                <a:solidFill>
                  <a:schemeClr val="accent3"/>
                </a:solidFill>
              </a:defRPr>
            </a:lvl2pPr>
            <a:lvl3pPr marL="474524" indent="0">
              <a:buNone/>
              <a:defRPr sz="2700">
                <a:solidFill>
                  <a:schemeClr val="accent3"/>
                </a:solidFill>
              </a:defRPr>
            </a:lvl3pPr>
            <a:lvl4pPr marL="703535" indent="0">
              <a:buNone/>
              <a:defRPr sz="2700">
                <a:solidFill>
                  <a:schemeClr val="accent3"/>
                </a:solidFill>
              </a:defRPr>
            </a:lvl4pPr>
            <a:lvl5pPr marL="932550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54078726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10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2588251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0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08" y="358925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07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08" y="819634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6210" indent="0">
              <a:buNone/>
              <a:defRPr sz="2700">
                <a:solidFill>
                  <a:schemeClr val="accent3"/>
                </a:solidFill>
              </a:defRPr>
            </a:lvl2pPr>
            <a:lvl3pPr marL="475867" indent="0">
              <a:buNone/>
              <a:defRPr sz="2700">
                <a:solidFill>
                  <a:schemeClr val="accent3"/>
                </a:solidFill>
              </a:defRPr>
            </a:lvl3pPr>
            <a:lvl4pPr marL="705528" indent="0">
              <a:buNone/>
              <a:defRPr sz="2700">
                <a:solidFill>
                  <a:schemeClr val="accent3"/>
                </a:solidFill>
              </a:defRPr>
            </a:lvl4pPr>
            <a:lvl5pPr marL="935196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012389945"/>
      </p:ext>
    </p:extLst>
  </p:cSld>
  <p:clrMapOvr>
    <a:masterClrMapping/>
  </p:clrMapOvr>
</p:sldLayout>
</file>

<file path=ppt/slideLayouts/slideLayout108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>
          <a:xfrm>
            <a:off x="597456" y="6229821"/>
            <a:ext cx="2788126" cy="357857"/>
          </a:xfrm>
          <a:prstGeom prst="rect">
            <a:avLst/>
          </a:prstGeom>
        </p:spPr>
        <p:txBody>
          <a:bodyPr lIns="91180" tIns="45589" rIns="91180" bIns="45589"/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>
          <a:xfrm>
            <a:off x="4082614" y="6229821"/>
            <a:ext cx="3783886" cy="357857"/>
          </a:xfrm>
          <a:prstGeom prst="rect">
            <a:avLst/>
          </a:prstGeom>
        </p:spPr>
        <p:txBody>
          <a:bodyPr lIns="91180" tIns="45589" rIns="91180" bIns="45589"/>
          <a:lstStyle/>
          <a:p>
            <a:endParaRPr lang="pt-BR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74565314"/>
      </p:ext>
    </p:extLst>
  </p:cSld>
  <p:clrMapOvr>
    <a:masterClrMapping/>
  </p:clrMapOvr>
</p:sldLayout>
</file>

<file path=ppt/slideLayouts/slideLayout10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a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05533579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8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5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 userDrawn="1"/>
        </p:nvSpPr>
        <p:spPr>
          <a:xfrm>
            <a:off x="9689506" y="3762877"/>
            <a:ext cx="1194911" cy="896197"/>
          </a:xfrm>
          <a:prstGeom prst="rect">
            <a:avLst/>
          </a:prstGeom>
        </p:spPr>
        <p:txBody>
          <a:bodyPr vert="horz" wrap="none" lIns="119425" tIns="59712" rIns="119425" bIns="59712" rtlCol="0" anchor="ctr">
            <a:noAutofit/>
          </a:bodyPr>
          <a:lstStyle/>
          <a:p>
            <a:pPr marL="373179" indent="-373179">
              <a:buFont typeface="Arial"/>
              <a:buChar char="•"/>
            </a:pPr>
            <a:endParaRPr lang="en-US" sz="2700" dirty="0">
              <a:solidFill>
                <a:srgbClr val="4D4D4D"/>
              </a:solidFill>
              <a:latin typeface="Simplon BP"/>
            </a:endParaRPr>
          </a:p>
        </p:txBody>
      </p:sp>
      <p:sp>
        <p:nvSpPr>
          <p:cNvPr id="13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422135" y="2848723"/>
            <a:ext cx="5577332" cy="1562434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597087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7087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7087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7087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  <p:sp>
        <p:nvSpPr>
          <p:cNvPr id="14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422135" y="1790555"/>
            <a:ext cx="4970423" cy="73342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597087" rtl="0" eaLnBrk="1" fontAlgn="auto" latinLnBrk="0" hangingPunct="1">
              <a:lnSpc>
                <a:spcPts val="2352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 cap="all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70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smtClean="0"/>
              <a:t>has </a:t>
            </a:r>
            <a:br>
              <a:rPr lang="en-US" dirty="0" smtClean="0"/>
            </a:br>
            <a:r>
              <a:rPr lang="en-US" dirty="0" smtClean="0"/>
              <a:t>id </a:t>
            </a:r>
            <a:r>
              <a:rPr lang="en-US" dirty="0" err="1" smtClean="0"/>
              <a:t>cibo</a:t>
            </a:r>
            <a:r>
              <a:rPr lang="en-US" dirty="0" smtClean="0"/>
              <a:t> </a:t>
            </a:r>
            <a:r>
              <a:rPr lang="en-US" dirty="0" err="1" smtClean="0"/>
              <a:t>quidam</a:t>
            </a:r>
            <a:r>
              <a:rPr lang="en-US" dirty="0" smtClean="0"/>
              <a:t> </a:t>
            </a:r>
            <a:r>
              <a:rPr lang="en-US" dirty="0" err="1" smtClean="0"/>
              <a:t>facilis</a:t>
            </a:r>
            <a:endParaRPr lang="en-US" dirty="0"/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422136" y="349332"/>
            <a:ext cx="4970421" cy="123378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703"/>
              </a:lnSpc>
              <a:defRPr sz="4700">
                <a:solidFill>
                  <a:srgbClr val="EA288C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</a:t>
            </a:r>
            <a:br>
              <a:rPr lang="en-US" dirty="0" smtClean="0"/>
            </a:br>
            <a:r>
              <a:rPr lang="en-US" dirty="0" smtClean="0"/>
              <a:t>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7005125"/>
      </p:ext>
    </p:extLst>
  </p:cSld>
  <p:clrMapOvr>
    <a:masterClrMapping/>
  </p:clrMapOvr>
</p:sldLayout>
</file>

<file path=ppt/slideLayouts/slideLayout108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1094177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0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7768426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91421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19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 userDrawn="1"/>
        </p:nvSpPr>
        <p:spPr bwMode="auto">
          <a:xfrm>
            <a:off x="437849" y="131294"/>
            <a:ext cx="88165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pt-BR" sz="800" b="1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WORKING DRAFT</a:t>
            </a:r>
            <a:endParaRPr lang="pt-BR" sz="800" b="1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256937" y="36518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pt-BR" sz="800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 userDrawn="1"/>
        </p:nvSpPr>
        <p:spPr bwMode="auto">
          <a:xfrm>
            <a:off x="437874" y="286867"/>
            <a:ext cx="3069751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 userDrawn="1"/>
        </p:nvSpPr>
        <p:spPr bwMode="auto">
          <a:xfrm>
            <a:off x="437851" y="444027"/>
            <a:ext cx="270106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8" name="McK Title Elements" hidden="1"/>
          <p:cNvGrpSpPr>
            <a:grpSpLocks/>
          </p:cNvGrpSpPr>
          <p:nvPr userDrawn="1"/>
        </p:nvGrpSpPr>
        <p:grpSpPr bwMode="auto">
          <a:xfrm>
            <a:off x="5" y="110"/>
            <a:ext cx="11944879" cy="6723063"/>
            <a:chOff x="0" y="0"/>
            <a:chExt cx="5643" cy="4235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207" y="3361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ocument typ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207" y="3550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at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1" name="McK Disclaimer"/>
            <p:cNvSpPr>
              <a:spLocks noChangeArrowheads="1"/>
            </p:cNvSpPr>
            <p:nvPr/>
          </p:nvSpPr>
          <p:spPr bwMode="auto">
            <a:xfrm>
              <a:off x="207" y="3963"/>
              <a:ext cx="3226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798301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NFIDENTIAL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D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PRIETARY</a:t>
              </a:r>
              <a:endParaRPr lang="pt-BR" sz="80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  <a:p>
              <a:pPr defTabSz="798301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use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his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aterial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without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pecific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ermission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cKinsey &amp;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mpan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is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trictl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hibited</a:t>
              </a:r>
              <a:endParaRPr lang="pt-BR" sz="8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2" name="TitleBottomPlaceholder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3" name="TitleTopPlaceholder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Rectangle 1189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pic>
        <p:nvPicPr>
          <p:cNvPr id="18" name="TitleBottomBarBW" hidden="1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65754" y="6443669"/>
            <a:ext cx="2182379" cy="1920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7" name="Freeform 5"/>
          <p:cNvSpPr>
            <a:spLocks/>
          </p:cNvSpPr>
          <p:nvPr userDrawn="1"/>
        </p:nvSpPr>
        <p:spPr bwMode="auto">
          <a:xfrm flipH="1">
            <a:off x="4236" y="6635865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0678" tIns="45339" rIns="90678" bIns="45339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9" name="Freeform 5"/>
          <p:cNvSpPr>
            <a:spLocks/>
          </p:cNvSpPr>
          <p:nvPr userDrawn="1"/>
        </p:nvSpPr>
        <p:spPr bwMode="auto">
          <a:xfrm flipH="1">
            <a:off x="4236" y="3272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0678" tIns="45339" rIns="90678" bIns="45339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 userDrawn="1">
            <p:ph type="ctrTitle"/>
          </p:nvPr>
        </p:nvSpPr>
        <p:spPr>
          <a:xfrm>
            <a:off x="437853" y="2238434"/>
            <a:ext cx="6581329" cy="1292662"/>
          </a:xfrm>
          <a:prstGeom prst="rect">
            <a:avLst/>
          </a:prstGeom>
        </p:spPr>
        <p:txBody>
          <a:bodyPr/>
          <a:lstStyle>
            <a:lvl1pPr>
              <a:defRPr sz="4200" b="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dirty="0" smtClean="0"/>
              <a:t>Click </a:t>
            </a:r>
            <a:r>
              <a:rPr lang="pt-BR" noProof="0" dirty="0" err="1" smtClean="0"/>
              <a:t>to</a:t>
            </a:r>
            <a:r>
              <a:rPr lang="pt-BR" noProof="0" dirty="0" smtClean="0"/>
              <a:t> </a:t>
            </a:r>
            <a:r>
              <a:rPr lang="pt-BR" noProof="0" dirty="0" err="1" smtClean="0"/>
              <a:t>edit</a:t>
            </a:r>
            <a:r>
              <a:rPr lang="pt-BR" noProof="0" dirty="0" smtClean="0"/>
              <a:t> Master </a:t>
            </a:r>
            <a:r>
              <a:rPr lang="pt-BR" noProof="0" dirty="0" err="1" smtClean="0"/>
              <a:t>title</a:t>
            </a:r>
            <a:r>
              <a:rPr lang="pt-BR" noProof="0" dirty="0" smtClean="0"/>
              <a:t> </a:t>
            </a:r>
            <a:r>
              <a:rPr lang="pt-BR" noProof="0" dirty="0" err="1" smtClean="0"/>
              <a:t>style</a:t>
            </a:r>
            <a:endParaRPr lang="pt-BR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437852" y="3762851"/>
            <a:ext cx="6450496" cy="482639"/>
          </a:xfrm>
        </p:spPr>
        <p:txBody>
          <a:bodyPr wrap="square">
            <a:spAutoFit/>
          </a:bodyPr>
          <a:lstStyle>
            <a:lvl1pPr>
              <a:defRPr sz="310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smtClean="0"/>
              <a:t>Click to edit Master subtitle style</a:t>
            </a:r>
            <a:endParaRPr lang="pt-BR" noProof="0" dirty="0" smtClean="0"/>
          </a:p>
        </p:txBody>
      </p:sp>
      <p:grpSp>
        <p:nvGrpSpPr>
          <p:cNvPr id="25" name="Group 24"/>
          <p:cNvGrpSpPr/>
          <p:nvPr userDrawn="1"/>
        </p:nvGrpSpPr>
        <p:grpSpPr>
          <a:xfrm>
            <a:off x="8526083" y="2325895"/>
            <a:ext cx="3423031" cy="3656746"/>
            <a:chOff x="5526523" y="2325890"/>
            <a:chExt cx="3423032" cy="3656747"/>
          </a:xfrm>
        </p:grpSpPr>
        <p:sp>
          <p:nvSpPr>
            <p:cNvPr id="26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27" name="Group 26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28" name="Donut 27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29" name="Oval 28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0" name="Oval 29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738868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72" y="358990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72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72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4826" indent="0">
              <a:buNone/>
              <a:defRPr sz="2700">
                <a:solidFill>
                  <a:schemeClr val="accent3"/>
                </a:solidFill>
              </a:defRPr>
            </a:lvl2pPr>
            <a:lvl3pPr marL="473185" indent="0">
              <a:buNone/>
              <a:defRPr sz="2700">
                <a:solidFill>
                  <a:schemeClr val="accent3"/>
                </a:solidFill>
              </a:defRPr>
            </a:lvl3pPr>
            <a:lvl4pPr marL="701546" indent="0">
              <a:buNone/>
              <a:defRPr sz="2700">
                <a:solidFill>
                  <a:schemeClr val="accent3"/>
                </a:solidFill>
              </a:defRPr>
            </a:lvl4pPr>
            <a:lvl5pPr marL="929913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3607761684"/>
      </p:ext>
    </p:extLst>
  </p:cSld>
  <p:clrMapOvr>
    <a:masterClrMapping/>
  </p:clrMapOvr>
</p:sldLayout>
</file>

<file path=ppt/slideLayouts/slideLayout10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24698660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92445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19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211678" y="230280"/>
            <a:ext cx="10903658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US" noProof="0" dirty="0" smtClean="0"/>
            </a:lvl1pPr>
          </a:lstStyle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</p:spTree>
    <p:extLst>
      <p:ext uri="{BB962C8B-B14F-4D97-AF65-F5344CB8AC3E}">
        <p14:creationId xmlns:p14="http://schemas.microsoft.com/office/powerpoint/2010/main" val="217150072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9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21502" y="359003"/>
            <a:ext cx="10306110" cy="307777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137023978"/>
      </p:ext>
    </p:extLst>
  </p:cSld>
  <p:clrMapOvr>
    <a:masterClrMapping/>
  </p:clrMapOvr>
</p:sldLayout>
</file>

<file path=ppt/slideLayouts/slideLayout109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268728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109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422137" y="349421"/>
            <a:ext cx="6749230" cy="254184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703"/>
              </a:lnSpc>
              <a:defRPr sz="4700">
                <a:solidFill>
                  <a:srgbClr val="18C3FF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r>
              <a:rPr lang="en-US" dirty="0" smtClean="0"/>
              <a:t>. LOREM IPSUM DOLOR SIT AMET HAS ID CIBO QUIDAM</a:t>
            </a:r>
            <a:endParaRPr lang="en-US" dirty="0"/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422137" y="3071971"/>
            <a:ext cx="6749230" cy="796308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592532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2532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2532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70025503"/>
      </p:ext>
    </p:extLst>
  </p:cSld>
  <p:clrMapOvr>
    <a:masterClrMapping/>
  </p:clrMapOvr>
</p:sldLayout>
</file>

<file path=ppt/slideLayouts/slideLayout10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3570861694"/>
      </p:ext>
    </p:extLst>
  </p:cSld>
  <p:clrMapOvr>
    <a:masterClrMapping/>
  </p:clrMapOvr>
</p:sldLayout>
</file>

<file path=ppt/slideLayouts/slideLayout109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60" y="1576"/>
          <a:ext cx="1555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93469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19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60" y="1576"/>
                        <a:ext cx="1555" cy="155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 userDrawn="1"/>
        </p:nvSpPr>
        <p:spPr>
          <a:xfrm>
            <a:off x="1" y="-58698"/>
            <a:ext cx="11949113" cy="186905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678" tIns="45339" rIns="90678" bIns="45339"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75601" y="228691"/>
            <a:ext cx="11491891" cy="30777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57909763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109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1913288972"/>
      </p:ext>
    </p:extLst>
  </p:cSld>
  <p:clrMapOvr>
    <a:masterClrMapping/>
  </p:clrMapOvr>
</p:sldLayout>
</file>

<file path=ppt/slideLayouts/slideLayout109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1718940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0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26419102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95517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19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 userDrawn="1"/>
        </p:nvSpPr>
        <p:spPr bwMode="auto">
          <a:xfrm>
            <a:off x="437849" y="131298"/>
            <a:ext cx="88165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pt-BR" sz="800" b="1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WORKING DRAFT</a:t>
            </a:r>
            <a:endParaRPr lang="pt-BR" sz="800" b="1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256937" y="36518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pt-BR" sz="800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 userDrawn="1"/>
        </p:nvSpPr>
        <p:spPr bwMode="auto">
          <a:xfrm>
            <a:off x="437874" y="286871"/>
            <a:ext cx="3069751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 userDrawn="1"/>
        </p:nvSpPr>
        <p:spPr bwMode="auto">
          <a:xfrm>
            <a:off x="437851" y="444031"/>
            <a:ext cx="270106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8" name="McK Title Elements" hidden="1"/>
          <p:cNvGrpSpPr>
            <a:grpSpLocks/>
          </p:cNvGrpSpPr>
          <p:nvPr userDrawn="1"/>
        </p:nvGrpSpPr>
        <p:grpSpPr bwMode="auto">
          <a:xfrm>
            <a:off x="5" y="114"/>
            <a:ext cx="11944879" cy="6723063"/>
            <a:chOff x="0" y="0"/>
            <a:chExt cx="5643" cy="4235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207" y="3361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ocument typ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207" y="3550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at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1" name="McK Disclaimer"/>
            <p:cNvSpPr>
              <a:spLocks noChangeArrowheads="1"/>
            </p:cNvSpPr>
            <p:nvPr/>
          </p:nvSpPr>
          <p:spPr bwMode="auto">
            <a:xfrm>
              <a:off x="207" y="3963"/>
              <a:ext cx="3226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798029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NFIDENTIAL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D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PRIETARY</a:t>
              </a:r>
              <a:endParaRPr lang="pt-BR" sz="80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  <a:p>
              <a:pPr defTabSz="798029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use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his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aterial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without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pecific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ermission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cKinsey &amp;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mpan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is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trictl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hibited</a:t>
              </a:r>
              <a:endParaRPr lang="pt-BR" sz="8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2" name="TitleBottomPlaceholder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3" name="TitleTopPlaceholder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Rectangle 1189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pic>
        <p:nvPicPr>
          <p:cNvPr id="18" name="TitleBottomBarBW" hidden="1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65758" y="6443669"/>
            <a:ext cx="2182379" cy="1920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7" name="Freeform 5"/>
          <p:cNvSpPr>
            <a:spLocks/>
          </p:cNvSpPr>
          <p:nvPr userDrawn="1"/>
        </p:nvSpPr>
        <p:spPr bwMode="auto">
          <a:xfrm flipH="1">
            <a:off x="4236" y="6635869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0648" tIns="45323" rIns="90648" bIns="45323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9" name="Freeform 5"/>
          <p:cNvSpPr>
            <a:spLocks/>
          </p:cNvSpPr>
          <p:nvPr userDrawn="1"/>
        </p:nvSpPr>
        <p:spPr bwMode="auto">
          <a:xfrm flipH="1">
            <a:off x="4236" y="3276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0648" tIns="45323" rIns="90648" bIns="45323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 userDrawn="1">
            <p:ph type="ctrTitle"/>
          </p:nvPr>
        </p:nvSpPr>
        <p:spPr>
          <a:xfrm>
            <a:off x="437853" y="2238434"/>
            <a:ext cx="6581329" cy="1292662"/>
          </a:xfrm>
          <a:prstGeom prst="rect">
            <a:avLst/>
          </a:prstGeom>
        </p:spPr>
        <p:txBody>
          <a:bodyPr/>
          <a:lstStyle>
            <a:lvl1pPr>
              <a:defRPr sz="4200" b="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dirty="0" smtClean="0"/>
              <a:t>Click </a:t>
            </a:r>
            <a:r>
              <a:rPr lang="pt-BR" noProof="0" dirty="0" err="1" smtClean="0"/>
              <a:t>to</a:t>
            </a:r>
            <a:r>
              <a:rPr lang="pt-BR" noProof="0" dirty="0" smtClean="0"/>
              <a:t> </a:t>
            </a:r>
            <a:r>
              <a:rPr lang="pt-BR" noProof="0" dirty="0" err="1" smtClean="0"/>
              <a:t>edit</a:t>
            </a:r>
            <a:r>
              <a:rPr lang="pt-BR" noProof="0" dirty="0" smtClean="0"/>
              <a:t> Master </a:t>
            </a:r>
            <a:r>
              <a:rPr lang="pt-BR" noProof="0" dirty="0" err="1" smtClean="0"/>
              <a:t>title</a:t>
            </a:r>
            <a:r>
              <a:rPr lang="pt-BR" noProof="0" dirty="0" smtClean="0"/>
              <a:t> </a:t>
            </a:r>
            <a:r>
              <a:rPr lang="pt-BR" noProof="0" dirty="0" err="1" smtClean="0"/>
              <a:t>style</a:t>
            </a:r>
            <a:endParaRPr lang="pt-BR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437852" y="3762851"/>
            <a:ext cx="6450496" cy="482639"/>
          </a:xfrm>
        </p:spPr>
        <p:txBody>
          <a:bodyPr wrap="square">
            <a:spAutoFit/>
          </a:bodyPr>
          <a:lstStyle>
            <a:lvl1pPr>
              <a:defRPr sz="310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smtClean="0"/>
              <a:t>Click to edit Master subtitle style</a:t>
            </a:r>
            <a:endParaRPr lang="pt-BR" noProof="0" dirty="0" smtClean="0"/>
          </a:p>
        </p:txBody>
      </p:sp>
      <p:grpSp>
        <p:nvGrpSpPr>
          <p:cNvPr id="25" name="Group 24"/>
          <p:cNvGrpSpPr/>
          <p:nvPr userDrawn="1"/>
        </p:nvGrpSpPr>
        <p:grpSpPr>
          <a:xfrm>
            <a:off x="8526083" y="2325895"/>
            <a:ext cx="3423031" cy="3656746"/>
            <a:chOff x="5526523" y="2325890"/>
            <a:chExt cx="3423032" cy="3656747"/>
          </a:xfrm>
        </p:grpSpPr>
        <p:sp>
          <p:nvSpPr>
            <p:cNvPr id="26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27" name="Group 26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28" name="Donut 27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29" name="Oval 28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0" name="Oval 29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20375969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81567953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96541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19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211678" y="230284"/>
            <a:ext cx="10903658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US" noProof="0" dirty="0" smtClean="0"/>
            </a:lvl1pPr>
          </a:lstStyle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</p:spTree>
    <p:extLst>
      <p:ext uri="{BB962C8B-B14F-4D97-AF65-F5344CB8AC3E}">
        <p14:creationId xmlns:p14="http://schemas.microsoft.com/office/powerpoint/2010/main" val="384041822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I Titulo Corpo Lateral Destaq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105" y="358894"/>
            <a:ext cx="5069337" cy="6014060"/>
          </a:xfrm>
        </p:spPr>
        <p:txBody>
          <a:bodyPr/>
          <a:lstStyle>
            <a:lvl1pPr marL="0" marR="0" indent="0" algn="l" defTabSz="591880" rtl="0" eaLnBrk="1" fontAlgn="auto" latinLnBrk="0" hangingPunct="1">
              <a:lnSpc>
                <a:spcPts val="5486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r>
              <a:rPr lang="pt-PT" dirty="0"/>
              <a:t>Título </a:t>
            </a:r>
            <a:r>
              <a:rPr lang="pt-PT" dirty="0" err="1"/>
              <a:t>Lorem</a:t>
            </a:r>
            <a:r>
              <a:rPr lang="pt-PT" dirty="0"/>
              <a:t> </a:t>
            </a:r>
            <a:r>
              <a:rPr lang="pt-PT" dirty="0" err="1"/>
              <a:t>ipsum</a:t>
            </a:r>
            <a:r>
              <a:rPr lang="pt-PT" dirty="0"/>
              <a:t> DOLOR SIT AMET CONSECTETOR LOREM IPSUM INSERIR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2" hasCustomPrompt="1"/>
          </p:nvPr>
        </p:nvSpPr>
        <p:spPr>
          <a:xfrm>
            <a:off x="6256691" y="358894"/>
            <a:ext cx="5094969" cy="6014060"/>
          </a:xfrm>
        </p:spPr>
        <p:txBody>
          <a:bodyPr/>
          <a:lstStyle>
            <a:lvl1pPr marL="302142" indent="-302142">
              <a:buFont typeface="Arial" charset="0"/>
              <a:buChar char="•"/>
              <a:tabLst/>
              <a:defRPr sz="2700">
                <a:solidFill>
                  <a:schemeClr val="tx1"/>
                </a:solidFill>
              </a:defRPr>
            </a:lvl1pPr>
            <a:lvl2pPr>
              <a:defRPr sz="2700"/>
            </a:lvl2pPr>
            <a:lvl3pPr>
              <a:defRPr sz="2700"/>
            </a:lvl3pPr>
            <a:lvl4pPr>
              <a:defRPr sz="2700"/>
            </a:lvl4pPr>
            <a:lvl5pPr>
              <a:defRPr sz="2700"/>
            </a:lvl5pPr>
          </a:lstStyle>
          <a:p>
            <a:pPr lvl="0"/>
            <a:r>
              <a:rPr lang="pt-PT" dirty="0" err="1"/>
              <a:t>Lorem</a:t>
            </a:r>
            <a:r>
              <a:rPr lang="pt-PT" dirty="0"/>
              <a:t> </a:t>
            </a:r>
            <a:r>
              <a:rPr lang="pt-PT" dirty="0" err="1"/>
              <a:t>ipsum</a:t>
            </a:r>
            <a:r>
              <a:rPr lang="pt-PT" dirty="0"/>
              <a:t>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r>
              <a:rPr lang="pt-PT" dirty="0"/>
              <a:t> </a:t>
            </a:r>
            <a:r>
              <a:rPr lang="pt-PT" dirty="0" err="1"/>
              <a:t>ips</a:t>
            </a:r>
            <a:r>
              <a:rPr lang="pt-PT" dirty="0"/>
              <a:t>;</a:t>
            </a:r>
          </a:p>
          <a:p>
            <a:pPr lvl="0"/>
            <a:r>
              <a:rPr lang="pt-PT" dirty="0" err="1"/>
              <a:t>Ipsum</a:t>
            </a:r>
            <a:r>
              <a:rPr lang="pt-PT" dirty="0"/>
              <a:t> </a:t>
            </a:r>
            <a:r>
              <a:rPr lang="pt-PT" dirty="0" err="1"/>
              <a:t>dolor</a:t>
            </a:r>
            <a:r>
              <a:rPr lang="pt-PT" dirty="0"/>
              <a:t>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r>
              <a:rPr lang="pt-PT" dirty="0"/>
              <a:t> </a:t>
            </a:r>
            <a:r>
              <a:rPr lang="pt-PT" dirty="0" err="1"/>
              <a:t>lorem</a:t>
            </a:r>
            <a:r>
              <a:rPr lang="pt-PT" dirty="0"/>
              <a:t>;</a:t>
            </a:r>
          </a:p>
          <a:p>
            <a:pPr lvl="0"/>
            <a:r>
              <a:rPr lang="pt-PT" dirty="0" err="1"/>
              <a:t>Lorem</a:t>
            </a:r>
            <a:r>
              <a:rPr lang="pt-PT" dirty="0"/>
              <a:t> </a:t>
            </a:r>
            <a:r>
              <a:rPr lang="pt-PT" dirty="0" err="1"/>
              <a:t>dolor</a:t>
            </a:r>
            <a:r>
              <a:rPr lang="pt-PT" dirty="0"/>
              <a:t>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r>
              <a:rPr lang="pt-PT" dirty="0"/>
              <a:t>;</a:t>
            </a:r>
          </a:p>
          <a:p>
            <a:pPr lvl="0"/>
            <a:r>
              <a:rPr lang="pt-PT" dirty="0" err="1"/>
              <a:t>Lorem</a:t>
            </a:r>
            <a:r>
              <a:rPr lang="pt-PT" dirty="0"/>
              <a:t> </a:t>
            </a:r>
            <a:r>
              <a:rPr lang="pt-PT" dirty="0" err="1"/>
              <a:t>ipsum</a:t>
            </a:r>
            <a:r>
              <a:rPr lang="pt-PT" dirty="0"/>
              <a:t>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lorem</a:t>
            </a:r>
            <a:r>
              <a:rPr lang="pt-PT" dirty="0"/>
              <a:t>;</a:t>
            </a:r>
          </a:p>
          <a:p>
            <a:pPr lvl="0"/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r>
              <a:rPr lang="pt-PT" dirty="0"/>
              <a:t>;</a:t>
            </a:r>
          </a:p>
          <a:p>
            <a:pPr lvl="0"/>
            <a:r>
              <a:rPr lang="pt-PT" dirty="0" err="1"/>
              <a:t>Dolor</a:t>
            </a:r>
            <a:r>
              <a:rPr lang="pt-PT" dirty="0"/>
              <a:t>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r>
              <a:rPr lang="pt-PT" dirty="0"/>
              <a:t>;</a:t>
            </a:r>
          </a:p>
          <a:p>
            <a:pPr lvl="0"/>
            <a:r>
              <a:rPr lang="pt-PT" dirty="0" err="1"/>
              <a:t>Amet</a:t>
            </a:r>
            <a:r>
              <a:rPr lang="pt-PT" dirty="0"/>
              <a:t>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lorem</a:t>
            </a:r>
            <a:r>
              <a:rPr lang="pt-PT" dirty="0"/>
              <a:t> </a:t>
            </a:r>
            <a:r>
              <a:rPr lang="pt-PT" dirty="0" err="1"/>
              <a:t>ipsum</a:t>
            </a:r>
            <a:r>
              <a:rPr lang="pt-PT" dirty="0"/>
              <a:t>;</a:t>
            </a:r>
          </a:p>
          <a:p>
            <a:pPr lvl="0"/>
            <a:r>
              <a:rPr lang="pt-PT" dirty="0" err="1"/>
              <a:t>Lorem</a:t>
            </a:r>
            <a:r>
              <a:rPr lang="pt-PT" dirty="0"/>
              <a:t> </a:t>
            </a:r>
            <a:r>
              <a:rPr lang="pt-PT" dirty="0" err="1"/>
              <a:t>ipsum</a:t>
            </a:r>
            <a:r>
              <a:rPr lang="pt-PT" dirty="0"/>
              <a:t> </a:t>
            </a:r>
            <a:r>
              <a:rPr lang="pt-PT" dirty="0" err="1"/>
              <a:t>dolor</a:t>
            </a:r>
            <a:r>
              <a:rPr lang="pt-PT" dirty="0"/>
              <a:t>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r>
              <a:rPr lang="pt-PT" dirty="0"/>
              <a:t>.</a:t>
            </a:r>
          </a:p>
          <a:p>
            <a:pPr lvl="0"/>
            <a:endParaRPr lang="pt-PT" dirty="0"/>
          </a:p>
        </p:txBody>
      </p:sp>
    </p:spTree>
    <p:extLst>
      <p:ext uri="{BB962C8B-B14F-4D97-AF65-F5344CB8AC3E}">
        <p14:creationId xmlns:p14="http://schemas.microsoft.com/office/powerpoint/2010/main" val="174169574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2744">
          <p15:clr>
            <a:srgbClr val="FBAE40"/>
          </p15:clr>
        </p15:guide>
        <p15:guide id="2" pos="3016">
          <p15:clr>
            <a:srgbClr val="FBAE40"/>
          </p15:clr>
        </p15:guide>
      </p15:sldGuideLst>
    </p:ext>
  </p:extLst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72" y="1854632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65969959"/>
      </p:ext>
    </p:extLst>
  </p:cSld>
  <p:clrMapOvr>
    <a:masterClrMapping/>
  </p:clrMapOvr>
</p:sldLayout>
</file>

<file path=ppt/slideLayouts/slideLayout110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21502" y="359007"/>
            <a:ext cx="10306110" cy="307777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104275389"/>
      </p:ext>
    </p:extLst>
  </p:cSld>
  <p:clrMapOvr>
    <a:masterClrMapping/>
  </p:clrMapOvr>
</p:sldLayout>
</file>

<file path=ppt/slideLayouts/slideLayout110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931299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110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422137" y="349423"/>
            <a:ext cx="6749230" cy="254184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703"/>
              </a:lnSpc>
              <a:defRPr sz="4700">
                <a:solidFill>
                  <a:srgbClr val="18C3FF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r>
              <a:rPr lang="en-US" dirty="0" smtClean="0"/>
              <a:t>. LOREM IPSUM DOLOR SIT AMET HAS ID CIBO QUIDAM</a:t>
            </a:r>
            <a:endParaRPr lang="en-US" dirty="0"/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422137" y="3071971"/>
            <a:ext cx="6749230" cy="796308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592328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2328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2328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84694050"/>
      </p:ext>
    </p:extLst>
  </p:cSld>
  <p:clrMapOvr>
    <a:masterClrMapping/>
  </p:clrMapOvr>
</p:sldLayout>
</file>

<file path=ppt/slideLayouts/slideLayout1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1564403652"/>
      </p:ext>
    </p:extLst>
  </p:cSld>
  <p:clrMapOvr>
    <a:masterClrMapping/>
  </p:clrMapOvr>
</p:sldLayout>
</file>

<file path=ppt/slideLayouts/slideLayout110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60" y="1576"/>
          <a:ext cx="1555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97565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19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60" y="1576"/>
                        <a:ext cx="1555" cy="155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 userDrawn="1"/>
        </p:nvSpPr>
        <p:spPr>
          <a:xfrm>
            <a:off x="1" y="-58698"/>
            <a:ext cx="11949113" cy="186905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648" tIns="45323" rIns="90648" bIns="45323"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75605" y="228695"/>
            <a:ext cx="11491891" cy="30777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98766485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110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1088871175"/>
      </p:ext>
    </p:extLst>
  </p:cSld>
  <p:clrMapOvr>
    <a:masterClrMapping/>
  </p:clrMapOvr>
</p:sldLayout>
</file>

<file path=ppt/slideLayouts/slideLayout110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4970971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10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1535787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i Indi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pt-PT" dirty="0" smtClean="0"/>
              <a:t>Índice</a:t>
            </a:r>
            <a:endParaRPr lang="en-US" dirty="0"/>
          </a:p>
        </p:txBody>
      </p:sp>
      <p:sp>
        <p:nvSpPr>
          <p:cNvPr id="10" name="Title 22"/>
          <p:cNvSpPr txBox="1">
            <a:spLocks/>
          </p:cNvSpPr>
          <p:nvPr userDrawn="1"/>
        </p:nvSpPr>
        <p:spPr>
          <a:xfrm>
            <a:off x="6287747" y="358896"/>
            <a:ext cx="5049390" cy="607312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 anchorCtr="0"/>
          <a:lstStyle>
            <a:lvl1pPr algn="l" defTabSz="457200" rtl="0" eaLnBrk="1" latinLnBrk="0" hangingPunct="1">
              <a:lnSpc>
                <a:spcPts val="6800"/>
              </a:lnSpc>
              <a:spcBef>
                <a:spcPts val="3300"/>
              </a:spcBef>
              <a:buNone/>
              <a:defRPr sz="6600" b="0" i="1" kern="1200" baseline="0">
                <a:solidFill>
                  <a:schemeClr val="tx1"/>
                </a:solidFill>
                <a:latin typeface="Georgia"/>
                <a:ea typeface="+mj-ea"/>
                <a:cs typeface="Georgia"/>
              </a:defRPr>
            </a:lvl1pPr>
          </a:lstStyle>
          <a:p>
            <a:pPr fontAlgn="auto">
              <a:lnSpc>
                <a:spcPts val="5487"/>
              </a:lnSpc>
              <a:spcBef>
                <a:spcPts val="0"/>
              </a:spcBef>
              <a:spcAft>
                <a:spcPts val="0"/>
              </a:spcAft>
            </a:pPr>
            <a:r>
              <a:rPr lang="pt-BR" sz="2700" i="0" dirty="0" smtClean="0">
                <a:solidFill>
                  <a:srgbClr val="9F37FE"/>
                </a:solidFill>
                <a:latin typeface="Simplon BP Bold"/>
                <a:cs typeface="Simplon BP Bold"/>
              </a:rPr>
              <a:t>SUMÁRIO EXECUTIVO</a:t>
            </a:r>
            <a:endParaRPr lang="en-US" sz="2700" i="0" dirty="0">
              <a:solidFill>
                <a:srgbClr val="9F37FE"/>
              </a:solidFill>
              <a:latin typeface="Simplon BP Bold"/>
              <a:cs typeface="Simplon BP Bold"/>
            </a:endParaRP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611982" y="1383713"/>
            <a:ext cx="5080447" cy="4156583"/>
          </a:xfrm>
        </p:spPr>
        <p:txBody>
          <a:bodyPr/>
          <a:lstStyle>
            <a:lvl1pPr marL="0" indent="0">
              <a:buNone/>
              <a:defRPr/>
            </a:lvl1pPr>
            <a:lvl2pPr marL="246740" indent="0">
              <a:buNone/>
              <a:defRPr/>
            </a:lvl2pPr>
            <a:lvl3pPr marL="476895" indent="0">
              <a:buNone/>
              <a:defRPr/>
            </a:lvl3pPr>
            <a:lvl4pPr marL="707051" indent="0">
              <a:buNone/>
              <a:defRPr/>
            </a:lvl4pPr>
            <a:lvl5pPr marL="937204" indent="0">
              <a:buNone/>
              <a:defRPr/>
            </a:lvl5pPr>
          </a:lstStyle>
          <a:p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,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consectetuer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dipiscing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lit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,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sed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diam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nonummy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nibh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uismod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tincidunt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ut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aoreet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dolore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magna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liquam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rat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volutpat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.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Ut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wisi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nim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ad minim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veniam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,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quis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nostrud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xerci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tation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ullamcorper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suscipit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bortis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nisl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ut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liquip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ex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a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commodo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consequat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. </a:t>
            </a:r>
            <a:endParaRPr lang="en-US" sz="1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3" hasCustomPrompt="1"/>
          </p:nvPr>
        </p:nvSpPr>
        <p:spPr>
          <a:xfrm>
            <a:off x="6287808" y="1383713"/>
            <a:ext cx="5049330" cy="4156583"/>
          </a:xfrm>
        </p:spPr>
        <p:txBody>
          <a:bodyPr/>
          <a:lstStyle>
            <a:lvl1pPr marL="0" indent="0">
              <a:buNone/>
              <a:defRPr sz="2700"/>
            </a:lvl1pPr>
            <a:lvl2pPr marL="246740" indent="0">
              <a:buNone/>
              <a:defRPr sz="2700"/>
            </a:lvl2pPr>
            <a:lvl3pPr marL="476895" indent="0">
              <a:buNone/>
              <a:defRPr sz="2700"/>
            </a:lvl3pPr>
            <a:lvl4pPr marL="707051" indent="0">
              <a:buNone/>
              <a:defRPr sz="2700"/>
            </a:lvl4pPr>
            <a:lvl5pPr marL="937204" indent="0">
              <a:buNone/>
              <a:defRPr sz="2700"/>
            </a:lvl5pPr>
          </a:lstStyle>
          <a:p>
            <a:pPr lvl="0"/>
            <a:r>
              <a:rPr lang="pt-PT" dirty="0" smtClean="0"/>
              <a:t>3. </a:t>
            </a:r>
            <a:r>
              <a:rPr lang="pt-PT" dirty="0" err="1" smtClean="0"/>
              <a:t>Impsu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endParaRPr lang="pt-PT" dirty="0" smtClean="0"/>
          </a:p>
          <a:p>
            <a:pPr lvl="0"/>
            <a:r>
              <a:rPr lang="pt-PT" dirty="0" smtClean="0"/>
              <a:t>5.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endParaRPr lang="pt-PT" dirty="0" smtClean="0"/>
          </a:p>
          <a:p>
            <a:pPr lvl="0"/>
            <a:r>
              <a:rPr lang="pt-PT" dirty="0" smtClean="0"/>
              <a:t>10. </a:t>
            </a:r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endParaRPr lang="pt-PT" dirty="0" smtClean="0"/>
          </a:p>
          <a:p>
            <a:pPr lvl="0"/>
            <a:r>
              <a:rPr lang="pt-PT" dirty="0" smtClean="0"/>
              <a:t>15. </a:t>
            </a:r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5"/>
          </p:nvPr>
        </p:nvSpPr>
        <p:spPr>
          <a:xfrm>
            <a:off x="597459" y="6371922"/>
            <a:ext cx="10176095" cy="282263"/>
          </a:xfrm>
          <a:prstGeom prst="rect">
            <a:avLst/>
          </a:prstGeom>
        </p:spPr>
        <p:txBody>
          <a:bodyPr/>
          <a:lstStyle/>
          <a:p>
            <a:r>
              <a:rPr lang="pt-BR" dirty="0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6"/>
          </p:nvPr>
        </p:nvSpPr>
        <p:spPr>
          <a:xfrm>
            <a:off x="10773552" y="6371922"/>
            <a:ext cx="578105" cy="282263"/>
          </a:xfrm>
          <a:prstGeom prst="rect">
            <a:avLst/>
          </a:prstGeom>
        </p:spPr>
        <p:txBody>
          <a:bodyPr/>
          <a:lstStyle/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611979" y="5852782"/>
            <a:ext cx="3574719" cy="470497"/>
          </a:xfrm>
          <a:prstGeom prst="rect">
            <a:avLst/>
          </a:prstGeom>
          <a:noFill/>
        </p:spPr>
        <p:txBody>
          <a:bodyPr wrap="none" lIns="47020" tIns="47020" rIns="47020" bIns="47020" rtlCol="0" anchor="ctr" anchorCtr="0">
            <a:noAutofit/>
          </a:bodyPr>
          <a:lstStyle/>
          <a:p>
            <a:pPr defTabSz="597158" fontAlgn="auto">
              <a:lnSpc>
                <a:spcPts val="2352"/>
              </a:lnSpc>
              <a:spcBef>
                <a:spcPts val="0"/>
              </a:spcBef>
              <a:spcAft>
                <a:spcPts val="0"/>
              </a:spcAft>
            </a:pPr>
            <a:r>
              <a:rPr lang="pt-BR" sz="2700" dirty="0" smtClean="0">
                <a:solidFill>
                  <a:srgbClr val="9F37FE"/>
                </a:solidFill>
                <a:latin typeface="Simplon BP" charset="0"/>
                <a:ea typeface="Simplon BP" charset="0"/>
                <a:cs typeface="Simplon BP" charset="0"/>
              </a:rPr>
              <a:t>TOTAL DE SLIDES:</a:t>
            </a:r>
            <a:endParaRPr lang="en-US" sz="2700" dirty="0" smtClean="0">
              <a:solidFill>
                <a:srgbClr val="9F37FE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13" name="Text Placeholder 16"/>
          <p:cNvSpPr>
            <a:spLocks noGrp="1"/>
          </p:cNvSpPr>
          <p:nvPr>
            <p:ph type="body" sz="quarter" idx="14" hasCustomPrompt="1"/>
          </p:nvPr>
        </p:nvSpPr>
        <p:spPr>
          <a:xfrm>
            <a:off x="3810046" y="5852782"/>
            <a:ext cx="753042" cy="470497"/>
          </a:xfrm>
          <a:noFill/>
        </p:spPr>
        <p:txBody>
          <a:bodyPr wrap="none" lIns="47020" tIns="47020" rIns="47020" bIns="47020" rtlCol="0" anchor="ctr" anchorCtr="0">
            <a:noAutofit/>
          </a:bodyPr>
          <a:lstStyle>
            <a:lvl1pPr marL="0" indent="0">
              <a:buNone/>
              <a:defRPr lang="en-US" sz="2700" dirty="0">
                <a:solidFill>
                  <a:schemeClr val="accent1"/>
                </a:solidFill>
                <a:latin typeface="Simplon BP" charset="0"/>
                <a:ea typeface="Simplon BP" charset="0"/>
                <a:cs typeface="Simplon BP" charset="0"/>
              </a:defRPr>
            </a:lvl1pPr>
          </a:lstStyle>
          <a:p>
            <a:pPr marL="0" lvl="0">
              <a:lnSpc>
                <a:spcPts val="2352"/>
              </a:lnSpc>
              <a:spcAft>
                <a:spcPts val="0"/>
              </a:spcAft>
            </a:pPr>
            <a:r>
              <a:rPr lang="pt-PT" dirty="0" smtClean="0"/>
              <a:t>##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56939091"/>
      </p:ext>
    </p:extLst>
  </p:cSld>
  <p:clrMapOvr>
    <a:masterClrMapping/>
  </p:clrMapOvr>
</p:sldLayout>
</file>

<file path=ppt/slideLayouts/slideLayout1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I Titulo Corpo later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1982" y="358894"/>
            <a:ext cx="5069337" cy="6014060"/>
          </a:xfrm>
        </p:spPr>
        <p:txBody>
          <a:bodyPr/>
          <a:lstStyle>
            <a:lvl1pPr marL="0" marR="0" indent="0" algn="l" defTabSz="597158" rtl="0" eaLnBrk="1" fontAlgn="auto" latinLnBrk="0" hangingPunct="1">
              <a:lnSpc>
                <a:spcPts val="5487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r>
              <a:rPr lang="pt-PT" dirty="0" smtClean="0"/>
              <a:t>Título </a:t>
            </a:r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DOLOR SIT AMET CONSECTETOR LOREM IPSUM INSERIR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256694" y="358894"/>
            <a:ext cx="5080447" cy="601406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597459" y="6371922"/>
            <a:ext cx="10176095" cy="282263"/>
          </a:xfrm>
          <a:prstGeom prst="rect">
            <a:avLst/>
          </a:prstGeom>
        </p:spPr>
        <p:txBody>
          <a:bodyPr/>
          <a:lstStyle/>
          <a:p>
            <a:r>
              <a:rPr lang="pt-BR" dirty="0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0773552" y="6371922"/>
            <a:ext cx="578105" cy="282263"/>
          </a:xfrm>
          <a:prstGeom prst="rect">
            <a:avLst/>
          </a:prstGeom>
        </p:spPr>
        <p:txBody>
          <a:bodyPr/>
          <a:lstStyle/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136235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75569588"/>
      </p:ext>
    </p:extLst>
  </p:cSld>
  <p:clrMapOvr>
    <a:masterClrMapping/>
  </p:clrMapOvr>
</p:sldLayout>
</file>

<file path=ppt/slideLayouts/slideLayout1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I Titulo Corpo Lateral Destaq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1982" y="358894"/>
            <a:ext cx="5069337" cy="6014060"/>
          </a:xfrm>
        </p:spPr>
        <p:txBody>
          <a:bodyPr/>
          <a:lstStyle>
            <a:lvl1pPr marL="0" marR="0" indent="0" algn="l" defTabSz="597158" rtl="0" eaLnBrk="1" fontAlgn="auto" latinLnBrk="0" hangingPunct="1">
              <a:lnSpc>
                <a:spcPts val="5487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r>
              <a:rPr lang="pt-PT" dirty="0" smtClean="0"/>
              <a:t>Título </a:t>
            </a:r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DOLOR SIT AMET CONSECTETOR LOREM IPSUM INSERIR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3"/>
          </p:nvPr>
        </p:nvSpPr>
        <p:spPr>
          <a:xfrm>
            <a:off x="597459" y="6371922"/>
            <a:ext cx="10176095" cy="282263"/>
          </a:xfrm>
          <a:prstGeom prst="rect">
            <a:avLst/>
          </a:prstGeom>
        </p:spPr>
        <p:txBody>
          <a:bodyPr/>
          <a:lstStyle/>
          <a:p>
            <a:r>
              <a:rPr lang="pt-BR" dirty="0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4"/>
          </p:nvPr>
        </p:nvSpPr>
        <p:spPr>
          <a:xfrm>
            <a:off x="10773552" y="6371922"/>
            <a:ext cx="578105" cy="282263"/>
          </a:xfrm>
          <a:prstGeom prst="rect">
            <a:avLst/>
          </a:prstGeom>
        </p:spPr>
        <p:txBody>
          <a:bodyPr/>
          <a:lstStyle/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2" hasCustomPrompt="1"/>
          </p:nvPr>
        </p:nvSpPr>
        <p:spPr>
          <a:xfrm>
            <a:off x="6256691" y="358894"/>
            <a:ext cx="5094969" cy="6014060"/>
          </a:xfrm>
        </p:spPr>
        <p:txBody>
          <a:bodyPr/>
          <a:lstStyle>
            <a:lvl1pPr marL="304801" indent="-304801">
              <a:buFont typeface="Arial" charset="0"/>
              <a:buChar char="•"/>
              <a:tabLst/>
              <a:defRPr sz="2700">
                <a:solidFill>
                  <a:schemeClr val="tx1"/>
                </a:solidFill>
              </a:defRPr>
            </a:lvl1pPr>
            <a:lvl2pPr>
              <a:defRPr sz="2700"/>
            </a:lvl2pPr>
            <a:lvl3pPr>
              <a:defRPr sz="2700"/>
            </a:lvl3pPr>
            <a:lvl4pPr>
              <a:defRPr sz="2700"/>
            </a:lvl4pPr>
            <a:lvl5pPr>
              <a:defRPr sz="2700"/>
            </a:lvl5pPr>
          </a:lstStyle>
          <a:p>
            <a:pPr lvl="0"/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 </a:t>
            </a:r>
            <a:r>
              <a:rPr lang="pt-PT" dirty="0" err="1" smtClean="0"/>
              <a:t>ips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 </a:t>
            </a:r>
            <a:r>
              <a:rPr lang="pt-PT" dirty="0" err="1" smtClean="0"/>
              <a:t>lorem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lorem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Amet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.</a:t>
            </a:r>
          </a:p>
          <a:p>
            <a:pPr lvl="0"/>
            <a:endParaRPr lang="pt-PT" dirty="0" smtClean="0"/>
          </a:p>
        </p:txBody>
      </p:sp>
    </p:spTree>
    <p:extLst>
      <p:ext uri="{BB962C8B-B14F-4D97-AF65-F5344CB8AC3E}">
        <p14:creationId xmlns:p14="http://schemas.microsoft.com/office/powerpoint/2010/main" val="161460316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2744">
          <p15:clr>
            <a:srgbClr val="FBAE40"/>
          </p15:clr>
        </p15:guide>
        <p15:guide id="2" pos="3016">
          <p15:clr>
            <a:srgbClr val="FBAE40"/>
          </p15:clr>
        </p15:guide>
      </p15:sldGuideLst>
    </p:ext>
  </p:extLst>
</p:sldLayout>
</file>

<file path=ppt/slideLayouts/slideLayout1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0969950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6876170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8547748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0552974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5958234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EA288C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9325586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6D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8248761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A02B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4161060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45" y="358960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42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45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435" indent="0">
              <a:buNone/>
              <a:defRPr sz="2700">
                <a:solidFill>
                  <a:schemeClr val="accent3"/>
                </a:solidFill>
              </a:defRPr>
            </a:lvl2pPr>
            <a:lvl3pPr marL="474363" indent="0">
              <a:buNone/>
              <a:defRPr sz="2700">
                <a:solidFill>
                  <a:schemeClr val="accent3"/>
                </a:solidFill>
              </a:defRPr>
            </a:lvl3pPr>
            <a:lvl4pPr marL="703296" indent="0">
              <a:buNone/>
              <a:defRPr sz="2700">
                <a:solidFill>
                  <a:schemeClr val="accent3"/>
                </a:solidFill>
              </a:defRPr>
            </a:lvl4pPr>
            <a:lvl5pPr marL="932232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521543599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80" y="1854632"/>
            <a:ext cx="5080446" cy="451832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854724"/>
            <a:ext cx="5080448" cy="451832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2072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4826" indent="0">
              <a:buNone/>
              <a:defRPr sz="2700">
                <a:solidFill>
                  <a:schemeClr val="accent3"/>
                </a:solidFill>
              </a:defRPr>
            </a:lvl2pPr>
            <a:lvl3pPr marL="473185" indent="0">
              <a:buNone/>
              <a:defRPr sz="2700">
                <a:solidFill>
                  <a:schemeClr val="accent3"/>
                </a:solidFill>
              </a:defRPr>
            </a:lvl3pPr>
            <a:lvl4pPr marL="701546" indent="0">
              <a:buNone/>
              <a:defRPr sz="2700">
                <a:solidFill>
                  <a:schemeClr val="accent3"/>
                </a:solidFill>
              </a:defRPr>
            </a:lvl4pPr>
            <a:lvl5pPr marL="929913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1719792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1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42" y="1854632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84546758"/>
      </p:ext>
    </p:extLst>
  </p:cSld>
  <p:clrMapOvr>
    <a:masterClrMapping/>
  </p:clrMapOvr>
</p:sldLayout>
</file>

<file path=ppt/slideLayouts/slideLayout1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56347242"/>
      </p:ext>
    </p:extLst>
  </p:cSld>
  <p:clrMapOvr>
    <a:masterClrMapping/>
  </p:clrMapOvr>
</p:sldLayout>
</file>

<file path=ppt/slideLayouts/slideLayout1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80" y="1854632"/>
            <a:ext cx="5080446" cy="451832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854695"/>
            <a:ext cx="5080448" cy="451832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2045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435" indent="0">
              <a:buNone/>
              <a:defRPr sz="2700">
                <a:solidFill>
                  <a:schemeClr val="accent3"/>
                </a:solidFill>
              </a:defRPr>
            </a:lvl2pPr>
            <a:lvl3pPr marL="474363" indent="0">
              <a:buNone/>
              <a:defRPr sz="2700">
                <a:solidFill>
                  <a:schemeClr val="accent3"/>
                </a:solidFill>
              </a:defRPr>
            </a:lvl3pPr>
            <a:lvl4pPr marL="703296" indent="0">
              <a:buNone/>
              <a:defRPr sz="2700">
                <a:solidFill>
                  <a:schemeClr val="accent3"/>
                </a:solidFill>
              </a:defRPr>
            </a:lvl4pPr>
            <a:lvl5pPr marL="932232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6785605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1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72" y="358989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71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7549" y="6372010"/>
            <a:ext cx="10176095" cy="282263"/>
          </a:xfrm>
          <a:prstGeom prst="rect">
            <a:avLst/>
          </a:prstGeom>
        </p:spPr>
        <p:txBody>
          <a:bodyPr vert="horz" lIns="118535" tIns="59268" rIns="118535" bIns="59268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3552" y="6372010"/>
            <a:ext cx="578105" cy="282263"/>
          </a:xfrm>
          <a:prstGeom prst="rect">
            <a:avLst/>
          </a:prstGeom>
        </p:spPr>
        <p:txBody>
          <a:bodyPr vert="horz" lIns="118535" tIns="59268" rIns="118535" bIns="59268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72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4853" indent="0">
              <a:buNone/>
              <a:defRPr sz="2700">
                <a:solidFill>
                  <a:schemeClr val="accent3"/>
                </a:solidFill>
              </a:defRPr>
            </a:lvl2pPr>
            <a:lvl3pPr marL="473238" indent="0">
              <a:buNone/>
              <a:defRPr sz="2700">
                <a:solidFill>
                  <a:schemeClr val="accent3"/>
                </a:solidFill>
              </a:defRPr>
            </a:lvl3pPr>
            <a:lvl4pPr marL="701625" indent="0">
              <a:buNone/>
              <a:defRPr sz="2700">
                <a:solidFill>
                  <a:schemeClr val="accent3"/>
                </a:solidFill>
              </a:defRPr>
            </a:lvl4pPr>
            <a:lvl5pPr marL="930018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597611448"/>
      </p:ext>
    </p:extLst>
  </p:cSld>
  <p:clrMapOvr>
    <a:masterClrMapping/>
  </p:clrMapOvr>
</p:sldLayout>
</file>

<file path=ppt/slideLayouts/slideLayout1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71" y="1854632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7549" y="6372010"/>
            <a:ext cx="10176095" cy="282263"/>
          </a:xfrm>
          <a:prstGeom prst="rect">
            <a:avLst/>
          </a:prstGeom>
        </p:spPr>
        <p:txBody>
          <a:bodyPr vert="horz" lIns="118535" tIns="59268" rIns="118535" bIns="59268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3552" y="6372010"/>
            <a:ext cx="578105" cy="282263"/>
          </a:xfrm>
          <a:prstGeom prst="rect">
            <a:avLst/>
          </a:prstGeom>
        </p:spPr>
        <p:txBody>
          <a:bodyPr vert="horz" lIns="118535" tIns="59268" rIns="118535" bIns="59268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78712655"/>
      </p:ext>
    </p:extLst>
  </p:cSld>
  <p:clrMapOvr>
    <a:masterClrMapping/>
  </p:clrMapOvr>
</p:sldLayout>
</file>

<file path=ppt/slideLayouts/slideLayout1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7549" y="6372010"/>
            <a:ext cx="10176095" cy="282263"/>
          </a:xfrm>
          <a:prstGeom prst="rect">
            <a:avLst/>
          </a:prstGeom>
        </p:spPr>
        <p:txBody>
          <a:bodyPr vert="horz" lIns="118535" tIns="59268" rIns="118535" bIns="59268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3552" y="6372010"/>
            <a:ext cx="578105" cy="282263"/>
          </a:xfrm>
          <a:prstGeom prst="rect">
            <a:avLst/>
          </a:prstGeom>
        </p:spPr>
        <p:txBody>
          <a:bodyPr vert="horz" lIns="118535" tIns="59268" rIns="118535" bIns="59268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53945969"/>
      </p:ext>
    </p:extLst>
  </p:cSld>
  <p:clrMapOvr>
    <a:masterClrMapping/>
  </p:clrMapOvr>
</p:sldLayout>
</file>

<file path=ppt/slideLayouts/slideLayout1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80" y="1854632"/>
            <a:ext cx="5080446" cy="451832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854723"/>
            <a:ext cx="5080448" cy="451832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7549" y="6372010"/>
            <a:ext cx="10176095" cy="282263"/>
          </a:xfrm>
          <a:prstGeom prst="rect">
            <a:avLst/>
          </a:prstGeom>
        </p:spPr>
        <p:txBody>
          <a:bodyPr vert="horz" lIns="118535" tIns="59268" rIns="118535" bIns="59268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3552" y="6372010"/>
            <a:ext cx="578105" cy="282263"/>
          </a:xfrm>
          <a:prstGeom prst="rect">
            <a:avLst/>
          </a:prstGeom>
        </p:spPr>
        <p:txBody>
          <a:bodyPr vert="horz" lIns="118535" tIns="59268" rIns="118535" bIns="59268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2072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4853" indent="0">
              <a:buNone/>
              <a:defRPr sz="2700">
                <a:solidFill>
                  <a:schemeClr val="accent3"/>
                </a:solidFill>
              </a:defRPr>
            </a:lvl2pPr>
            <a:lvl3pPr marL="473238" indent="0">
              <a:buNone/>
              <a:defRPr sz="2700">
                <a:solidFill>
                  <a:schemeClr val="accent3"/>
                </a:solidFill>
              </a:defRPr>
            </a:lvl3pPr>
            <a:lvl4pPr marL="701625" indent="0">
              <a:buNone/>
              <a:defRPr sz="2700">
                <a:solidFill>
                  <a:schemeClr val="accent3"/>
                </a:solidFill>
              </a:defRPr>
            </a:lvl4pPr>
            <a:lvl5pPr marL="930018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371111758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1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84" y="359001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83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84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4604" indent="0">
              <a:buNone/>
              <a:defRPr sz="2700">
                <a:solidFill>
                  <a:schemeClr val="accent3"/>
                </a:solidFill>
              </a:defRPr>
            </a:lvl2pPr>
            <a:lvl3pPr marL="472756" indent="0">
              <a:buNone/>
              <a:defRPr sz="2700">
                <a:solidFill>
                  <a:schemeClr val="accent3"/>
                </a:solidFill>
              </a:defRPr>
            </a:lvl3pPr>
            <a:lvl4pPr marL="700913" indent="0">
              <a:buNone/>
              <a:defRPr sz="2700">
                <a:solidFill>
                  <a:schemeClr val="accent3"/>
                </a:solidFill>
              </a:defRPr>
            </a:lvl4pPr>
            <a:lvl5pPr marL="929070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428711158"/>
      </p:ext>
    </p:extLst>
  </p:cSld>
  <p:clrMapOvr>
    <a:masterClrMapping/>
  </p:clrMapOvr>
</p:sldLayout>
</file>

<file path=ppt/slideLayouts/slideLayout1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83" y="1854632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78334362"/>
      </p:ext>
    </p:extLst>
  </p:cSld>
  <p:clrMapOvr>
    <a:masterClrMapping/>
  </p:clrMapOvr>
</p:sldLayout>
</file>

<file path=ppt/slideLayouts/slideLayout1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35742215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8868294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80" y="1854632"/>
            <a:ext cx="5080446" cy="451832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854734"/>
            <a:ext cx="5080448" cy="451832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2084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4604" indent="0">
              <a:buNone/>
              <a:defRPr sz="2700">
                <a:solidFill>
                  <a:schemeClr val="accent3"/>
                </a:solidFill>
              </a:defRPr>
            </a:lvl2pPr>
            <a:lvl3pPr marL="472756" indent="0">
              <a:buNone/>
              <a:defRPr sz="2700">
                <a:solidFill>
                  <a:schemeClr val="accent3"/>
                </a:solidFill>
              </a:defRPr>
            </a:lvl3pPr>
            <a:lvl4pPr marL="700913" indent="0">
              <a:buNone/>
              <a:defRPr sz="2700">
                <a:solidFill>
                  <a:schemeClr val="accent3"/>
                </a:solidFill>
              </a:defRPr>
            </a:lvl4pPr>
            <a:lvl5pPr marL="929070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309755928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11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5415362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00624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18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 userDrawn="1"/>
        </p:nvSpPr>
        <p:spPr bwMode="auto">
          <a:xfrm>
            <a:off x="437849" y="131294"/>
            <a:ext cx="88165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pt-BR" sz="800" b="1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WORKING DRAFT</a:t>
            </a:r>
            <a:endParaRPr lang="pt-BR" sz="800" b="1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256937" y="36518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pt-BR" sz="800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 userDrawn="1"/>
        </p:nvSpPr>
        <p:spPr bwMode="auto">
          <a:xfrm>
            <a:off x="437874" y="286867"/>
            <a:ext cx="3069751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 userDrawn="1"/>
        </p:nvSpPr>
        <p:spPr bwMode="auto">
          <a:xfrm>
            <a:off x="437851" y="444027"/>
            <a:ext cx="270106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8" name="McK Title Elements" hidden="1"/>
          <p:cNvGrpSpPr>
            <a:grpSpLocks/>
          </p:cNvGrpSpPr>
          <p:nvPr userDrawn="1"/>
        </p:nvGrpSpPr>
        <p:grpSpPr bwMode="auto">
          <a:xfrm>
            <a:off x="5" y="110"/>
            <a:ext cx="11944879" cy="6723063"/>
            <a:chOff x="0" y="0"/>
            <a:chExt cx="5643" cy="4235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207" y="3361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ocument typ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207" y="3550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at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1" name="McK Disclaimer"/>
            <p:cNvSpPr>
              <a:spLocks noChangeArrowheads="1"/>
            </p:cNvSpPr>
            <p:nvPr/>
          </p:nvSpPr>
          <p:spPr bwMode="auto">
            <a:xfrm>
              <a:off x="207" y="3963"/>
              <a:ext cx="3226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798301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NFIDENTIAL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D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PRIETARY</a:t>
              </a:r>
              <a:endParaRPr lang="pt-BR" sz="80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  <a:p>
              <a:pPr defTabSz="798301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use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his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aterial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without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pecific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ermission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cKinsey &amp;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mpan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is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trictl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hibited</a:t>
              </a:r>
              <a:endParaRPr lang="pt-BR" sz="8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2" name="TitleBottomPlaceholder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3" name="TitleTopPlaceholder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Rectangle 1189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pic>
        <p:nvPicPr>
          <p:cNvPr id="18" name="TitleBottomBarBW" hidden="1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65754" y="6443669"/>
            <a:ext cx="2182379" cy="1920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7" name="Freeform 5"/>
          <p:cNvSpPr>
            <a:spLocks/>
          </p:cNvSpPr>
          <p:nvPr userDrawn="1"/>
        </p:nvSpPr>
        <p:spPr bwMode="auto">
          <a:xfrm flipH="1">
            <a:off x="4236" y="6635865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0678" tIns="45339" rIns="90678" bIns="45339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9" name="Freeform 5"/>
          <p:cNvSpPr>
            <a:spLocks/>
          </p:cNvSpPr>
          <p:nvPr userDrawn="1"/>
        </p:nvSpPr>
        <p:spPr bwMode="auto">
          <a:xfrm flipH="1">
            <a:off x="4236" y="3272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0678" tIns="45339" rIns="90678" bIns="45339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 userDrawn="1">
            <p:ph type="ctrTitle"/>
          </p:nvPr>
        </p:nvSpPr>
        <p:spPr>
          <a:xfrm>
            <a:off x="437853" y="2238434"/>
            <a:ext cx="6581329" cy="1292662"/>
          </a:xfrm>
          <a:prstGeom prst="rect">
            <a:avLst/>
          </a:prstGeom>
        </p:spPr>
        <p:txBody>
          <a:bodyPr/>
          <a:lstStyle>
            <a:lvl1pPr>
              <a:defRPr sz="4200" b="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dirty="0" smtClean="0"/>
              <a:t>Click </a:t>
            </a:r>
            <a:r>
              <a:rPr lang="pt-BR" noProof="0" dirty="0" err="1" smtClean="0"/>
              <a:t>to</a:t>
            </a:r>
            <a:r>
              <a:rPr lang="pt-BR" noProof="0" dirty="0" smtClean="0"/>
              <a:t> </a:t>
            </a:r>
            <a:r>
              <a:rPr lang="pt-BR" noProof="0" dirty="0" err="1" smtClean="0"/>
              <a:t>edit</a:t>
            </a:r>
            <a:r>
              <a:rPr lang="pt-BR" noProof="0" dirty="0" smtClean="0"/>
              <a:t> Master </a:t>
            </a:r>
            <a:r>
              <a:rPr lang="pt-BR" noProof="0" dirty="0" err="1" smtClean="0"/>
              <a:t>title</a:t>
            </a:r>
            <a:r>
              <a:rPr lang="pt-BR" noProof="0" dirty="0" smtClean="0"/>
              <a:t> </a:t>
            </a:r>
            <a:r>
              <a:rPr lang="pt-BR" noProof="0" dirty="0" err="1" smtClean="0"/>
              <a:t>style</a:t>
            </a:r>
            <a:endParaRPr lang="pt-BR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437852" y="3762851"/>
            <a:ext cx="6450496" cy="482639"/>
          </a:xfrm>
        </p:spPr>
        <p:txBody>
          <a:bodyPr wrap="square">
            <a:spAutoFit/>
          </a:bodyPr>
          <a:lstStyle>
            <a:lvl1pPr>
              <a:defRPr sz="310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smtClean="0"/>
              <a:t>Click to edit Master subtitle style</a:t>
            </a:r>
            <a:endParaRPr lang="pt-BR" noProof="0" dirty="0" smtClean="0"/>
          </a:p>
        </p:txBody>
      </p:sp>
      <p:grpSp>
        <p:nvGrpSpPr>
          <p:cNvPr id="25" name="Group 24"/>
          <p:cNvGrpSpPr/>
          <p:nvPr userDrawn="1"/>
        </p:nvGrpSpPr>
        <p:grpSpPr>
          <a:xfrm>
            <a:off x="8526083" y="2325895"/>
            <a:ext cx="3423031" cy="3656746"/>
            <a:chOff x="5526523" y="2325890"/>
            <a:chExt cx="3423032" cy="3656747"/>
          </a:xfrm>
        </p:grpSpPr>
        <p:sp>
          <p:nvSpPr>
            <p:cNvPr id="26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27" name="Group 26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28" name="Donut 27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29" name="Oval 28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0" name="Oval 29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92928284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22287442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01648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18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211678" y="230280"/>
            <a:ext cx="10903658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US" noProof="0" dirty="0" smtClean="0"/>
            </a:lvl1pPr>
          </a:lstStyle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</p:spTree>
    <p:extLst>
      <p:ext uri="{BB962C8B-B14F-4D97-AF65-F5344CB8AC3E}">
        <p14:creationId xmlns:p14="http://schemas.microsoft.com/office/powerpoint/2010/main" val="190051717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21502" y="359003"/>
            <a:ext cx="10306110" cy="307777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915203672"/>
      </p:ext>
    </p:extLst>
  </p:cSld>
  <p:clrMapOvr>
    <a:masterClrMapping/>
  </p:clrMapOvr>
</p:sldLayout>
</file>

<file path=ppt/slideLayouts/slideLayout11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799455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11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422137" y="349421"/>
            <a:ext cx="6749230" cy="254184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703"/>
              </a:lnSpc>
              <a:defRPr sz="4700">
                <a:solidFill>
                  <a:srgbClr val="18C3FF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r>
              <a:rPr lang="en-US" dirty="0" smtClean="0"/>
              <a:t>. LOREM IPSUM DOLOR SIT AMET HAS ID CIBO QUIDAM</a:t>
            </a:r>
            <a:endParaRPr lang="en-US" dirty="0"/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422137" y="3071971"/>
            <a:ext cx="6749230" cy="796308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592532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2532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2532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04388286"/>
      </p:ext>
    </p:extLst>
  </p:cSld>
  <p:clrMapOvr>
    <a:masterClrMapping/>
  </p:clrMapOvr>
</p:sldLayout>
</file>

<file path=ppt/slideLayouts/slideLayout1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2571106670"/>
      </p:ext>
    </p:extLst>
  </p:cSld>
  <p:clrMapOvr>
    <a:masterClrMapping/>
  </p:clrMapOvr>
</p:sldLayout>
</file>

<file path=ppt/slideLayouts/slideLayout11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60" y="1576"/>
          <a:ext cx="1555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02672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18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60" y="1576"/>
                        <a:ext cx="1555" cy="155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 userDrawn="1"/>
        </p:nvSpPr>
        <p:spPr>
          <a:xfrm>
            <a:off x="1" y="-58698"/>
            <a:ext cx="11949113" cy="186905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678" tIns="45339" rIns="90678" bIns="45339"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75601" y="228691"/>
            <a:ext cx="11491891" cy="30777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91040184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113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223288302"/>
      </p:ext>
    </p:extLst>
  </p:cSld>
  <p:clrMapOvr>
    <a:masterClrMapping/>
  </p:clrMapOvr>
</p:sldLayout>
</file>

<file path=ppt/slideLayouts/slideLayout11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1604908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5890730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1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9071712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1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49428994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07790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17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 userDrawn="1"/>
        </p:nvSpPr>
        <p:spPr bwMode="auto">
          <a:xfrm>
            <a:off x="437849" y="131294"/>
            <a:ext cx="88165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pt-BR" sz="800" b="1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WORKING DRAFT</a:t>
            </a:r>
            <a:endParaRPr lang="pt-BR" sz="800" b="1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256937" y="36518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pt-BR" sz="800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 userDrawn="1"/>
        </p:nvSpPr>
        <p:spPr bwMode="auto">
          <a:xfrm>
            <a:off x="437874" y="286867"/>
            <a:ext cx="3069751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 userDrawn="1"/>
        </p:nvSpPr>
        <p:spPr bwMode="auto">
          <a:xfrm>
            <a:off x="437851" y="444027"/>
            <a:ext cx="270106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8" name="McK Title Elements" hidden="1"/>
          <p:cNvGrpSpPr>
            <a:grpSpLocks/>
          </p:cNvGrpSpPr>
          <p:nvPr userDrawn="1"/>
        </p:nvGrpSpPr>
        <p:grpSpPr bwMode="auto">
          <a:xfrm>
            <a:off x="5" y="110"/>
            <a:ext cx="11944879" cy="6723063"/>
            <a:chOff x="0" y="0"/>
            <a:chExt cx="5643" cy="4235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207" y="3361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ocument typ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207" y="3550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at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1" name="McK Disclaimer"/>
            <p:cNvSpPr>
              <a:spLocks noChangeArrowheads="1"/>
            </p:cNvSpPr>
            <p:nvPr/>
          </p:nvSpPr>
          <p:spPr bwMode="auto">
            <a:xfrm>
              <a:off x="207" y="3963"/>
              <a:ext cx="3226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798301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NFIDENTIAL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D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PRIETARY</a:t>
              </a:r>
              <a:endParaRPr lang="pt-BR" sz="80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  <a:p>
              <a:pPr defTabSz="798301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use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his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aterial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without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pecific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ermission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cKinsey &amp;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mpan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is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trictl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hibited</a:t>
              </a:r>
              <a:endParaRPr lang="pt-BR" sz="8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2" name="TitleBottomPlaceholder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3" name="TitleTopPlaceholder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Rectangle 1189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pic>
        <p:nvPicPr>
          <p:cNvPr id="18" name="TitleBottomBarBW" hidden="1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65754" y="6443669"/>
            <a:ext cx="2182379" cy="1920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7" name="Freeform 5"/>
          <p:cNvSpPr>
            <a:spLocks/>
          </p:cNvSpPr>
          <p:nvPr userDrawn="1"/>
        </p:nvSpPr>
        <p:spPr bwMode="auto">
          <a:xfrm flipH="1">
            <a:off x="4236" y="6635865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0678" tIns="45339" rIns="90678" bIns="45339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9" name="Freeform 5"/>
          <p:cNvSpPr>
            <a:spLocks/>
          </p:cNvSpPr>
          <p:nvPr userDrawn="1"/>
        </p:nvSpPr>
        <p:spPr bwMode="auto">
          <a:xfrm flipH="1">
            <a:off x="4236" y="3272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0678" tIns="45339" rIns="90678" bIns="45339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 userDrawn="1">
            <p:ph type="ctrTitle"/>
          </p:nvPr>
        </p:nvSpPr>
        <p:spPr>
          <a:xfrm>
            <a:off x="437853" y="2238434"/>
            <a:ext cx="6581329" cy="1292662"/>
          </a:xfrm>
          <a:prstGeom prst="rect">
            <a:avLst/>
          </a:prstGeom>
        </p:spPr>
        <p:txBody>
          <a:bodyPr/>
          <a:lstStyle>
            <a:lvl1pPr>
              <a:defRPr sz="4200" b="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dirty="0" smtClean="0"/>
              <a:t>Click </a:t>
            </a:r>
            <a:r>
              <a:rPr lang="pt-BR" noProof="0" dirty="0" err="1" smtClean="0"/>
              <a:t>to</a:t>
            </a:r>
            <a:r>
              <a:rPr lang="pt-BR" noProof="0" dirty="0" smtClean="0"/>
              <a:t> </a:t>
            </a:r>
            <a:r>
              <a:rPr lang="pt-BR" noProof="0" dirty="0" err="1" smtClean="0"/>
              <a:t>edit</a:t>
            </a:r>
            <a:r>
              <a:rPr lang="pt-BR" noProof="0" dirty="0" smtClean="0"/>
              <a:t> Master </a:t>
            </a:r>
            <a:r>
              <a:rPr lang="pt-BR" noProof="0" dirty="0" err="1" smtClean="0"/>
              <a:t>title</a:t>
            </a:r>
            <a:r>
              <a:rPr lang="pt-BR" noProof="0" dirty="0" smtClean="0"/>
              <a:t> </a:t>
            </a:r>
            <a:r>
              <a:rPr lang="pt-BR" noProof="0" dirty="0" err="1" smtClean="0"/>
              <a:t>style</a:t>
            </a:r>
            <a:endParaRPr lang="pt-BR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437852" y="3762851"/>
            <a:ext cx="6450496" cy="482639"/>
          </a:xfrm>
        </p:spPr>
        <p:txBody>
          <a:bodyPr wrap="square">
            <a:spAutoFit/>
          </a:bodyPr>
          <a:lstStyle>
            <a:lvl1pPr>
              <a:defRPr sz="310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smtClean="0"/>
              <a:t>Click to edit Master subtitle style</a:t>
            </a:r>
            <a:endParaRPr lang="pt-BR" noProof="0" dirty="0" smtClean="0"/>
          </a:p>
        </p:txBody>
      </p:sp>
      <p:grpSp>
        <p:nvGrpSpPr>
          <p:cNvPr id="25" name="Group 24"/>
          <p:cNvGrpSpPr/>
          <p:nvPr userDrawn="1"/>
        </p:nvGrpSpPr>
        <p:grpSpPr>
          <a:xfrm>
            <a:off x="8526083" y="2325895"/>
            <a:ext cx="3423031" cy="3656746"/>
            <a:chOff x="5526523" y="2325890"/>
            <a:chExt cx="3423032" cy="3656747"/>
          </a:xfrm>
        </p:grpSpPr>
        <p:sp>
          <p:nvSpPr>
            <p:cNvPr id="26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27" name="Group 26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28" name="Donut 27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29" name="Oval 28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0" name="Oval 29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1656010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0501209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08814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17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211678" y="230280"/>
            <a:ext cx="10903658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US" noProof="0" dirty="0" smtClean="0"/>
            </a:lvl1pPr>
          </a:lstStyle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</p:spTree>
    <p:extLst>
      <p:ext uri="{BB962C8B-B14F-4D97-AF65-F5344CB8AC3E}">
        <p14:creationId xmlns:p14="http://schemas.microsoft.com/office/powerpoint/2010/main" val="31184629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21502" y="359003"/>
            <a:ext cx="10306110" cy="307777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774416850"/>
      </p:ext>
    </p:extLst>
  </p:cSld>
  <p:clrMapOvr>
    <a:masterClrMapping/>
  </p:clrMapOvr>
</p:sldLayout>
</file>

<file path=ppt/slideLayouts/slideLayout11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472570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11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422137" y="349421"/>
            <a:ext cx="6749230" cy="254184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703"/>
              </a:lnSpc>
              <a:defRPr sz="4700">
                <a:solidFill>
                  <a:srgbClr val="18C3FF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r>
              <a:rPr lang="en-US" dirty="0" smtClean="0"/>
              <a:t>. LOREM IPSUM DOLOR SIT AMET HAS ID CIBO QUIDAM</a:t>
            </a:r>
            <a:endParaRPr lang="en-US" dirty="0"/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422137" y="3071971"/>
            <a:ext cx="6749230" cy="796308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592532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2532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2532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63848513"/>
      </p:ext>
    </p:extLst>
  </p:cSld>
  <p:clrMapOvr>
    <a:masterClrMapping/>
  </p:clrMapOvr>
</p:sldLayout>
</file>

<file path=ppt/slideLayouts/slideLayout1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852062382"/>
      </p:ext>
    </p:extLst>
  </p:cSld>
  <p:clrMapOvr>
    <a:masterClrMapping/>
  </p:clrMapOvr>
</p:sldLayout>
</file>

<file path=ppt/slideLayouts/slideLayout11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60" y="1576"/>
          <a:ext cx="1555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09838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17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60" y="1576"/>
                        <a:ext cx="1555" cy="155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 userDrawn="1"/>
        </p:nvSpPr>
        <p:spPr>
          <a:xfrm>
            <a:off x="1" y="-58698"/>
            <a:ext cx="11949113" cy="186905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678" tIns="45339" rIns="90678" bIns="45339"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75601" y="228691"/>
            <a:ext cx="11491891" cy="30777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46246859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114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2492446614"/>
      </p:ext>
    </p:extLst>
  </p:cSld>
  <p:clrMapOvr>
    <a:masterClrMapping/>
  </p:clrMapOvr>
</p:sldLayout>
</file>

<file path=ppt/slideLayouts/slideLayout11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3529122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1815001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1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668975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1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577344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1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4394088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1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3792249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1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075858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1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EA288C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8763680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1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6D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6778826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1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A02B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8523608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1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72" y="358989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71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7549" y="6372010"/>
            <a:ext cx="10176095" cy="282263"/>
          </a:xfrm>
          <a:prstGeom prst="rect">
            <a:avLst/>
          </a:prstGeom>
        </p:spPr>
        <p:txBody>
          <a:bodyPr vert="horz" lIns="118535" tIns="59268" rIns="118535" bIns="59268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3552" y="6372010"/>
            <a:ext cx="578105" cy="282263"/>
          </a:xfrm>
          <a:prstGeom prst="rect">
            <a:avLst/>
          </a:prstGeom>
        </p:spPr>
        <p:txBody>
          <a:bodyPr vert="horz" lIns="118535" tIns="59268" rIns="118535" bIns="59268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72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4853" indent="0">
              <a:buNone/>
              <a:defRPr sz="2700">
                <a:solidFill>
                  <a:schemeClr val="accent3"/>
                </a:solidFill>
              </a:defRPr>
            </a:lvl2pPr>
            <a:lvl3pPr marL="473238" indent="0">
              <a:buNone/>
              <a:defRPr sz="2700">
                <a:solidFill>
                  <a:schemeClr val="accent3"/>
                </a:solidFill>
              </a:defRPr>
            </a:lvl3pPr>
            <a:lvl4pPr marL="701625" indent="0">
              <a:buNone/>
              <a:defRPr sz="2700">
                <a:solidFill>
                  <a:schemeClr val="accent3"/>
                </a:solidFill>
              </a:defRPr>
            </a:lvl4pPr>
            <a:lvl5pPr marL="930018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290155216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3456131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1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71" y="1854632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7549" y="6372010"/>
            <a:ext cx="10176095" cy="282263"/>
          </a:xfrm>
          <a:prstGeom prst="rect">
            <a:avLst/>
          </a:prstGeom>
        </p:spPr>
        <p:txBody>
          <a:bodyPr vert="horz" lIns="118535" tIns="59268" rIns="118535" bIns="59268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3552" y="6372010"/>
            <a:ext cx="578105" cy="282263"/>
          </a:xfrm>
          <a:prstGeom prst="rect">
            <a:avLst/>
          </a:prstGeom>
        </p:spPr>
        <p:txBody>
          <a:bodyPr vert="horz" lIns="118535" tIns="59268" rIns="118535" bIns="59268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90167456"/>
      </p:ext>
    </p:extLst>
  </p:cSld>
  <p:clrMapOvr>
    <a:masterClrMapping/>
  </p:clrMapOvr>
</p:sldLayout>
</file>

<file path=ppt/slideLayouts/slideLayout11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7549" y="6372010"/>
            <a:ext cx="10176095" cy="282263"/>
          </a:xfrm>
          <a:prstGeom prst="rect">
            <a:avLst/>
          </a:prstGeom>
        </p:spPr>
        <p:txBody>
          <a:bodyPr vert="horz" lIns="118535" tIns="59268" rIns="118535" bIns="59268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3552" y="6372010"/>
            <a:ext cx="578105" cy="282263"/>
          </a:xfrm>
          <a:prstGeom prst="rect">
            <a:avLst/>
          </a:prstGeom>
        </p:spPr>
        <p:txBody>
          <a:bodyPr vert="horz" lIns="118535" tIns="59268" rIns="118535" bIns="59268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26375459"/>
      </p:ext>
    </p:extLst>
  </p:cSld>
  <p:clrMapOvr>
    <a:masterClrMapping/>
  </p:clrMapOvr>
</p:sldLayout>
</file>

<file path=ppt/slideLayouts/slideLayout11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80" y="1854632"/>
            <a:ext cx="5080446" cy="451832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854723"/>
            <a:ext cx="5080448" cy="451832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7549" y="6372010"/>
            <a:ext cx="10176095" cy="282263"/>
          </a:xfrm>
          <a:prstGeom prst="rect">
            <a:avLst/>
          </a:prstGeom>
        </p:spPr>
        <p:txBody>
          <a:bodyPr vert="horz" lIns="118535" tIns="59268" rIns="118535" bIns="59268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3552" y="6372010"/>
            <a:ext cx="578105" cy="282263"/>
          </a:xfrm>
          <a:prstGeom prst="rect">
            <a:avLst/>
          </a:prstGeom>
        </p:spPr>
        <p:txBody>
          <a:bodyPr vert="horz" lIns="118535" tIns="59268" rIns="118535" bIns="59268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2072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4853" indent="0">
              <a:buNone/>
              <a:defRPr sz="2700">
                <a:solidFill>
                  <a:schemeClr val="accent3"/>
                </a:solidFill>
              </a:defRPr>
            </a:lvl2pPr>
            <a:lvl3pPr marL="473238" indent="0">
              <a:buNone/>
              <a:defRPr sz="2700">
                <a:solidFill>
                  <a:schemeClr val="accent3"/>
                </a:solidFill>
              </a:defRPr>
            </a:lvl3pPr>
            <a:lvl4pPr marL="701625" indent="0">
              <a:buNone/>
              <a:defRPr sz="2700">
                <a:solidFill>
                  <a:schemeClr val="accent3"/>
                </a:solidFill>
              </a:defRPr>
            </a:lvl4pPr>
            <a:lvl5pPr marL="930018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50589940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11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25" y="358943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25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25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822" indent="0">
              <a:buNone/>
              <a:defRPr sz="2700">
                <a:solidFill>
                  <a:schemeClr val="accent3"/>
                </a:solidFill>
              </a:defRPr>
            </a:lvl2pPr>
            <a:lvl3pPr marL="475115" indent="0">
              <a:buNone/>
              <a:defRPr sz="2700">
                <a:solidFill>
                  <a:schemeClr val="accent3"/>
                </a:solidFill>
              </a:defRPr>
            </a:lvl3pPr>
            <a:lvl4pPr marL="704412" indent="0">
              <a:buNone/>
              <a:defRPr sz="2700">
                <a:solidFill>
                  <a:schemeClr val="accent3"/>
                </a:solidFill>
              </a:defRPr>
            </a:lvl4pPr>
            <a:lvl5pPr marL="933714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44080115"/>
      </p:ext>
    </p:extLst>
  </p:cSld>
  <p:clrMapOvr>
    <a:masterClrMapping/>
  </p:clrMapOvr>
</p:sldLayout>
</file>

<file path=ppt/slideLayouts/slideLayout11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25" y="1854632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28396553"/>
      </p:ext>
    </p:extLst>
  </p:cSld>
  <p:clrMapOvr>
    <a:masterClrMapping/>
  </p:clrMapOvr>
</p:sldLayout>
</file>

<file path=ppt/slideLayouts/slideLayout11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51896890"/>
      </p:ext>
    </p:extLst>
  </p:cSld>
  <p:clrMapOvr>
    <a:masterClrMapping/>
  </p:clrMapOvr>
</p:sldLayout>
</file>

<file path=ppt/slideLayouts/slideLayout11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80" y="1854632"/>
            <a:ext cx="5080446" cy="451832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854677"/>
            <a:ext cx="5080448" cy="451832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2025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822" indent="0">
              <a:buNone/>
              <a:defRPr sz="2700">
                <a:solidFill>
                  <a:schemeClr val="accent3"/>
                </a:solidFill>
              </a:defRPr>
            </a:lvl2pPr>
            <a:lvl3pPr marL="475115" indent="0">
              <a:buNone/>
              <a:defRPr sz="2700">
                <a:solidFill>
                  <a:schemeClr val="accent3"/>
                </a:solidFill>
              </a:defRPr>
            </a:lvl3pPr>
            <a:lvl4pPr marL="704412" indent="0">
              <a:buNone/>
              <a:defRPr sz="2700">
                <a:solidFill>
                  <a:schemeClr val="accent3"/>
                </a:solidFill>
              </a:defRPr>
            </a:lvl4pPr>
            <a:lvl5pPr marL="933714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81304179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11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25" y="358943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25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25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822" indent="0">
              <a:buNone/>
              <a:defRPr sz="2700">
                <a:solidFill>
                  <a:schemeClr val="accent3"/>
                </a:solidFill>
              </a:defRPr>
            </a:lvl2pPr>
            <a:lvl3pPr marL="475115" indent="0">
              <a:buNone/>
              <a:defRPr sz="2700">
                <a:solidFill>
                  <a:schemeClr val="accent3"/>
                </a:solidFill>
              </a:defRPr>
            </a:lvl3pPr>
            <a:lvl4pPr marL="704412" indent="0">
              <a:buNone/>
              <a:defRPr sz="2700">
                <a:solidFill>
                  <a:schemeClr val="accent3"/>
                </a:solidFill>
              </a:defRPr>
            </a:lvl4pPr>
            <a:lvl5pPr marL="933714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881609430"/>
      </p:ext>
    </p:extLst>
  </p:cSld>
  <p:clrMapOvr>
    <a:masterClrMapping/>
  </p:clrMapOvr>
</p:sldLayout>
</file>

<file path=ppt/slideLayouts/slideLayout11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25" y="1854632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47643390"/>
      </p:ext>
    </p:extLst>
  </p:cSld>
  <p:clrMapOvr>
    <a:masterClrMapping/>
  </p:clrMapOvr>
</p:sldLayout>
</file>

<file path=ppt/slideLayouts/slideLayout11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96655165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9067483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1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80" y="1854632"/>
            <a:ext cx="5080446" cy="451832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854677"/>
            <a:ext cx="5080448" cy="451832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2025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822" indent="0">
              <a:buNone/>
              <a:defRPr sz="2700">
                <a:solidFill>
                  <a:schemeClr val="accent3"/>
                </a:solidFill>
              </a:defRPr>
            </a:lvl2pPr>
            <a:lvl3pPr marL="475115" indent="0">
              <a:buNone/>
              <a:defRPr sz="2700">
                <a:solidFill>
                  <a:schemeClr val="accent3"/>
                </a:solidFill>
              </a:defRPr>
            </a:lvl3pPr>
            <a:lvl4pPr marL="704412" indent="0">
              <a:buNone/>
              <a:defRPr sz="2700">
                <a:solidFill>
                  <a:schemeClr val="accent3"/>
                </a:solidFill>
              </a:defRPr>
            </a:lvl4pPr>
            <a:lvl5pPr marL="933714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48231817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11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01187793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22099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15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437849" y="131206"/>
            <a:ext cx="88165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pt-BR" sz="800" b="1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WORKING DRAFT</a:t>
            </a:r>
            <a:endParaRPr lang="pt-BR" sz="800" b="1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doc id" hidden="1"/>
          <p:cNvSpPr txBox="1">
            <a:spLocks noChangeArrowheads="1"/>
          </p:cNvSpPr>
          <p:nvPr/>
        </p:nvSpPr>
        <p:spPr bwMode="auto">
          <a:xfrm>
            <a:off x="11256937" y="36518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pt-BR" sz="800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437873" y="286780"/>
            <a:ext cx="3069751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437851" y="443940"/>
            <a:ext cx="270106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8" name="McK Title Elements" hidden="1"/>
          <p:cNvGrpSpPr>
            <a:grpSpLocks/>
          </p:cNvGrpSpPr>
          <p:nvPr/>
        </p:nvGrpSpPr>
        <p:grpSpPr bwMode="auto">
          <a:xfrm>
            <a:off x="5" y="21"/>
            <a:ext cx="11944879" cy="6723063"/>
            <a:chOff x="0" y="0"/>
            <a:chExt cx="5643" cy="4235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207" y="3361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ocument typ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207" y="3550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at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1" name="McK Disclaimer"/>
            <p:cNvSpPr>
              <a:spLocks noChangeArrowheads="1"/>
            </p:cNvSpPr>
            <p:nvPr/>
          </p:nvSpPr>
          <p:spPr bwMode="auto">
            <a:xfrm>
              <a:off x="207" y="3963"/>
              <a:ext cx="3226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804361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NFIDENTIAL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D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PRIETARY</a:t>
              </a:r>
              <a:endParaRPr lang="pt-BR" sz="80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  <a:p>
              <a:pPr defTabSz="804361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use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his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aterial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without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pecific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ermission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cKinsey &amp;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mpan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is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trictl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hibited</a:t>
              </a:r>
              <a:endParaRPr lang="pt-BR" sz="8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2" name="TitleBottomPlaceholder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3" name="TitleTopPlaceholder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Rectangle 1189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pic>
        <p:nvPicPr>
          <p:cNvPr id="18" name="TitleBottomBarBW" hidden="1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65668" y="6443669"/>
            <a:ext cx="2182379" cy="1920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7" name="Freeform 5"/>
          <p:cNvSpPr>
            <a:spLocks/>
          </p:cNvSpPr>
          <p:nvPr/>
        </p:nvSpPr>
        <p:spPr bwMode="auto">
          <a:xfrm flipH="1">
            <a:off x="4236" y="6635778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379" tIns="45689" rIns="91379" bIns="45689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9" name="Freeform 5"/>
          <p:cNvSpPr>
            <a:spLocks/>
          </p:cNvSpPr>
          <p:nvPr/>
        </p:nvSpPr>
        <p:spPr bwMode="auto">
          <a:xfrm flipH="1">
            <a:off x="4236" y="3184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379" tIns="45689" rIns="91379" bIns="45689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437853" y="2238434"/>
            <a:ext cx="6581329" cy="1292662"/>
          </a:xfrm>
          <a:prstGeom prst="rect">
            <a:avLst/>
          </a:prstGeom>
        </p:spPr>
        <p:txBody>
          <a:bodyPr/>
          <a:lstStyle>
            <a:lvl1pPr>
              <a:defRPr sz="4200" b="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dirty="0" smtClean="0"/>
              <a:t>Click </a:t>
            </a:r>
            <a:r>
              <a:rPr lang="pt-BR" noProof="0" dirty="0" err="1" smtClean="0"/>
              <a:t>to</a:t>
            </a:r>
            <a:r>
              <a:rPr lang="pt-BR" noProof="0" dirty="0" smtClean="0"/>
              <a:t> </a:t>
            </a:r>
            <a:r>
              <a:rPr lang="pt-BR" noProof="0" dirty="0" err="1" smtClean="0"/>
              <a:t>edit</a:t>
            </a:r>
            <a:r>
              <a:rPr lang="pt-BR" noProof="0" dirty="0" smtClean="0"/>
              <a:t> Master </a:t>
            </a:r>
            <a:r>
              <a:rPr lang="pt-BR" noProof="0" dirty="0" err="1" smtClean="0"/>
              <a:t>title</a:t>
            </a:r>
            <a:r>
              <a:rPr lang="pt-BR" noProof="0" dirty="0" smtClean="0"/>
              <a:t> </a:t>
            </a:r>
            <a:r>
              <a:rPr lang="pt-BR" noProof="0" dirty="0" err="1" smtClean="0"/>
              <a:t>style</a:t>
            </a:r>
            <a:endParaRPr lang="pt-BR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437852" y="3762851"/>
            <a:ext cx="6450496" cy="482639"/>
          </a:xfrm>
        </p:spPr>
        <p:txBody>
          <a:bodyPr wrap="square">
            <a:spAutoFit/>
          </a:bodyPr>
          <a:lstStyle>
            <a:lvl1pPr>
              <a:defRPr sz="310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smtClean="0"/>
              <a:t>Click to edit Master subtitle style</a:t>
            </a:r>
            <a:endParaRPr lang="pt-BR" noProof="0" dirty="0" smtClean="0"/>
          </a:p>
        </p:txBody>
      </p:sp>
      <p:grpSp>
        <p:nvGrpSpPr>
          <p:cNvPr id="25" name="Group 24"/>
          <p:cNvGrpSpPr/>
          <p:nvPr/>
        </p:nvGrpSpPr>
        <p:grpSpPr>
          <a:xfrm>
            <a:off x="8526083" y="2325895"/>
            <a:ext cx="3423031" cy="3656746"/>
            <a:chOff x="5526523" y="2325890"/>
            <a:chExt cx="3423032" cy="3656747"/>
          </a:xfrm>
        </p:grpSpPr>
        <p:sp>
          <p:nvSpPr>
            <p:cNvPr id="26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27" name="Group 26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28" name="Donut 27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29" name="Oval 28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0" name="Oval 29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63249608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ftr="0" dt="0"/>
</p:sldLayout>
</file>

<file path=ppt/slideLayouts/slideLayout11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89339583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23123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15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211678" y="230193"/>
            <a:ext cx="10903658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US" noProof="0" dirty="0" smtClean="0"/>
            </a:lvl1pPr>
          </a:lstStyle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  <p:sp>
        <p:nvSpPr>
          <p:cNvPr id="5" name="Slide Number"/>
          <p:cNvSpPr txBox="1">
            <a:spLocks/>
          </p:cNvSpPr>
          <p:nvPr/>
        </p:nvSpPr>
        <p:spPr>
          <a:xfrm>
            <a:off x="11394525" y="6426673"/>
            <a:ext cx="278354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pt-BR" smtClean="0">
                <a:solidFill>
                  <a:srgbClr val="000000"/>
                </a:solidFill>
                <a:cs typeface="Arial" panose="020B0604020202020204" pitchFamily="34" charset="0"/>
                <a:sym typeface="Arial" panose="020B0604020202020204" pitchFamily="34" charset="0"/>
              </a:rPr>
              <a:pPr/>
              <a:t>‹nº›</a:t>
            </a:fld>
            <a:endParaRPr lang="pt-BR" dirty="0">
              <a:solidFill>
                <a:srgbClr val="000000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31255531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ftr="0" dt="0"/>
</p:sldLayout>
</file>

<file path=ppt/slideLayouts/slideLayout117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21502" y="358914"/>
            <a:ext cx="10306110" cy="307777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pt-BR"/>
          </a:p>
        </p:txBody>
      </p:sp>
      <p:sp>
        <p:nvSpPr>
          <p:cNvPr id="3" name="Slide Number"/>
          <p:cNvSpPr txBox="1">
            <a:spLocks/>
          </p:cNvSpPr>
          <p:nvPr/>
        </p:nvSpPr>
        <p:spPr>
          <a:xfrm>
            <a:off x="11394525" y="6426673"/>
            <a:ext cx="278354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pt-BR" smtClean="0">
                <a:solidFill>
                  <a:srgbClr val="000000"/>
                </a:solidFill>
                <a:cs typeface="Arial" panose="020B0604020202020204" pitchFamily="34" charset="0"/>
                <a:sym typeface="Arial" panose="020B0604020202020204" pitchFamily="34" charset="0"/>
              </a:rPr>
              <a:pPr/>
              <a:t>‹nº›</a:t>
            </a:fld>
            <a:endParaRPr lang="pt-BR" dirty="0">
              <a:solidFill>
                <a:srgbClr val="000000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31378207"/>
      </p:ext>
    </p:extLst>
  </p:cSld>
  <p:clrMapOvr>
    <a:masterClrMapping/>
  </p:clrMapOvr>
  <p:hf sldNum="0" hdr="0" ftr="0" dt="0"/>
</p:sldLayout>
</file>

<file path=ppt/slideLayouts/slideLayout117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lide Number"/>
          <p:cNvSpPr txBox="1">
            <a:spLocks/>
          </p:cNvSpPr>
          <p:nvPr/>
        </p:nvSpPr>
        <p:spPr>
          <a:xfrm>
            <a:off x="11394525" y="6426673"/>
            <a:ext cx="278354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pt-BR" smtClean="0">
                <a:solidFill>
                  <a:srgbClr val="000000"/>
                </a:solidFill>
                <a:cs typeface="Arial" panose="020B0604020202020204" pitchFamily="34" charset="0"/>
                <a:sym typeface="Arial" panose="020B0604020202020204" pitchFamily="34" charset="0"/>
              </a:rPr>
              <a:pPr/>
              <a:t>‹nº›</a:t>
            </a:fld>
            <a:endParaRPr lang="pt-BR" dirty="0">
              <a:solidFill>
                <a:srgbClr val="000000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989931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hf sldNum="0" hdr="0" ftr="0" dt="0"/>
</p:sldLayout>
</file>

<file path=ppt/slideLayouts/slideLayout117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422137" y="349332"/>
            <a:ext cx="6749230" cy="254184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703"/>
              </a:lnSpc>
              <a:defRPr sz="4700">
                <a:solidFill>
                  <a:srgbClr val="18C3FF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r>
              <a:rPr lang="en-US" dirty="0" smtClean="0"/>
              <a:t>. LOREM IPSUM DOLOR SIT AMET HAS ID CIBO QUIDAM</a:t>
            </a:r>
            <a:endParaRPr lang="en-US" dirty="0"/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422137" y="3071971"/>
            <a:ext cx="6749230" cy="796308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597067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7067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7067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  <p:sp>
        <p:nvSpPr>
          <p:cNvPr id="9" name="Espaço Reservado para Texto 2"/>
          <p:cNvSpPr>
            <a:spLocks noGrp="1"/>
          </p:cNvSpPr>
          <p:nvPr>
            <p:ph type="body" sz="quarter" idx="19" hasCustomPrompt="1"/>
          </p:nvPr>
        </p:nvSpPr>
        <p:spPr>
          <a:xfrm>
            <a:off x="8649532" y="6259816"/>
            <a:ext cx="3041593" cy="402290"/>
          </a:xfrm>
          <a:prstGeom prst="rect">
            <a:avLst/>
          </a:prstGeom>
        </p:spPr>
        <p:txBody>
          <a:bodyPr/>
          <a:lstStyle>
            <a:lvl1pPr marL="0" marR="0" indent="0" algn="l" defTabSz="59706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300">
                <a:solidFill>
                  <a:schemeClr val="bg2"/>
                </a:solidFill>
                <a:latin typeface="+mn-lt"/>
              </a:defRPr>
            </a:lvl1pPr>
            <a:lvl2pPr marL="597067" indent="0">
              <a:buNone/>
              <a:defRPr/>
            </a:lvl2pPr>
            <a:lvl3pPr marL="1194134" indent="0">
              <a:buNone/>
              <a:defRPr/>
            </a:lvl3pPr>
            <a:lvl4pPr marL="1791205" indent="0">
              <a:buNone/>
              <a:defRPr/>
            </a:lvl4pPr>
            <a:lvl5pPr marL="2388271" indent="0">
              <a:buNone/>
              <a:defRPr/>
            </a:lvl5pPr>
          </a:lstStyle>
          <a:p>
            <a:r>
              <a:rPr lang="en-US" dirty="0" smtClean="0">
                <a:latin typeface="+mn-lt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/>
              <a:t>‹nº›</a:t>
            </a:fld>
            <a:endParaRPr lang="en-US" dirty="0">
              <a:latin typeface="Simplon BP Bold"/>
              <a:cs typeface="Simplon BP Bold"/>
            </a:endParaRPr>
          </a:p>
        </p:txBody>
      </p:sp>
      <p:sp>
        <p:nvSpPr>
          <p:cNvPr id="5" name="Slide Number"/>
          <p:cNvSpPr txBox="1">
            <a:spLocks/>
          </p:cNvSpPr>
          <p:nvPr/>
        </p:nvSpPr>
        <p:spPr>
          <a:xfrm>
            <a:off x="11394525" y="6426673"/>
            <a:ext cx="278354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pt-BR" smtClean="0">
                <a:solidFill>
                  <a:srgbClr val="000000"/>
                </a:solidFill>
                <a:cs typeface="Arial" panose="020B0604020202020204" pitchFamily="34" charset="0"/>
                <a:sym typeface="Arial" panose="020B0604020202020204" pitchFamily="34" charset="0"/>
              </a:rPr>
              <a:pPr/>
              <a:t>‹nº›</a:t>
            </a:fld>
            <a:endParaRPr lang="pt-BR" dirty="0">
              <a:solidFill>
                <a:srgbClr val="000000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55950903"/>
      </p:ext>
    </p:extLst>
  </p:cSld>
  <p:clrMapOvr>
    <a:masterClrMapping/>
  </p:clrMapOvr>
  <p:hf sldNum="0" hdr="0" ftr="0" dt="0"/>
</p:sldLayout>
</file>

<file path=ppt/slideLayouts/slideLayout11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  <p:sp>
        <p:nvSpPr>
          <p:cNvPr id="3" name="Slide Number"/>
          <p:cNvSpPr txBox="1">
            <a:spLocks/>
          </p:cNvSpPr>
          <p:nvPr/>
        </p:nvSpPr>
        <p:spPr>
          <a:xfrm>
            <a:off x="11394525" y="6426673"/>
            <a:ext cx="278354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pt-BR" smtClean="0">
                <a:solidFill>
                  <a:srgbClr val="000000"/>
                </a:solidFill>
                <a:cs typeface="Arial" panose="020B0604020202020204" pitchFamily="34" charset="0"/>
                <a:sym typeface="Arial" panose="020B0604020202020204" pitchFamily="34" charset="0"/>
              </a:rPr>
              <a:pPr/>
              <a:t>‹nº›</a:t>
            </a:fld>
            <a:endParaRPr lang="pt-BR" dirty="0">
              <a:solidFill>
                <a:srgbClr val="000000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78675461"/>
      </p:ext>
    </p:extLst>
  </p:cSld>
  <p:clrMapOvr>
    <a:masterClrMapping/>
  </p:clrMapOvr>
  <p:hf sldNum="0" hdr="0" ftr="0" dt="0"/>
</p:sldLayout>
</file>

<file path=ppt/slideLayouts/slideLayout117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8_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60" y="1576"/>
          <a:ext cx="1555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24147" name="Slide do think-cell" r:id="rId5" imgW="0" imgH="0" progId="TCLayout.ActiveDocument.1">
                  <p:embed/>
                </p:oleObj>
              </mc:Choice>
              <mc:Fallback>
                <p:oleObj name="Slide do think-cell" r:id="rId5" imgW="0" imgH="0" progId="TCLayout.ActiveDocument.1">
                  <p:embed/>
                  <p:pic>
                    <p:nvPicPr>
                      <p:cNvPr id="0" name="AutoShape 15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60" y="1576"/>
                        <a:ext cx="1555" cy="155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/>
        </p:nvSpPr>
        <p:spPr>
          <a:xfrm>
            <a:off x="1" y="6162645"/>
            <a:ext cx="11949113" cy="558832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79" tIns="45689" rIns="91379" bIns="45689"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1" y="-58698"/>
            <a:ext cx="11949113" cy="186905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79" tIns="45689" rIns="91379" bIns="45689"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75514" y="228604"/>
            <a:ext cx="11491891" cy="30777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 smtClean="0"/>
              <a:t>Click to edit Master title style</a:t>
            </a:r>
            <a:endParaRPr lang="en-GB" dirty="0"/>
          </a:p>
        </p:txBody>
      </p:sp>
      <p:sp>
        <p:nvSpPr>
          <p:cNvPr id="8" name="Slide Number"/>
          <p:cNvSpPr txBox="1">
            <a:spLocks/>
          </p:cNvSpPr>
          <p:nvPr/>
        </p:nvSpPr>
        <p:spPr bwMode="gray">
          <a:xfrm>
            <a:off x="11419923" y="6508294"/>
            <a:ext cx="16190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fld id="{42C328C1-A84F-4A39-A664-DBA00541A8C6}" type="slidenum">
              <a:rPr sz="800" smtClean="0">
                <a:solidFill>
                  <a:srgbClr val="00CEFF"/>
                </a:solidFill>
              </a:rPr>
              <a:pPr/>
              <a:t>‹nº›</a:t>
            </a:fld>
            <a:endParaRPr sz="800" dirty="0">
              <a:solidFill>
                <a:srgbClr val="00CEFF"/>
              </a:solidFill>
            </a:endParaRPr>
          </a:p>
        </p:txBody>
      </p:sp>
      <p:sp>
        <p:nvSpPr>
          <p:cNvPr id="10" name="SlideLogoText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10272622" y="6508293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059"/>
            <a:r>
              <a:rPr lang="en-US" sz="800" dirty="0" smtClean="0">
                <a:solidFill>
                  <a:srgbClr val="00CEFF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1311548516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  <p:hf sldNum="0" hdr="0" ftr="0" dt="0"/>
</p:sldLayout>
</file>

<file path=ppt/slideLayouts/slideLayout117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  <p:sp>
        <p:nvSpPr>
          <p:cNvPr id="3" name="Slide Number"/>
          <p:cNvSpPr txBox="1">
            <a:spLocks/>
          </p:cNvSpPr>
          <p:nvPr/>
        </p:nvSpPr>
        <p:spPr>
          <a:xfrm>
            <a:off x="11394525" y="6426673"/>
            <a:ext cx="278354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pt-BR" smtClean="0">
                <a:solidFill>
                  <a:srgbClr val="000000"/>
                </a:solidFill>
                <a:cs typeface="Arial" panose="020B0604020202020204" pitchFamily="34" charset="0"/>
                <a:sym typeface="Arial" panose="020B0604020202020204" pitchFamily="34" charset="0"/>
              </a:rPr>
              <a:pPr/>
              <a:t>‹nº›</a:t>
            </a:fld>
            <a:endParaRPr lang="pt-BR" dirty="0">
              <a:solidFill>
                <a:srgbClr val="000000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38354482"/>
      </p:ext>
    </p:extLst>
  </p:cSld>
  <p:clrMapOvr>
    <a:masterClrMapping/>
  </p:clrMapOvr>
  <p:hf sldNum="0" hdr="0" ftr="0" dt="0"/>
</p:sldLayout>
</file>

<file path=ppt/slideLayouts/slideLayout117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>
          <a:xfrm>
            <a:off x="597456" y="6229821"/>
            <a:ext cx="2788126" cy="357857"/>
          </a:xfrm>
          <a:prstGeom prst="rect">
            <a:avLst/>
          </a:prstGeom>
        </p:spPr>
        <p:txBody>
          <a:bodyPr lIns="91379" tIns="45689" rIns="91379" bIns="45689"/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>
          <a:xfrm>
            <a:off x="4082614" y="6229821"/>
            <a:ext cx="3783886" cy="357857"/>
          </a:xfrm>
          <a:prstGeom prst="rect">
            <a:avLst/>
          </a:prstGeom>
        </p:spPr>
        <p:txBody>
          <a:bodyPr lIns="91379" tIns="45689" rIns="91379" bIns="45689"/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>
          <a:xfrm>
            <a:off x="8563531" y="6229821"/>
            <a:ext cx="2788126" cy="357857"/>
          </a:xfrm>
          <a:prstGeom prst="rect">
            <a:avLst/>
          </a:prstGeom>
        </p:spPr>
        <p:txBody>
          <a:bodyPr lIns="91379" tIns="45689" rIns="91379" bIns="45689"/>
          <a:lstStyle/>
          <a:p>
            <a:fld id="{6056DC08-14DA-4149-8E5B-0CB255A9B00E}" type="slidenum">
              <a:rPr lang="pt-BR" smtClean="0">
                <a:solidFill>
                  <a:srgbClr val="000000"/>
                </a:solidFill>
              </a:rPr>
              <a:pPr/>
              <a:t>‹nº›</a:t>
            </a:fld>
            <a:endParaRPr lang="pt-BR">
              <a:solidFill>
                <a:srgbClr val="000000"/>
              </a:solidFill>
            </a:endParaRPr>
          </a:p>
        </p:txBody>
      </p:sp>
      <p:sp>
        <p:nvSpPr>
          <p:cNvPr id="7" name="Slide Number"/>
          <p:cNvSpPr txBox="1">
            <a:spLocks/>
          </p:cNvSpPr>
          <p:nvPr/>
        </p:nvSpPr>
        <p:spPr>
          <a:xfrm>
            <a:off x="11394525" y="6426673"/>
            <a:ext cx="278354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pt-BR" smtClean="0">
                <a:solidFill>
                  <a:srgbClr val="000000"/>
                </a:solidFill>
                <a:cs typeface="Arial" panose="020B0604020202020204" pitchFamily="34" charset="0"/>
                <a:sym typeface="Arial" panose="020B0604020202020204" pitchFamily="34" charset="0"/>
              </a:rPr>
              <a:pPr/>
              <a:t>‹nº›</a:t>
            </a:fld>
            <a:endParaRPr lang="pt-BR" dirty="0">
              <a:solidFill>
                <a:srgbClr val="000000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>
          <a:xfrm>
            <a:off x="11394525" y="6426673"/>
            <a:ext cx="278354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endParaRPr lang="pt-BR" dirty="0">
              <a:solidFill>
                <a:srgbClr val="000000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40130218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EA288C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6847309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18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6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9689506" y="3762877"/>
            <a:ext cx="1194911" cy="896197"/>
          </a:xfrm>
          <a:prstGeom prst="rect">
            <a:avLst/>
          </a:prstGeom>
        </p:spPr>
        <p:txBody>
          <a:bodyPr vert="horz" wrap="none" lIns="118918" tIns="59459" rIns="118918" bIns="59459" rtlCol="0" anchor="ctr">
            <a:noAutofit/>
          </a:bodyPr>
          <a:lstStyle/>
          <a:p>
            <a:pPr marL="371569" indent="-371569" defTabSz="594513" fontAlgn="auto">
              <a:spcBef>
                <a:spcPts val="0"/>
              </a:spcBef>
              <a:spcAft>
                <a:spcPts val="0"/>
              </a:spcAft>
              <a:buFont typeface="Arial"/>
              <a:buChar char="•"/>
            </a:pPr>
            <a:endParaRPr lang="en-US" sz="2700" dirty="0">
              <a:solidFill>
                <a:srgbClr val="4D4D4D"/>
              </a:solidFill>
              <a:latin typeface="Simplon BP"/>
            </a:endParaRPr>
          </a:p>
        </p:txBody>
      </p:sp>
      <p:sp>
        <p:nvSpPr>
          <p:cNvPr id="13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422135" y="2848723"/>
            <a:ext cx="5577332" cy="1562434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594513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4513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4513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4513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  <p:sp>
        <p:nvSpPr>
          <p:cNvPr id="14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422135" y="1790555"/>
            <a:ext cx="4970423" cy="73342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594513" rtl="0" eaLnBrk="1" fontAlgn="auto" latinLnBrk="0" hangingPunct="1">
              <a:lnSpc>
                <a:spcPts val="2352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 cap="all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451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smtClean="0"/>
              <a:t>has </a:t>
            </a:r>
            <a:br>
              <a:rPr lang="en-US" dirty="0" smtClean="0"/>
            </a:br>
            <a:r>
              <a:rPr lang="en-US" dirty="0" smtClean="0"/>
              <a:t>id </a:t>
            </a:r>
            <a:r>
              <a:rPr lang="en-US" dirty="0" err="1" smtClean="0"/>
              <a:t>cibo</a:t>
            </a:r>
            <a:r>
              <a:rPr lang="en-US" dirty="0" smtClean="0"/>
              <a:t> </a:t>
            </a:r>
            <a:r>
              <a:rPr lang="en-US" dirty="0" err="1" smtClean="0"/>
              <a:t>quidam</a:t>
            </a:r>
            <a:r>
              <a:rPr lang="en-US" dirty="0" smtClean="0"/>
              <a:t> </a:t>
            </a:r>
            <a:r>
              <a:rPr lang="en-US" dirty="0" err="1" smtClean="0"/>
              <a:t>facilis</a:t>
            </a:r>
            <a:endParaRPr lang="en-US" dirty="0"/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422140" y="349380"/>
            <a:ext cx="5783254" cy="123378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703"/>
              </a:lnSpc>
              <a:defRPr sz="3700">
                <a:solidFill>
                  <a:srgbClr val="EA288C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endParaRPr lang="en-US" dirty="0"/>
          </a:p>
        </p:txBody>
      </p:sp>
      <p:pic>
        <p:nvPicPr>
          <p:cNvPr id="11" name="Picture 8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680" t="18242" r="28666" b="8768"/>
          <a:stretch/>
        </p:blipFill>
        <p:spPr bwMode="auto">
          <a:xfrm>
            <a:off x="10241317" y="322222"/>
            <a:ext cx="1390047" cy="116400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734866907"/>
      </p:ext>
    </p:extLst>
  </p:cSld>
  <p:clrMapOvr>
    <a:masterClrMapping/>
  </p:clrMapOvr>
  <p:hf sldNum="0" hdr="0" ftr="0" dt="0"/>
</p:sldLayout>
</file>

<file path=ppt/slideLayouts/slideLayout118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32576907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ftr="0" dt="0"/>
</p:sldLayout>
</file>

<file path=ppt/slideLayouts/slideLayout11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7912085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1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3996551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1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7174118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1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2199221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1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1386887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1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EA288C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8935958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1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6D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3722615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1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A02B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6468396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6D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5402039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1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i Indi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pt-PT" dirty="0" smtClean="0"/>
              <a:t>Índice</a:t>
            </a:r>
            <a:endParaRPr lang="en-US" dirty="0"/>
          </a:p>
        </p:txBody>
      </p:sp>
      <p:sp>
        <p:nvSpPr>
          <p:cNvPr id="10" name="Title 22"/>
          <p:cNvSpPr txBox="1">
            <a:spLocks/>
          </p:cNvSpPr>
          <p:nvPr userDrawn="1"/>
        </p:nvSpPr>
        <p:spPr>
          <a:xfrm>
            <a:off x="6287747" y="358896"/>
            <a:ext cx="5049390" cy="607312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 anchorCtr="0"/>
          <a:lstStyle>
            <a:lvl1pPr algn="l" defTabSz="457200" rtl="0" eaLnBrk="1" latinLnBrk="0" hangingPunct="1">
              <a:lnSpc>
                <a:spcPts val="6800"/>
              </a:lnSpc>
              <a:spcBef>
                <a:spcPts val="3300"/>
              </a:spcBef>
              <a:buNone/>
              <a:defRPr sz="6600" b="0" i="1" kern="1200" baseline="0">
                <a:solidFill>
                  <a:schemeClr val="tx1"/>
                </a:solidFill>
                <a:latin typeface="Georgia"/>
                <a:ea typeface="+mj-ea"/>
                <a:cs typeface="Georgia"/>
              </a:defRPr>
            </a:lvl1pPr>
          </a:lstStyle>
          <a:p>
            <a:pPr fontAlgn="auto">
              <a:lnSpc>
                <a:spcPts val="5487"/>
              </a:lnSpc>
              <a:spcBef>
                <a:spcPts val="0"/>
              </a:spcBef>
              <a:spcAft>
                <a:spcPts val="0"/>
              </a:spcAft>
            </a:pPr>
            <a:r>
              <a:rPr lang="pt-BR" sz="2700" i="0" dirty="0" smtClean="0">
                <a:solidFill>
                  <a:srgbClr val="9F37FE"/>
                </a:solidFill>
                <a:latin typeface="Simplon BP Bold"/>
                <a:cs typeface="Simplon BP Bold"/>
              </a:rPr>
              <a:t>SUMÁRIO EXECUTIVO</a:t>
            </a:r>
            <a:endParaRPr lang="en-US" sz="2700" i="0" dirty="0">
              <a:solidFill>
                <a:srgbClr val="9F37FE"/>
              </a:solidFill>
              <a:latin typeface="Simplon BP Bold"/>
              <a:cs typeface="Simplon BP Bold"/>
            </a:endParaRP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611982" y="1383713"/>
            <a:ext cx="5080447" cy="4156583"/>
          </a:xfrm>
        </p:spPr>
        <p:txBody>
          <a:bodyPr/>
          <a:lstStyle>
            <a:lvl1pPr marL="0" indent="0">
              <a:buNone/>
              <a:defRPr/>
            </a:lvl1pPr>
            <a:lvl2pPr marL="246740" indent="0">
              <a:buNone/>
              <a:defRPr/>
            </a:lvl2pPr>
            <a:lvl3pPr marL="476895" indent="0">
              <a:buNone/>
              <a:defRPr/>
            </a:lvl3pPr>
            <a:lvl4pPr marL="707051" indent="0">
              <a:buNone/>
              <a:defRPr/>
            </a:lvl4pPr>
            <a:lvl5pPr marL="937204" indent="0">
              <a:buNone/>
              <a:defRPr/>
            </a:lvl5pPr>
          </a:lstStyle>
          <a:p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,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consectetuer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dipiscing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lit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,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sed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diam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nonummy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nibh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uismod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tincidunt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ut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aoreet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dolore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magna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liquam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rat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volutpat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.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Ut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wisi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nim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ad minim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veniam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,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quis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nostrud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xerci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tation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ullamcorper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suscipit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bortis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nisl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ut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liquip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ex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a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commodo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consequat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. </a:t>
            </a:r>
            <a:endParaRPr lang="en-US" sz="1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3" hasCustomPrompt="1"/>
          </p:nvPr>
        </p:nvSpPr>
        <p:spPr>
          <a:xfrm>
            <a:off x="6287808" y="1383713"/>
            <a:ext cx="5049330" cy="4156583"/>
          </a:xfrm>
        </p:spPr>
        <p:txBody>
          <a:bodyPr/>
          <a:lstStyle>
            <a:lvl1pPr marL="0" indent="0">
              <a:buNone/>
              <a:defRPr sz="2700"/>
            </a:lvl1pPr>
            <a:lvl2pPr marL="246740" indent="0">
              <a:buNone/>
              <a:defRPr sz="2700"/>
            </a:lvl2pPr>
            <a:lvl3pPr marL="476895" indent="0">
              <a:buNone/>
              <a:defRPr sz="2700"/>
            </a:lvl3pPr>
            <a:lvl4pPr marL="707051" indent="0">
              <a:buNone/>
              <a:defRPr sz="2700"/>
            </a:lvl4pPr>
            <a:lvl5pPr marL="937204" indent="0">
              <a:buNone/>
              <a:defRPr sz="2700"/>
            </a:lvl5pPr>
          </a:lstStyle>
          <a:p>
            <a:pPr lvl="0"/>
            <a:r>
              <a:rPr lang="pt-PT" dirty="0" smtClean="0"/>
              <a:t>3. </a:t>
            </a:r>
            <a:r>
              <a:rPr lang="pt-PT" dirty="0" err="1" smtClean="0"/>
              <a:t>Impsu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endParaRPr lang="pt-PT" dirty="0" smtClean="0"/>
          </a:p>
          <a:p>
            <a:pPr lvl="0"/>
            <a:r>
              <a:rPr lang="pt-PT" dirty="0" smtClean="0"/>
              <a:t>5.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endParaRPr lang="pt-PT" dirty="0" smtClean="0"/>
          </a:p>
          <a:p>
            <a:pPr lvl="0"/>
            <a:r>
              <a:rPr lang="pt-PT" dirty="0" smtClean="0"/>
              <a:t>10. </a:t>
            </a:r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endParaRPr lang="pt-PT" dirty="0" smtClean="0"/>
          </a:p>
          <a:p>
            <a:pPr lvl="0"/>
            <a:r>
              <a:rPr lang="pt-PT" dirty="0" smtClean="0"/>
              <a:t>15. </a:t>
            </a:r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5"/>
          </p:nvPr>
        </p:nvSpPr>
        <p:spPr>
          <a:xfrm>
            <a:off x="597459" y="6371922"/>
            <a:ext cx="10176095" cy="282263"/>
          </a:xfrm>
          <a:prstGeom prst="rect">
            <a:avLst/>
          </a:prstGeom>
        </p:spPr>
        <p:txBody>
          <a:bodyPr/>
          <a:lstStyle/>
          <a:p>
            <a:r>
              <a:rPr lang="pt-BR" dirty="0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6"/>
          </p:nvPr>
        </p:nvSpPr>
        <p:spPr>
          <a:xfrm>
            <a:off x="10773552" y="6371922"/>
            <a:ext cx="578105" cy="282263"/>
          </a:xfrm>
          <a:prstGeom prst="rect">
            <a:avLst/>
          </a:prstGeom>
        </p:spPr>
        <p:txBody>
          <a:bodyPr/>
          <a:lstStyle/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611979" y="5852782"/>
            <a:ext cx="3574719" cy="470497"/>
          </a:xfrm>
          <a:prstGeom prst="rect">
            <a:avLst/>
          </a:prstGeom>
          <a:noFill/>
        </p:spPr>
        <p:txBody>
          <a:bodyPr wrap="none" lIns="47020" tIns="47020" rIns="47020" bIns="47020" rtlCol="0" anchor="ctr" anchorCtr="0">
            <a:noAutofit/>
          </a:bodyPr>
          <a:lstStyle/>
          <a:p>
            <a:pPr defTabSz="597158" fontAlgn="auto">
              <a:lnSpc>
                <a:spcPts val="2352"/>
              </a:lnSpc>
              <a:spcBef>
                <a:spcPts val="0"/>
              </a:spcBef>
              <a:spcAft>
                <a:spcPts val="0"/>
              </a:spcAft>
            </a:pPr>
            <a:r>
              <a:rPr lang="pt-BR" sz="2700" dirty="0" smtClean="0">
                <a:solidFill>
                  <a:srgbClr val="9F37FE"/>
                </a:solidFill>
                <a:latin typeface="Simplon BP" charset="0"/>
                <a:ea typeface="Simplon BP" charset="0"/>
                <a:cs typeface="Simplon BP" charset="0"/>
              </a:rPr>
              <a:t>TOTAL DE SLIDES:</a:t>
            </a:r>
            <a:endParaRPr lang="en-US" sz="2700" dirty="0" smtClean="0">
              <a:solidFill>
                <a:srgbClr val="9F37FE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13" name="Text Placeholder 16"/>
          <p:cNvSpPr>
            <a:spLocks noGrp="1"/>
          </p:cNvSpPr>
          <p:nvPr>
            <p:ph type="body" sz="quarter" idx="14" hasCustomPrompt="1"/>
          </p:nvPr>
        </p:nvSpPr>
        <p:spPr>
          <a:xfrm>
            <a:off x="3810046" y="5852782"/>
            <a:ext cx="753042" cy="470497"/>
          </a:xfrm>
          <a:noFill/>
        </p:spPr>
        <p:txBody>
          <a:bodyPr wrap="none" lIns="47020" tIns="47020" rIns="47020" bIns="47020" rtlCol="0" anchor="ctr" anchorCtr="0">
            <a:noAutofit/>
          </a:bodyPr>
          <a:lstStyle>
            <a:lvl1pPr marL="0" indent="0">
              <a:buNone/>
              <a:defRPr lang="en-US" sz="2700" dirty="0">
                <a:solidFill>
                  <a:schemeClr val="accent1"/>
                </a:solidFill>
                <a:latin typeface="Simplon BP" charset="0"/>
                <a:ea typeface="Simplon BP" charset="0"/>
                <a:cs typeface="Simplon BP" charset="0"/>
              </a:defRPr>
            </a:lvl1pPr>
          </a:lstStyle>
          <a:p>
            <a:pPr marL="0" lvl="0">
              <a:lnSpc>
                <a:spcPts val="2352"/>
              </a:lnSpc>
              <a:spcAft>
                <a:spcPts val="0"/>
              </a:spcAft>
            </a:pPr>
            <a:r>
              <a:rPr lang="pt-PT" dirty="0" smtClean="0"/>
              <a:t>##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55683726"/>
      </p:ext>
    </p:extLst>
  </p:cSld>
  <p:clrMapOvr>
    <a:masterClrMapping/>
  </p:clrMapOvr>
</p:sldLayout>
</file>

<file path=ppt/slideLayouts/slideLayout11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I Titulo Corpo later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1982" y="358894"/>
            <a:ext cx="5069337" cy="6014060"/>
          </a:xfrm>
        </p:spPr>
        <p:txBody>
          <a:bodyPr/>
          <a:lstStyle>
            <a:lvl1pPr marL="0" marR="0" indent="0" algn="l" defTabSz="597158" rtl="0" eaLnBrk="1" fontAlgn="auto" latinLnBrk="0" hangingPunct="1">
              <a:lnSpc>
                <a:spcPts val="5487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r>
              <a:rPr lang="pt-PT" dirty="0" smtClean="0"/>
              <a:t>Título </a:t>
            </a:r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DOLOR SIT AMET CONSECTETOR LOREM IPSUM INSERIR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256694" y="358894"/>
            <a:ext cx="5080447" cy="601406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597459" y="6371922"/>
            <a:ext cx="10176095" cy="282263"/>
          </a:xfrm>
          <a:prstGeom prst="rect">
            <a:avLst/>
          </a:prstGeom>
        </p:spPr>
        <p:txBody>
          <a:bodyPr/>
          <a:lstStyle/>
          <a:p>
            <a:r>
              <a:rPr lang="pt-BR" dirty="0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0773552" y="6371922"/>
            <a:ext cx="578105" cy="282263"/>
          </a:xfrm>
          <a:prstGeom prst="rect">
            <a:avLst/>
          </a:prstGeom>
        </p:spPr>
        <p:txBody>
          <a:bodyPr/>
          <a:lstStyle/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848457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11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I Titulo Corpo Lateral Destaq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1982" y="358894"/>
            <a:ext cx="5069337" cy="6014060"/>
          </a:xfrm>
        </p:spPr>
        <p:txBody>
          <a:bodyPr/>
          <a:lstStyle>
            <a:lvl1pPr marL="0" marR="0" indent="0" algn="l" defTabSz="597158" rtl="0" eaLnBrk="1" fontAlgn="auto" latinLnBrk="0" hangingPunct="1">
              <a:lnSpc>
                <a:spcPts val="5487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r>
              <a:rPr lang="pt-PT" dirty="0" smtClean="0"/>
              <a:t>Título </a:t>
            </a:r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DOLOR SIT AMET CONSECTETOR LOREM IPSUM INSERIR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3"/>
          </p:nvPr>
        </p:nvSpPr>
        <p:spPr>
          <a:xfrm>
            <a:off x="597459" y="6371922"/>
            <a:ext cx="10176095" cy="282263"/>
          </a:xfrm>
          <a:prstGeom prst="rect">
            <a:avLst/>
          </a:prstGeom>
        </p:spPr>
        <p:txBody>
          <a:bodyPr/>
          <a:lstStyle/>
          <a:p>
            <a:r>
              <a:rPr lang="pt-BR" dirty="0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4"/>
          </p:nvPr>
        </p:nvSpPr>
        <p:spPr>
          <a:xfrm>
            <a:off x="10773552" y="6371922"/>
            <a:ext cx="578105" cy="282263"/>
          </a:xfrm>
          <a:prstGeom prst="rect">
            <a:avLst/>
          </a:prstGeom>
        </p:spPr>
        <p:txBody>
          <a:bodyPr/>
          <a:lstStyle/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2" hasCustomPrompt="1"/>
          </p:nvPr>
        </p:nvSpPr>
        <p:spPr>
          <a:xfrm>
            <a:off x="6256691" y="358894"/>
            <a:ext cx="5094969" cy="6014060"/>
          </a:xfrm>
        </p:spPr>
        <p:txBody>
          <a:bodyPr/>
          <a:lstStyle>
            <a:lvl1pPr marL="304801" indent="-304801">
              <a:buFont typeface="Arial" charset="0"/>
              <a:buChar char="•"/>
              <a:tabLst/>
              <a:defRPr sz="2700">
                <a:solidFill>
                  <a:schemeClr val="tx1"/>
                </a:solidFill>
              </a:defRPr>
            </a:lvl1pPr>
            <a:lvl2pPr>
              <a:defRPr sz="2700"/>
            </a:lvl2pPr>
            <a:lvl3pPr>
              <a:defRPr sz="2700"/>
            </a:lvl3pPr>
            <a:lvl4pPr>
              <a:defRPr sz="2700"/>
            </a:lvl4pPr>
            <a:lvl5pPr>
              <a:defRPr sz="2700"/>
            </a:lvl5pPr>
          </a:lstStyle>
          <a:p>
            <a:pPr lvl="0"/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 </a:t>
            </a:r>
            <a:r>
              <a:rPr lang="pt-PT" dirty="0" err="1" smtClean="0"/>
              <a:t>ips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 </a:t>
            </a:r>
            <a:r>
              <a:rPr lang="pt-PT" dirty="0" err="1" smtClean="0"/>
              <a:t>lorem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lorem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Amet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.</a:t>
            </a:r>
          </a:p>
          <a:p>
            <a:pPr lvl="0"/>
            <a:endParaRPr lang="pt-PT" dirty="0" smtClean="0"/>
          </a:p>
        </p:txBody>
      </p:sp>
    </p:spTree>
    <p:extLst>
      <p:ext uri="{BB962C8B-B14F-4D97-AF65-F5344CB8AC3E}">
        <p14:creationId xmlns:p14="http://schemas.microsoft.com/office/powerpoint/2010/main" val="240755354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2744">
          <p15:clr>
            <a:srgbClr val="FBAE40"/>
          </p15:clr>
        </p15:guide>
        <p15:guide id="2" pos="3016">
          <p15:clr>
            <a:srgbClr val="FBAE40"/>
          </p15:clr>
        </p15:guide>
      </p15:sldGuideLst>
    </p:ext>
  </p:extLst>
</p:sldLayout>
</file>

<file path=ppt/slideLayouts/slideLayout11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07428417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30281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14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 userDrawn="1"/>
        </p:nvSpPr>
        <p:spPr bwMode="auto">
          <a:xfrm>
            <a:off x="437849" y="131294"/>
            <a:ext cx="88165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pt-BR" sz="800" b="1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WORKING DRAFT</a:t>
            </a:r>
            <a:endParaRPr lang="pt-BR" sz="800" b="1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256937" y="36518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pt-BR" sz="800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 userDrawn="1"/>
        </p:nvSpPr>
        <p:spPr bwMode="auto">
          <a:xfrm>
            <a:off x="437874" y="286867"/>
            <a:ext cx="3069751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 userDrawn="1"/>
        </p:nvSpPr>
        <p:spPr bwMode="auto">
          <a:xfrm>
            <a:off x="437851" y="444027"/>
            <a:ext cx="270106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8" name="McK Title Elements" hidden="1"/>
          <p:cNvGrpSpPr>
            <a:grpSpLocks/>
          </p:cNvGrpSpPr>
          <p:nvPr userDrawn="1"/>
        </p:nvGrpSpPr>
        <p:grpSpPr bwMode="auto">
          <a:xfrm>
            <a:off x="5" y="110"/>
            <a:ext cx="11944879" cy="6723063"/>
            <a:chOff x="0" y="0"/>
            <a:chExt cx="5643" cy="4235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207" y="3361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ocument typ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207" y="3550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at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1" name="McK Disclaimer"/>
            <p:cNvSpPr>
              <a:spLocks noChangeArrowheads="1"/>
            </p:cNvSpPr>
            <p:nvPr/>
          </p:nvSpPr>
          <p:spPr bwMode="auto">
            <a:xfrm>
              <a:off x="207" y="3963"/>
              <a:ext cx="3226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798301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NFIDENTIAL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D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PRIETARY</a:t>
              </a:r>
              <a:endParaRPr lang="pt-BR" sz="80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  <a:p>
              <a:pPr defTabSz="798301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use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his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aterial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without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pecific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ermission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cKinsey &amp;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mpan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is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trictl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hibited</a:t>
              </a:r>
              <a:endParaRPr lang="pt-BR" sz="8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2" name="TitleBottomPlaceholder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3" name="TitleTopPlaceholder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Rectangle 1189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pic>
        <p:nvPicPr>
          <p:cNvPr id="18" name="TitleBottomBarBW" hidden="1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65754" y="6443669"/>
            <a:ext cx="2182379" cy="1920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7" name="Freeform 5"/>
          <p:cNvSpPr>
            <a:spLocks/>
          </p:cNvSpPr>
          <p:nvPr userDrawn="1"/>
        </p:nvSpPr>
        <p:spPr bwMode="auto">
          <a:xfrm flipH="1">
            <a:off x="4236" y="6635865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0678" tIns="45339" rIns="90678" bIns="45339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9" name="Freeform 5"/>
          <p:cNvSpPr>
            <a:spLocks/>
          </p:cNvSpPr>
          <p:nvPr userDrawn="1"/>
        </p:nvSpPr>
        <p:spPr bwMode="auto">
          <a:xfrm flipH="1">
            <a:off x="4236" y="3272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0678" tIns="45339" rIns="90678" bIns="45339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 userDrawn="1">
            <p:ph type="ctrTitle"/>
          </p:nvPr>
        </p:nvSpPr>
        <p:spPr>
          <a:xfrm>
            <a:off x="437853" y="2238434"/>
            <a:ext cx="6581329" cy="1292662"/>
          </a:xfrm>
          <a:prstGeom prst="rect">
            <a:avLst/>
          </a:prstGeom>
        </p:spPr>
        <p:txBody>
          <a:bodyPr/>
          <a:lstStyle>
            <a:lvl1pPr>
              <a:defRPr sz="4200" b="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dirty="0" smtClean="0"/>
              <a:t>Click </a:t>
            </a:r>
            <a:r>
              <a:rPr lang="pt-BR" noProof="0" dirty="0" err="1" smtClean="0"/>
              <a:t>to</a:t>
            </a:r>
            <a:r>
              <a:rPr lang="pt-BR" noProof="0" dirty="0" smtClean="0"/>
              <a:t> </a:t>
            </a:r>
            <a:r>
              <a:rPr lang="pt-BR" noProof="0" dirty="0" err="1" smtClean="0"/>
              <a:t>edit</a:t>
            </a:r>
            <a:r>
              <a:rPr lang="pt-BR" noProof="0" dirty="0" smtClean="0"/>
              <a:t> Master </a:t>
            </a:r>
            <a:r>
              <a:rPr lang="pt-BR" noProof="0" dirty="0" err="1" smtClean="0"/>
              <a:t>title</a:t>
            </a:r>
            <a:r>
              <a:rPr lang="pt-BR" noProof="0" dirty="0" smtClean="0"/>
              <a:t> </a:t>
            </a:r>
            <a:r>
              <a:rPr lang="pt-BR" noProof="0" dirty="0" err="1" smtClean="0"/>
              <a:t>style</a:t>
            </a:r>
            <a:endParaRPr lang="pt-BR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437852" y="3762851"/>
            <a:ext cx="6450496" cy="482639"/>
          </a:xfrm>
        </p:spPr>
        <p:txBody>
          <a:bodyPr wrap="square">
            <a:spAutoFit/>
          </a:bodyPr>
          <a:lstStyle>
            <a:lvl1pPr>
              <a:defRPr sz="310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smtClean="0"/>
              <a:t>Click to edit Master subtitle style</a:t>
            </a:r>
            <a:endParaRPr lang="pt-BR" noProof="0" dirty="0" smtClean="0"/>
          </a:p>
        </p:txBody>
      </p:sp>
      <p:grpSp>
        <p:nvGrpSpPr>
          <p:cNvPr id="25" name="Group 24"/>
          <p:cNvGrpSpPr/>
          <p:nvPr userDrawn="1"/>
        </p:nvGrpSpPr>
        <p:grpSpPr>
          <a:xfrm>
            <a:off x="8526083" y="2325895"/>
            <a:ext cx="3423031" cy="3656746"/>
            <a:chOff x="5526523" y="2325890"/>
            <a:chExt cx="3423032" cy="3656747"/>
          </a:xfrm>
        </p:grpSpPr>
        <p:sp>
          <p:nvSpPr>
            <p:cNvPr id="26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27" name="Group 26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28" name="Donut 27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29" name="Oval 28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0" name="Oval 29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74378591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34327166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31305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14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211678" y="230280"/>
            <a:ext cx="10903658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US" noProof="0" dirty="0" smtClean="0"/>
            </a:lvl1pPr>
          </a:lstStyle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</p:spTree>
    <p:extLst>
      <p:ext uri="{BB962C8B-B14F-4D97-AF65-F5344CB8AC3E}">
        <p14:creationId xmlns:p14="http://schemas.microsoft.com/office/powerpoint/2010/main" val="158538127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9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21502" y="359003"/>
            <a:ext cx="10306110" cy="307777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225971005"/>
      </p:ext>
    </p:extLst>
  </p:cSld>
  <p:clrMapOvr>
    <a:masterClrMapping/>
  </p:clrMapOvr>
</p:sldLayout>
</file>

<file path=ppt/slideLayouts/slideLayout119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951890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119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422137" y="349421"/>
            <a:ext cx="6749230" cy="254184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703"/>
              </a:lnSpc>
              <a:defRPr sz="4700">
                <a:solidFill>
                  <a:srgbClr val="18C3FF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r>
              <a:rPr lang="en-US" dirty="0" smtClean="0"/>
              <a:t>. LOREM IPSUM DOLOR SIT AMET HAS ID CIBO QUIDAM</a:t>
            </a:r>
            <a:endParaRPr lang="en-US" dirty="0"/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422137" y="3071971"/>
            <a:ext cx="6749230" cy="796308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592532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2532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2532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46153203"/>
      </p:ext>
    </p:extLst>
  </p:cSld>
  <p:clrMapOvr>
    <a:masterClrMapping/>
  </p:clrMapOvr>
</p:sldLayout>
</file>

<file path=ppt/slideLayouts/slideLayout11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3188094706"/>
      </p:ext>
    </p:extLst>
  </p:cSld>
  <p:clrMapOvr>
    <a:masterClrMapping/>
  </p:clrMapOvr>
</p:sldLayout>
</file>

<file path=ppt/slideLayouts/slideLayout119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60" y="1576"/>
          <a:ext cx="1555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32329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14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60" y="1576"/>
                        <a:ext cx="1555" cy="155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 userDrawn="1"/>
        </p:nvSpPr>
        <p:spPr>
          <a:xfrm>
            <a:off x="1" y="-58698"/>
            <a:ext cx="11949113" cy="186905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678" tIns="45339" rIns="90678" bIns="45339"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75601" y="228691"/>
            <a:ext cx="11491891" cy="30777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83485112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pt-PT" dirty="0" err="1"/>
              <a:t>Click</a:t>
            </a:r>
            <a:r>
              <a:rPr lang="pt-PT" dirty="0"/>
              <a:t> to </a:t>
            </a:r>
            <a:r>
              <a:rPr lang="pt-PT" dirty="0" err="1"/>
              <a:t>edit</a:t>
            </a:r>
            <a:r>
              <a:rPr lang="pt-PT" dirty="0"/>
              <a:t> </a:t>
            </a:r>
            <a:r>
              <a:rPr lang="pt-PT" dirty="0" err="1"/>
              <a:t>title</a:t>
            </a:r>
            <a:r>
              <a:rPr lang="pt-PT" dirty="0"/>
              <a:t> </a:t>
            </a:r>
            <a:r>
              <a:rPr lang="pt-PT" dirty="0" err="1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56854815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A02B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9160417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20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541241177"/>
      </p:ext>
    </p:extLst>
  </p:cSld>
  <p:clrMapOvr>
    <a:masterClrMapping/>
  </p:clrMapOvr>
</p:sldLayout>
</file>

<file path=ppt/slideLayouts/slideLayout120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1965723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20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2160322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2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25" y="358943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25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25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822" indent="0">
              <a:buNone/>
              <a:defRPr sz="2700">
                <a:solidFill>
                  <a:schemeClr val="accent3"/>
                </a:solidFill>
              </a:defRPr>
            </a:lvl2pPr>
            <a:lvl3pPr marL="475115" indent="0">
              <a:buNone/>
              <a:defRPr sz="2700">
                <a:solidFill>
                  <a:schemeClr val="accent3"/>
                </a:solidFill>
              </a:defRPr>
            </a:lvl3pPr>
            <a:lvl4pPr marL="704412" indent="0">
              <a:buNone/>
              <a:defRPr sz="2700">
                <a:solidFill>
                  <a:schemeClr val="accent3"/>
                </a:solidFill>
              </a:defRPr>
            </a:lvl4pPr>
            <a:lvl5pPr marL="933714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310146988"/>
      </p:ext>
    </p:extLst>
  </p:cSld>
  <p:clrMapOvr>
    <a:masterClrMapping/>
  </p:clrMapOvr>
</p:sldLayout>
</file>

<file path=ppt/slideLayouts/slideLayout12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25" y="1854632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81495741"/>
      </p:ext>
    </p:extLst>
  </p:cSld>
  <p:clrMapOvr>
    <a:masterClrMapping/>
  </p:clrMapOvr>
</p:sldLayout>
</file>

<file path=ppt/slideLayouts/slideLayout12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78288855"/>
      </p:ext>
    </p:extLst>
  </p:cSld>
  <p:clrMapOvr>
    <a:masterClrMapping/>
  </p:clrMapOvr>
</p:sldLayout>
</file>

<file path=ppt/slideLayouts/slideLayout12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80" y="1854632"/>
            <a:ext cx="5080446" cy="451832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854677"/>
            <a:ext cx="5080448" cy="451832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2025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822" indent="0">
              <a:buNone/>
              <a:defRPr sz="2700">
                <a:solidFill>
                  <a:schemeClr val="accent3"/>
                </a:solidFill>
              </a:defRPr>
            </a:lvl2pPr>
            <a:lvl3pPr marL="475115" indent="0">
              <a:buNone/>
              <a:defRPr sz="2700">
                <a:solidFill>
                  <a:schemeClr val="accent3"/>
                </a:solidFill>
              </a:defRPr>
            </a:lvl3pPr>
            <a:lvl4pPr marL="704412" indent="0">
              <a:buNone/>
              <a:defRPr sz="2700">
                <a:solidFill>
                  <a:schemeClr val="accent3"/>
                </a:solidFill>
              </a:defRPr>
            </a:lvl4pPr>
            <a:lvl5pPr marL="933714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40720848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12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25" y="358943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25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25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822" indent="0">
              <a:buNone/>
              <a:defRPr sz="2700">
                <a:solidFill>
                  <a:schemeClr val="accent3"/>
                </a:solidFill>
              </a:defRPr>
            </a:lvl2pPr>
            <a:lvl3pPr marL="475115" indent="0">
              <a:buNone/>
              <a:defRPr sz="2700">
                <a:solidFill>
                  <a:schemeClr val="accent3"/>
                </a:solidFill>
              </a:defRPr>
            </a:lvl3pPr>
            <a:lvl4pPr marL="704412" indent="0">
              <a:buNone/>
              <a:defRPr sz="2700">
                <a:solidFill>
                  <a:schemeClr val="accent3"/>
                </a:solidFill>
              </a:defRPr>
            </a:lvl4pPr>
            <a:lvl5pPr marL="933714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675430725"/>
      </p:ext>
    </p:extLst>
  </p:cSld>
  <p:clrMapOvr>
    <a:masterClrMapping/>
  </p:clrMapOvr>
</p:sldLayout>
</file>

<file path=ppt/slideLayouts/slideLayout12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25" y="1854632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36874283"/>
      </p:ext>
    </p:extLst>
  </p:cSld>
  <p:clrMapOvr>
    <a:masterClrMapping/>
  </p:clrMapOvr>
</p:sldLayout>
</file>

<file path=ppt/slideLayouts/slideLayout12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67149150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63" y="358981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63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63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019" indent="0">
              <a:buNone/>
              <a:defRPr sz="2700">
                <a:solidFill>
                  <a:schemeClr val="accent3"/>
                </a:solidFill>
              </a:defRPr>
            </a:lvl2pPr>
            <a:lvl3pPr marL="473560" indent="0">
              <a:buNone/>
              <a:defRPr sz="2700">
                <a:solidFill>
                  <a:schemeClr val="accent3"/>
                </a:solidFill>
              </a:defRPr>
            </a:lvl3pPr>
            <a:lvl4pPr marL="702102" indent="0">
              <a:buNone/>
              <a:defRPr sz="2700">
                <a:solidFill>
                  <a:schemeClr val="accent3"/>
                </a:solidFill>
              </a:defRPr>
            </a:lvl4pPr>
            <a:lvl5pPr marL="930651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656564334"/>
      </p:ext>
    </p:extLst>
  </p:cSld>
  <p:clrMapOvr>
    <a:masterClrMapping/>
  </p:clrMapOvr>
</p:sldLayout>
</file>

<file path=ppt/slideLayouts/slideLayout12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80" y="1854632"/>
            <a:ext cx="5080446" cy="451832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854677"/>
            <a:ext cx="5080448" cy="451832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2025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822" indent="0">
              <a:buNone/>
              <a:defRPr sz="2700">
                <a:solidFill>
                  <a:schemeClr val="accent3"/>
                </a:solidFill>
              </a:defRPr>
            </a:lvl2pPr>
            <a:lvl3pPr marL="475115" indent="0">
              <a:buNone/>
              <a:defRPr sz="2700">
                <a:solidFill>
                  <a:schemeClr val="accent3"/>
                </a:solidFill>
              </a:defRPr>
            </a:lvl3pPr>
            <a:lvl4pPr marL="704412" indent="0">
              <a:buNone/>
              <a:defRPr sz="2700">
                <a:solidFill>
                  <a:schemeClr val="accent3"/>
                </a:solidFill>
              </a:defRPr>
            </a:lvl4pPr>
            <a:lvl5pPr marL="933714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34274262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12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0517871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2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0287118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2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5552192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2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3167036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2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083595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2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EA288C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443127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2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6D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9103117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2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A02B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8764832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2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793963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63" y="1854632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93367666"/>
      </p:ext>
    </p:extLst>
  </p:cSld>
  <p:clrMapOvr>
    <a:masterClrMapping/>
  </p:clrMapOvr>
</p:sldLayout>
</file>

<file path=ppt/slideLayouts/slideLayout12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1399807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2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8672407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2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1674584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2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6818281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2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EA288C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8450651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2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6D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3312815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2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A02B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7112729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2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5620524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2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0583455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2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9965919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75866207"/>
      </p:ext>
    </p:extLst>
  </p:cSld>
  <p:clrMapOvr>
    <a:masterClrMapping/>
  </p:clrMapOvr>
</p:sldLayout>
</file>

<file path=ppt/slideLayouts/slideLayout12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8599650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2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9523825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2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EA288C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5888073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2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6D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1808492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2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A02B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46675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2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04901733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49731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13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 userDrawn="1"/>
        </p:nvSpPr>
        <p:spPr bwMode="auto">
          <a:xfrm>
            <a:off x="437849" y="131294"/>
            <a:ext cx="88165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pt-BR" sz="800" b="1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WORKING DRAFT</a:t>
            </a:r>
            <a:endParaRPr lang="pt-BR" sz="800" b="1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256937" y="36518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pt-BR" sz="800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 userDrawn="1"/>
        </p:nvSpPr>
        <p:spPr bwMode="auto">
          <a:xfrm>
            <a:off x="437874" y="286867"/>
            <a:ext cx="3069751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 userDrawn="1"/>
        </p:nvSpPr>
        <p:spPr bwMode="auto">
          <a:xfrm>
            <a:off x="437851" y="444027"/>
            <a:ext cx="270106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8" name="McK Title Elements" hidden="1"/>
          <p:cNvGrpSpPr>
            <a:grpSpLocks/>
          </p:cNvGrpSpPr>
          <p:nvPr userDrawn="1"/>
        </p:nvGrpSpPr>
        <p:grpSpPr bwMode="auto">
          <a:xfrm>
            <a:off x="5" y="110"/>
            <a:ext cx="11944879" cy="6723063"/>
            <a:chOff x="0" y="0"/>
            <a:chExt cx="5643" cy="4235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207" y="3361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ocument typ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207" y="3550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at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1" name="McK Disclaimer"/>
            <p:cNvSpPr>
              <a:spLocks noChangeArrowheads="1"/>
            </p:cNvSpPr>
            <p:nvPr/>
          </p:nvSpPr>
          <p:spPr bwMode="auto">
            <a:xfrm>
              <a:off x="207" y="3963"/>
              <a:ext cx="3226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798301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NFIDENTIAL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D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PRIETARY</a:t>
              </a:r>
              <a:endParaRPr lang="pt-BR" sz="80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  <a:p>
              <a:pPr defTabSz="798301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use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his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aterial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without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pecific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ermission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cKinsey &amp;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mpan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is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trictl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hibited</a:t>
              </a:r>
              <a:endParaRPr lang="pt-BR" sz="8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2" name="TitleBottomPlaceholder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3" name="TitleTopPlaceholder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Rectangle 1189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pic>
        <p:nvPicPr>
          <p:cNvPr id="18" name="TitleBottomBarBW" hidden="1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65754" y="6443669"/>
            <a:ext cx="2182379" cy="1920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7" name="Freeform 5"/>
          <p:cNvSpPr>
            <a:spLocks/>
          </p:cNvSpPr>
          <p:nvPr userDrawn="1"/>
        </p:nvSpPr>
        <p:spPr bwMode="auto">
          <a:xfrm flipH="1">
            <a:off x="4236" y="6635865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0678" tIns="45339" rIns="90678" bIns="45339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9" name="Freeform 5"/>
          <p:cNvSpPr>
            <a:spLocks/>
          </p:cNvSpPr>
          <p:nvPr userDrawn="1"/>
        </p:nvSpPr>
        <p:spPr bwMode="auto">
          <a:xfrm flipH="1">
            <a:off x="4236" y="3272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0678" tIns="45339" rIns="90678" bIns="45339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 userDrawn="1">
            <p:ph type="ctrTitle"/>
          </p:nvPr>
        </p:nvSpPr>
        <p:spPr>
          <a:xfrm>
            <a:off x="437853" y="2238434"/>
            <a:ext cx="6581329" cy="1292662"/>
          </a:xfrm>
          <a:prstGeom prst="rect">
            <a:avLst/>
          </a:prstGeom>
        </p:spPr>
        <p:txBody>
          <a:bodyPr/>
          <a:lstStyle>
            <a:lvl1pPr>
              <a:defRPr sz="4200" b="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dirty="0" smtClean="0"/>
              <a:t>Click </a:t>
            </a:r>
            <a:r>
              <a:rPr lang="pt-BR" noProof="0" dirty="0" err="1" smtClean="0"/>
              <a:t>to</a:t>
            </a:r>
            <a:r>
              <a:rPr lang="pt-BR" noProof="0" dirty="0" smtClean="0"/>
              <a:t> </a:t>
            </a:r>
            <a:r>
              <a:rPr lang="pt-BR" noProof="0" dirty="0" err="1" smtClean="0"/>
              <a:t>edit</a:t>
            </a:r>
            <a:r>
              <a:rPr lang="pt-BR" noProof="0" dirty="0" smtClean="0"/>
              <a:t> Master </a:t>
            </a:r>
            <a:r>
              <a:rPr lang="pt-BR" noProof="0" dirty="0" err="1" smtClean="0"/>
              <a:t>title</a:t>
            </a:r>
            <a:r>
              <a:rPr lang="pt-BR" noProof="0" dirty="0" smtClean="0"/>
              <a:t> </a:t>
            </a:r>
            <a:r>
              <a:rPr lang="pt-BR" noProof="0" dirty="0" err="1" smtClean="0"/>
              <a:t>style</a:t>
            </a:r>
            <a:endParaRPr lang="pt-BR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437852" y="3762851"/>
            <a:ext cx="6450496" cy="482639"/>
          </a:xfrm>
        </p:spPr>
        <p:txBody>
          <a:bodyPr wrap="square">
            <a:spAutoFit/>
          </a:bodyPr>
          <a:lstStyle>
            <a:lvl1pPr>
              <a:defRPr sz="310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smtClean="0"/>
              <a:t>Click to edit Master subtitle style</a:t>
            </a:r>
            <a:endParaRPr lang="pt-BR" noProof="0" dirty="0" smtClean="0"/>
          </a:p>
        </p:txBody>
      </p:sp>
      <p:grpSp>
        <p:nvGrpSpPr>
          <p:cNvPr id="25" name="Group 24"/>
          <p:cNvGrpSpPr/>
          <p:nvPr userDrawn="1"/>
        </p:nvGrpSpPr>
        <p:grpSpPr>
          <a:xfrm>
            <a:off x="8526083" y="2325895"/>
            <a:ext cx="3423031" cy="3656746"/>
            <a:chOff x="5526523" y="2325890"/>
            <a:chExt cx="3423032" cy="3656747"/>
          </a:xfrm>
        </p:grpSpPr>
        <p:sp>
          <p:nvSpPr>
            <p:cNvPr id="26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27" name="Group 26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28" name="Donut 27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29" name="Oval 28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0" name="Oval 29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80284485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49831553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0755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13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211678" y="230280"/>
            <a:ext cx="10903658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US" noProof="0" dirty="0" smtClean="0"/>
            </a:lvl1pPr>
          </a:lstStyle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</p:spTree>
    <p:extLst>
      <p:ext uri="{BB962C8B-B14F-4D97-AF65-F5344CB8AC3E}">
        <p14:creationId xmlns:p14="http://schemas.microsoft.com/office/powerpoint/2010/main" val="76233552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21502" y="359003"/>
            <a:ext cx="10306110" cy="307777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906993496"/>
      </p:ext>
    </p:extLst>
  </p:cSld>
  <p:clrMapOvr>
    <a:masterClrMapping/>
  </p:clrMapOvr>
</p:sldLayout>
</file>

<file path=ppt/slideLayouts/slideLayout12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461477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12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422137" y="349421"/>
            <a:ext cx="6749230" cy="254184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703"/>
              </a:lnSpc>
              <a:defRPr sz="4700">
                <a:solidFill>
                  <a:srgbClr val="18C3FF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r>
              <a:rPr lang="en-US" dirty="0" smtClean="0"/>
              <a:t>. LOREM IPSUM DOLOR SIT AMET HAS ID CIBO QUIDAM</a:t>
            </a:r>
            <a:endParaRPr lang="en-US" dirty="0"/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422137" y="3071971"/>
            <a:ext cx="6749230" cy="796308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592532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2532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2532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59484358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80" y="1854632"/>
            <a:ext cx="5080446" cy="451832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854715"/>
            <a:ext cx="5080448" cy="451832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2063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019" indent="0">
              <a:buNone/>
              <a:defRPr sz="2700">
                <a:solidFill>
                  <a:schemeClr val="accent3"/>
                </a:solidFill>
              </a:defRPr>
            </a:lvl2pPr>
            <a:lvl3pPr marL="473560" indent="0">
              <a:buNone/>
              <a:defRPr sz="2700">
                <a:solidFill>
                  <a:schemeClr val="accent3"/>
                </a:solidFill>
              </a:defRPr>
            </a:lvl3pPr>
            <a:lvl4pPr marL="702102" indent="0">
              <a:buNone/>
              <a:defRPr sz="2700">
                <a:solidFill>
                  <a:schemeClr val="accent3"/>
                </a:solidFill>
              </a:defRPr>
            </a:lvl4pPr>
            <a:lvl5pPr marL="930651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01639239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12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1852515025"/>
      </p:ext>
    </p:extLst>
  </p:cSld>
  <p:clrMapOvr>
    <a:masterClrMapping/>
  </p:clrMapOvr>
</p:sldLayout>
</file>

<file path=ppt/slideLayouts/slideLayout12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60" y="1576"/>
          <a:ext cx="1555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1779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13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60" y="1576"/>
                        <a:ext cx="1555" cy="155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 userDrawn="1"/>
        </p:nvSpPr>
        <p:spPr>
          <a:xfrm>
            <a:off x="1" y="-58698"/>
            <a:ext cx="11949113" cy="186905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678" tIns="45339" rIns="90678" bIns="45339"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75601" y="228691"/>
            <a:ext cx="11491891" cy="30777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47357551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124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2984409101"/>
      </p:ext>
    </p:extLst>
  </p:cSld>
  <p:clrMapOvr>
    <a:masterClrMapping/>
  </p:clrMapOvr>
</p:sldLayout>
</file>

<file path=ppt/slideLayouts/slideLayout12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1100090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2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4280099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2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53" y="358969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50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53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268" indent="0">
              <a:buNone/>
              <a:defRPr sz="2700">
                <a:solidFill>
                  <a:schemeClr val="accent3"/>
                </a:solidFill>
              </a:defRPr>
            </a:lvl2pPr>
            <a:lvl3pPr marL="474041" indent="0">
              <a:buNone/>
              <a:defRPr sz="2700">
                <a:solidFill>
                  <a:schemeClr val="accent3"/>
                </a:solidFill>
              </a:defRPr>
            </a:lvl3pPr>
            <a:lvl4pPr marL="702818" indent="0">
              <a:buNone/>
              <a:defRPr sz="2700">
                <a:solidFill>
                  <a:schemeClr val="accent3"/>
                </a:solidFill>
              </a:defRPr>
            </a:lvl4pPr>
            <a:lvl5pPr marL="931601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493275830"/>
      </p:ext>
    </p:extLst>
  </p:cSld>
  <p:clrMapOvr>
    <a:masterClrMapping/>
  </p:clrMapOvr>
</p:sldLayout>
</file>

<file path=ppt/slideLayouts/slideLayout12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50" y="1854632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8253138"/>
      </p:ext>
    </p:extLst>
  </p:cSld>
  <p:clrMapOvr>
    <a:masterClrMapping/>
  </p:clrMapOvr>
</p:sldLayout>
</file>

<file path=ppt/slideLayouts/slideLayout12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077609"/>
      </p:ext>
    </p:extLst>
  </p:cSld>
  <p:clrMapOvr>
    <a:masterClrMapping/>
  </p:clrMapOvr>
</p:sldLayout>
</file>

<file path=ppt/slideLayouts/slideLayout12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80" y="1854632"/>
            <a:ext cx="5080446" cy="451832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854704"/>
            <a:ext cx="5080448" cy="451832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2053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268" indent="0">
              <a:buNone/>
              <a:defRPr sz="2700">
                <a:solidFill>
                  <a:schemeClr val="accent3"/>
                </a:solidFill>
              </a:defRPr>
            </a:lvl2pPr>
            <a:lvl3pPr marL="474041" indent="0">
              <a:buNone/>
              <a:defRPr sz="2700">
                <a:solidFill>
                  <a:schemeClr val="accent3"/>
                </a:solidFill>
              </a:defRPr>
            </a:lvl3pPr>
            <a:lvl4pPr marL="702818" indent="0">
              <a:buNone/>
              <a:defRPr sz="2700">
                <a:solidFill>
                  <a:schemeClr val="accent3"/>
                </a:solidFill>
              </a:defRPr>
            </a:lvl4pPr>
            <a:lvl5pPr marL="931601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394026734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12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8369810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9666621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2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a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7578399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63853236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6892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12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437849" y="131206"/>
            <a:ext cx="88165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pt-BR" sz="800" b="1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WORKING DRAFT</a:t>
            </a:r>
            <a:endParaRPr lang="pt-BR" sz="800" b="1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doc id" hidden="1"/>
          <p:cNvSpPr txBox="1">
            <a:spLocks noChangeArrowheads="1"/>
          </p:cNvSpPr>
          <p:nvPr/>
        </p:nvSpPr>
        <p:spPr bwMode="auto">
          <a:xfrm>
            <a:off x="11256937" y="36518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pt-BR" sz="800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437873" y="286780"/>
            <a:ext cx="3069751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437851" y="443940"/>
            <a:ext cx="270106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8" name="McK Title Elements" hidden="1"/>
          <p:cNvGrpSpPr>
            <a:grpSpLocks/>
          </p:cNvGrpSpPr>
          <p:nvPr/>
        </p:nvGrpSpPr>
        <p:grpSpPr bwMode="auto">
          <a:xfrm>
            <a:off x="5" y="21"/>
            <a:ext cx="11944879" cy="6723063"/>
            <a:chOff x="0" y="0"/>
            <a:chExt cx="5643" cy="4235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207" y="3361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ocument typ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207" y="3550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at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1" name="McK Disclaimer"/>
            <p:cNvSpPr>
              <a:spLocks noChangeArrowheads="1"/>
            </p:cNvSpPr>
            <p:nvPr/>
          </p:nvSpPr>
          <p:spPr bwMode="auto">
            <a:xfrm>
              <a:off x="207" y="3963"/>
              <a:ext cx="3226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804361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NFIDENTIAL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D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PRIETARY</a:t>
              </a:r>
              <a:endParaRPr lang="pt-BR" sz="80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  <a:p>
              <a:pPr defTabSz="804361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use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his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aterial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without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pecific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ermission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cKinsey &amp;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mpan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is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trictl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hibited</a:t>
              </a:r>
              <a:endParaRPr lang="pt-BR" sz="8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2" name="TitleBottomPlaceholder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3" name="TitleTopPlaceholder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Rectangle 1189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pic>
        <p:nvPicPr>
          <p:cNvPr id="18" name="TitleBottomBarBW" hidden="1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65668" y="6443669"/>
            <a:ext cx="2182379" cy="1920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7" name="Freeform 5"/>
          <p:cNvSpPr>
            <a:spLocks/>
          </p:cNvSpPr>
          <p:nvPr/>
        </p:nvSpPr>
        <p:spPr bwMode="auto">
          <a:xfrm flipH="1">
            <a:off x="4236" y="6635778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379" tIns="45689" rIns="91379" bIns="45689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9" name="Freeform 5"/>
          <p:cNvSpPr>
            <a:spLocks/>
          </p:cNvSpPr>
          <p:nvPr/>
        </p:nvSpPr>
        <p:spPr bwMode="auto">
          <a:xfrm flipH="1">
            <a:off x="4236" y="3184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379" tIns="45689" rIns="91379" bIns="45689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437853" y="2238434"/>
            <a:ext cx="6581329" cy="1292662"/>
          </a:xfrm>
          <a:prstGeom prst="rect">
            <a:avLst/>
          </a:prstGeom>
        </p:spPr>
        <p:txBody>
          <a:bodyPr/>
          <a:lstStyle>
            <a:lvl1pPr>
              <a:defRPr sz="4200" b="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dirty="0" smtClean="0"/>
              <a:t>Click </a:t>
            </a:r>
            <a:r>
              <a:rPr lang="pt-BR" noProof="0" dirty="0" err="1" smtClean="0"/>
              <a:t>to</a:t>
            </a:r>
            <a:r>
              <a:rPr lang="pt-BR" noProof="0" dirty="0" smtClean="0"/>
              <a:t> </a:t>
            </a:r>
            <a:r>
              <a:rPr lang="pt-BR" noProof="0" dirty="0" err="1" smtClean="0"/>
              <a:t>edit</a:t>
            </a:r>
            <a:r>
              <a:rPr lang="pt-BR" noProof="0" dirty="0" smtClean="0"/>
              <a:t> Master </a:t>
            </a:r>
            <a:r>
              <a:rPr lang="pt-BR" noProof="0" dirty="0" err="1" smtClean="0"/>
              <a:t>title</a:t>
            </a:r>
            <a:r>
              <a:rPr lang="pt-BR" noProof="0" dirty="0" smtClean="0"/>
              <a:t> </a:t>
            </a:r>
            <a:r>
              <a:rPr lang="pt-BR" noProof="0" dirty="0" err="1" smtClean="0"/>
              <a:t>style</a:t>
            </a:r>
            <a:endParaRPr lang="pt-BR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437852" y="3762851"/>
            <a:ext cx="6450496" cy="482639"/>
          </a:xfrm>
        </p:spPr>
        <p:txBody>
          <a:bodyPr wrap="square">
            <a:spAutoFit/>
          </a:bodyPr>
          <a:lstStyle>
            <a:lvl1pPr>
              <a:defRPr sz="310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smtClean="0"/>
              <a:t>Click to edit Master subtitle style</a:t>
            </a:r>
            <a:endParaRPr lang="pt-BR" noProof="0" dirty="0" smtClean="0"/>
          </a:p>
        </p:txBody>
      </p:sp>
      <p:grpSp>
        <p:nvGrpSpPr>
          <p:cNvPr id="25" name="Group 24"/>
          <p:cNvGrpSpPr/>
          <p:nvPr/>
        </p:nvGrpSpPr>
        <p:grpSpPr>
          <a:xfrm>
            <a:off x="8526083" y="2325895"/>
            <a:ext cx="3423031" cy="3656746"/>
            <a:chOff x="5526523" y="2325890"/>
            <a:chExt cx="3423032" cy="3656747"/>
          </a:xfrm>
        </p:grpSpPr>
        <p:sp>
          <p:nvSpPr>
            <p:cNvPr id="26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27" name="Group 26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28" name="Donut 27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29" name="Oval 28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0" name="Oval 29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792922658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ftr="0" dt="0"/>
</p:sldLayout>
</file>

<file path=ppt/slideLayouts/slideLayout12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8413534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7916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12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211678" y="230193"/>
            <a:ext cx="10903658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US" noProof="0" dirty="0" smtClean="0"/>
            </a:lvl1pPr>
          </a:lstStyle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</p:spTree>
    <p:extLst>
      <p:ext uri="{BB962C8B-B14F-4D97-AF65-F5344CB8AC3E}">
        <p14:creationId xmlns:p14="http://schemas.microsoft.com/office/powerpoint/2010/main" val="446830040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ftr="0" dt="0"/>
</p:sldLayout>
</file>

<file path=ppt/slideLayouts/slideLayout125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21502" y="358914"/>
            <a:ext cx="10306110" cy="307777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451326825"/>
      </p:ext>
    </p:extLst>
  </p:cSld>
  <p:clrMapOvr>
    <a:masterClrMapping/>
  </p:clrMapOvr>
  <p:hf sldNum="0" hdr="0" ftr="0" dt="0"/>
</p:sldLayout>
</file>

<file path=ppt/slideLayouts/slideLayout125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052595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hf sldNum="0" hdr="0" ftr="0" dt="0"/>
</p:sldLayout>
</file>

<file path=ppt/slideLayouts/slideLayout125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422137" y="349332"/>
            <a:ext cx="6749230" cy="254184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703"/>
              </a:lnSpc>
              <a:defRPr sz="4700">
                <a:solidFill>
                  <a:srgbClr val="18C3FF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r>
              <a:rPr lang="en-US" dirty="0" smtClean="0"/>
              <a:t>. LOREM IPSUM DOLOR SIT AMET HAS ID CIBO QUIDAM</a:t>
            </a:r>
            <a:endParaRPr lang="en-US" dirty="0"/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422137" y="3071971"/>
            <a:ext cx="6749230" cy="796308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597067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7067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7067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33551875"/>
      </p:ext>
    </p:extLst>
  </p:cSld>
  <p:clrMapOvr>
    <a:masterClrMapping/>
  </p:clrMapOvr>
  <p:hf sldNum="0" hdr="0" ftr="0" dt="0"/>
</p:sldLayout>
</file>

<file path=ppt/slideLayouts/slideLayout12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1193769144"/>
      </p:ext>
    </p:extLst>
  </p:cSld>
  <p:clrMapOvr>
    <a:masterClrMapping/>
  </p:clrMapOvr>
  <p:hf sldNum="0" hdr="0" ftr="0" dt="0"/>
</p:sldLayout>
</file>

<file path=ppt/slideLayouts/slideLayout125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8_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60" y="1576"/>
          <a:ext cx="1555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8940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12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60" y="1576"/>
                        <a:ext cx="1555" cy="155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/>
        </p:nvSpPr>
        <p:spPr>
          <a:xfrm>
            <a:off x="1" y="-58698"/>
            <a:ext cx="11949113" cy="186905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79" tIns="45689" rIns="91379" bIns="45689"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75514" y="228604"/>
            <a:ext cx="11491891" cy="30777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7452089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  <p:hf sldNum="0" hdr="0" ftr="0" dt="0"/>
</p:sldLayout>
</file>

<file path=ppt/slideLayouts/slideLayout125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3918826383"/>
      </p:ext>
    </p:extLst>
  </p:cSld>
  <p:clrMapOvr>
    <a:masterClrMapping/>
  </p:clrMapOvr>
  <p:hf sldNum="0" hdr="0" ftr="0" dt="0"/>
</p:sldLayout>
</file>

<file path=ppt/slideLayouts/slideLayout125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>
          <a:xfrm>
            <a:off x="597456" y="6229821"/>
            <a:ext cx="2788126" cy="357857"/>
          </a:xfrm>
          <a:prstGeom prst="rect">
            <a:avLst/>
          </a:prstGeom>
        </p:spPr>
        <p:txBody>
          <a:bodyPr lIns="91379" tIns="45689" rIns="91379" bIns="45689"/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>
          <a:xfrm>
            <a:off x="4082614" y="6229821"/>
            <a:ext cx="3783886" cy="357857"/>
          </a:xfrm>
          <a:prstGeom prst="rect">
            <a:avLst/>
          </a:prstGeom>
        </p:spPr>
        <p:txBody>
          <a:bodyPr lIns="91379" tIns="45689" rIns="91379" bIns="45689"/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>
          <a:xfrm>
            <a:off x="11394525" y="6426673"/>
            <a:ext cx="278354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endParaRPr lang="pt-BR" dirty="0">
              <a:solidFill>
                <a:srgbClr val="000000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45678348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081487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26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6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9689506" y="3762877"/>
            <a:ext cx="1194911" cy="896197"/>
          </a:xfrm>
          <a:prstGeom prst="rect">
            <a:avLst/>
          </a:prstGeom>
        </p:spPr>
        <p:txBody>
          <a:bodyPr vert="horz" wrap="none" lIns="118918" tIns="59459" rIns="118918" bIns="59459" rtlCol="0" anchor="ctr">
            <a:noAutofit/>
          </a:bodyPr>
          <a:lstStyle/>
          <a:p>
            <a:pPr marL="371569" indent="-371569" defTabSz="594513" fontAlgn="auto">
              <a:spcBef>
                <a:spcPts val="0"/>
              </a:spcBef>
              <a:spcAft>
                <a:spcPts val="0"/>
              </a:spcAft>
              <a:buFont typeface="Arial"/>
              <a:buChar char="•"/>
            </a:pPr>
            <a:endParaRPr lang="en-US" sz="2700" dirty="0">
              <a:solidFill>
                <a:srgbClr val="4D4D4D"/>
              </a:solidFill>
              <a:latin typeface="Simplon BP"/>
            </a:endParaRPr>
          </a:p>
        </p:txBody>
      </p:sp>
      <p:sp>
        <p:nvSpPr>
          <p:cNvPr id="13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422135" y="2848723"/>
            <a:ext cx="5577332" cy="1562434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594513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4513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4513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4513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  <p:sp>
        <p:nvSpPr>
          <p:cNvPr id="14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422135" y="1790555"/>
            <a:ext cx="4970423" cy="73342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594513" rtl="0" eaLnBrk="1" fontAlgn="auto" latinLnBrk="0" hangingPunct="1">
              <a:lnSpc>
                <a:spcPts val="2352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 cap="all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451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smtClean="0"/>
              <a:t>has </a:t>
            </a:r>
            <a:br>
              <a:rPr lang="en-US" dirty="0" smtClean="0"/>
            </a:br>
            <a:r>
              <a:rPr lang="en-US" dirty="0" smtClean="0"/>
              <a:t>id </a:t>
            </a:r>
            <a:r>
              <a:rPr lang="en-US" dirty="0" err="1" smtClean="0"/>
              <a:t>cibo</a:t>
            </a:r>
            <a:r>
              <a:rPr lang="en-US" dirty="0" smtClean="0"/>
              <a:t> </a:t>
            </a:r>
            <a:r>
              <a:rPr lang="en-US" dirty="0" err="1" smtClean="0"/>
              <a:t>quidam</a:t>
            </a:r>
            <a:r>
              <a:rPr lang="en-US" dirty="0" smtClean="0"/>
              <a:t> </a:t>
            </a:r>
            <a:r>
              <a:rPr lang="en-US" dirty="0" err="1" smtClean="0"/>
              <a:t>facilis</a:t>
            </a:r>
            <a:endParaRPr lang="en-US" dirty="0"/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422140" y="349380"/>
            <a:ext cx="5783254" cy="123378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703"/>
              </a:lnSpc>
              <a:defRPr sz="3700">
                <a:solidFill>
                  <a:srgbClr val="EA288C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endParaRPr lang="en-US" dirty="0"/>
          </a:p>
        </p:txBody>
      </p:sp>
      <p:pic>
        <p:nvPicPr>
          <p:cNvPr id="11" name="Picture 8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680" t="18242" r="28666" b="8768"/>
          <a:stretch/>
        </p:blipFill>
        <p:spPr bwMode="auto">
          <a:xfrm>
            <a:off x="10241317" y="322222"/>
            <a:ext cx="1390047" cy="116400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650956064"/>
      </p:ext>
    </p:extLst>
  </p:cSld>
  <p:clrMapOvr>
    <a:masterClrMapping/>
  </p:clrMapOvr>
  <p:hf sldNum="0" hdr="0" ftr="0" dt="0"/>
</p:sldLayout>
</file>

<file path=ppt/slideLayouts/slideLayout126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40624740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ftr="0" dt="0"/>
</p:sldLayout>
</file>

<file path=ppt/slideLayouts/slideLayout12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45" y="358960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42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45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435" indent="0">
              <a:buNone/>
              <a:defRPr sz="2700">
                <a:solidFill>
                  <a:schemeClr val="accent3"/>
                </a:solidFill>
              </a:defRPr>
            </a:lvl2pPr>
            <a:lvl3pPr marL="474363" indent="0">
              <a:buNone/>
              <a:defRPr sz="2700">
                <a:solidFill>
                  <a:schemeClr val="accent3"/>
                </a:solidFill>
              </a:defRPr>
            </a:lvl3pPr>
            <a:lvl4pPr marL="703296" indent="0">
              <a:buNone/>
              <a:defRPr sz="2700">
                <a:solidFill>
                  <a:schemeClr val="accent3"/>
                </a:solidFill>
              </a:defRPr>
            </a:lvl4pPr>
            <a:lvl5pPr marL="932232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220713044"/>
      </p:ext>
    </p:extLst>
  </p:cSld>
  <p:clrMapOvr>
    <a:masterClrMapping/>
  </p:clrMapOvr>
</p:sldLayout>
</file>

<file path=ppt/slideLayouts/slideLayout12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42" y="1854632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42436402"/>
      </p:ext>
    </p:extLst>
  </p:cSld>
  <p:clrMapOvr>
    <a:masterClrMapping/>
  </p:clrMapOvr>
</p:sldLayout>
</file>

<file path=ppt/slideLayouts/slideLayout12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16517466"/>
      </p:ext>
    </p:extLst>
  </p:cSld>
  <p:clrMapOvr>
    <a:masterClrMapping/>
  </p:clrMapOvr>
</p:sldLayout>
</file>

<file path=ppt/slideLayouts/slideLayout12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80" y="1854632"/>
            <a:ext cx="5080446" cy="451832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854695"/>
            <a:ext cx="5080448" cy="451832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2045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435" indent="0">
              <a:buNone/>
              <a:defRPr sz="2700">
                <a:solidFill>
                  <a:schemeClr val="accent3"/>
                </a:solidFill>
              </a:defRPr>
            </a:lvl2pPr>
            <a:lvl3pPr marL="474363" indent="0">
              <a:buNone/>
              <a:defRPr sz="2700">
                <a:solidFill>
                  <a:schemeClr val="accent3"/>
                </a:solidFill>
              </a:defRPr>
            </a:lvl3pPr>
            <a:lvl4pPr marL="703296" indent="0">
              <a:buNone/>
              <a:defRPr sz="2700">
                <a:solidFill>
                  <a:schemeClr val="accent3"/>
                </a:solidFill>
              </a:defRPr>
            </a:lvl4pPr>
            <a:lvl5pPr marL="932232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15766263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12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7941922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2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5480105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2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4831838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2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3630977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175147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2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2857574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2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EA288C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3614163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2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6D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4373397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2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A02B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3075763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2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3736536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2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507155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2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3487143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2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5989769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2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3070406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2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EA288C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5140614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8297369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2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6D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4610709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2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A02B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3875120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2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7055768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2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6527997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2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2642548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2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0549719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2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2122199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2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EA288C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1079247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2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6D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2123659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2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A02B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3356419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8752033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2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84" y="359001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83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84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4604" indent="0">
              <a:buNone/>
              <a:defRPr sz="2700">
                <a:solidFill>
                  <a:schemeClr val="accent3"/>
                </a:solidFill>
              </a:defRPr>
            </a:lvl2pPr>
            <a:lvl3pPr marL="472756" indent="0">
              <a:buNone/>
              <a:defRPr sz="2700">
                <a:solidFill>
                  <a:schemeClr val="accent3"/>
                </a:solidFill>
              </a:defRPr>
            </a:lvl3pPr>
            <a:lvl4pPr marL="700913" indent="0">
              <a:buNone/>
              <a:defRPr sz="2700">
                <a:solidFill>
                  <a:schemeClr val="accent3"/>
                </a:solidFill>
              </a:defRPr>
            </a:lvl4pPr>
            <a:lvl5pPr marL="929070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743178371"/>
      </p:ext>
    </p:extLst>
  </p:cSld>
  <p:clrMapOvr>
    <a:masterClrMapping/>
  </p:clrMapOvr>
</p:sldLayout>
</file>

<file path=ppt/slideLayouts/slideLayout12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83" y="1854632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36897668"/>
      </p:ext>
    </p:extLst>
  </p:cSld>
  <p:clrMapOvr>
    <a:masterClrMapping/>
  </p:clrMapOvr>
</p:sldLayout>
</file>

<file path=ppt/slideLayouts/slideLayout12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36179494"/>
      </p:ext>
    </p:extLst>
  </p:cSld>
  <p:clrMapOvr>
    <a:masterClrMapping/>
  </p:clrMapOvr>
</p:sldLayout>
</file>

<file path=ppt/slideLayouts/slideLayout12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80" y="1854632"/>
            <a:ext cx="5080446" cy="451832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854734"/>
            <a:ext cx="5080448" cy="451832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2084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4604" indent="0">
              <a:buNone/>
              <a:defRPr sz="2700">
                <a:solidFill>
                  <a:schemeClr val="accent3"/>
                </a:solidFill>
              </a:defRPr>
            </a:lvl2pPr>
            <a:lvl3pPr marL="472756" indent="0">
              <a:buNone/>
              <a:defRPr sz="2700">
                <a:solidFill>
                  <a:schemeClr val="accent3"/>
                </a:solidFill>
              </a:defRPr>
            </a:lvl3pPr>
            <a:lvl4pPr marL="700913" indent="0">
              <a:buNone/>
              <a:defRPr sz="2700">
                <a:solidFill>
                  <a:schemeClr val="accent3"/>
                </a:solidFill>
              </a:defRPr>
            </a:lvl4pPr>
            <a:lvl5pPr marL="929070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62417059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12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41" y="358956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38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41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517" indent="0">
              <a:buNone/>
              <a:defRPr sz="2700">
                <a:solidFill>
                  <a:schemeClr val="accent3"/>
                </a:solidFill>
              </a:defRPr>
            </a:lvl2pPr>
            <a:lvl3pPr marL="474524" indent="0">
              <a:buNone/>
              <a:defRPr sz="2700">
                <a:solidFill>
                  <a:schemeClr val="accent3"/>
                </a:solidFill>
              </a:defRPr>
            </a:lvl3pPr>
            <a:lvl4pPr marL="703535" indent="0">
              <a:buNone/>
              <a:defRPr sz="2700">
                <a:solidFill>
                  <a:schemeClr val="accent3"/>
                </a:solidFill>
              </a:defRPr>
            </a:lvl4pPr>
            <a:lvl5pPr marL="932550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730249535"/>
      </p:ext>
    </p:extLst>
  </p:cSld>
  <p:clrMapOvr>
    <a:masterClrMapping/>
  </p:clrMapOvr>
</p:sldLayout>
</file>

<file path=ppt/slideLayouts/slideLayout12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38" y="1854632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71488659"/>
      </p:ext>
    </p:extLst>
  </p:cSld>
  <p:clrMapOvr>
    <a:masterClrMapping/>
  </p:clrMapOvr>
</p:sldLayout>
</file>

<file path=ppt/slideLayouts/slideLayout12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62951942"/>
      </p:ext>
    </p:extLst>
  </p:cSld>
  <p:clrMapOvr>
    <a:masterClrMapping/>
  </p:clrMapOvr>
</p:sldLayout>
</file>

<file path=ppt/slideLayouts/slideLayout12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80" y="1854632"/>
            <a:ext cx="5080446" cy="451832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854691"/>
            <a:ext cx="5080448" cy="451832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2041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517" indent="0">
              <a:buNone/>
              <a:defRPr sz="2700">
                <a:solidFill>
                  <a:schemeClr val="accent3"/>
                </a:solidFill>
              </a:defRPr>
            </a:lvl2pPr>
            <a:lvl3pPr marL="474524" indent="0">
              <a:buNone/>
              <a:defRPr sz="2700">
                <a:solidFill>
                  <a:schemeClr val="accent3"/>
                </a:solidFill>
              </a:defRPr>
            </a:lvl3pPr>
            <a:lvl4pPr marL="703535" indent="0">
              <a:buNone/>
              <a:defRPr sz="2700">
                <a:solidFill>
                  <a:schemeClr val="accent3"/>
                </a:solidFill>
              </a:defRPr>
            </a:lvl4pPr>
            <a:lvl5pPr marL="932550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90661035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129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507243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29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08" y="358925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07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08" y="819634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6210" indent="0">
              <a:buNone/>
              <a:defRPr sz="2700">
                <a:solidFill>
                  <a:schemeClr val="accent3"/>
                </a:solidFill>
              </a:defRPr>
            </a:lvl2pPr>
            <a:lvl3pPr marL="475867" indent="0">
              <a:buNone/>
              <a:defRPr sz="2700">
                <a:solidFill>
                  <a:schemeClr val="accent3"/>
                </a:solidFill>
              </a:defRPr>
            </a:lvl3pPr>
            <a:lvl4pPr marL="705528" indent="0">
              <a:buNone/>
              <a:defRPr sz="2700">
                <a:solidFill>
                  <a:schemeClr val="accent3"/>
                </a:solidFill>
              </a:defRPr>
            </a:lvl4pPr>
            <a:lvl5pPr marL="935196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380472702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47270280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05033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81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 userDrawn="1"/>
        </p:nvSpPr>
        <p:spPr bwMode="auto">
          <a:xfrm>
            <a:off x="437849" y="131306"/>
            <a:ext cx="88165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pt-BR" sz="800" b="1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WORKING DRAFT</a:t>
            </a:r>
            <a:endParaRPr lang="pt-BR" sz="800" b="1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256937" y="36518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pt-BR" sz="800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 userDrawn="1"/>
        </p:nvSpPr>
        <p:spPr bwMode="auto">
          <a:xfrm>
            <a:off x="437874" y="286879"/>
            <a:ext cx="3069751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 userDrawn="1"/>
        </p:nvSpPr>
        <p:spPr bwMode="auto">
          <a:xfrm>
            <a:off x="437851" y="444039"/>
            <a:ext cx="270106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8" name="McK Title Elements" hidden="1"/>
          <p:cNvGrpSpPr>
            <a:grpSpLocks/>
          </p:cNvGrpSpPr>
          <p:nvPr userDrawn="1"/>
        </p:nvGrpSpPr>
        <p:grpSpPr bwMode="auto">
          <a:xfrm>
            <a:off x="5" y="121"/>
            <a:ext cx="11944879" cy="6723063"/>
            <a:chOff x="0" y="0"/>
            <a:chExt cx="5643" cy="4235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207" y="3361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ocument typ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207" y="3550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at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1" name="McK Disclaimer"/>
            <p:cNvSpPr>
              <a:spLocks noChangeArrowheads="1"/>
            </p:cNvSpPr>
            <p:nvPr/>
          </p:nvSpPr>
          <p:spPr bwMode="auto">
            <a:xfrm>
              <a:off x="207" y="3963"/>
              <a:ext cx="3226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797488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NFIDENTIAL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D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PRIETARY</a:t>
              </a:r>
              <a:endParaRPr lang="pt-BR" sz="80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  <a:p>
              <a:pPr defTabSz="797488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use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his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aterial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without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pecific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ermission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cKinsey &amp;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mpan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is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trictl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hibited</a:t>
              </a:r>
              <a:endParaRPr lang="pt-BR" sz="8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2" name="TitleBottomPlaceholder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3" name="TitleTopPlaceholder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Rectangle 1189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pic>
        <p:nvPicPr>
          <p:cNvPr id="18" name="TitleBottomBarBW" hidden="1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65766" y="6443669"/>
            <a:ext cx="2182379" cy="1920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7" name="Freeform 5"/>
          <p:cNvSpPr>
            <a:spLocks/>
          </p:cNvSpPr>
          <p:nvPr userDrawn="1"/>
        </p:nvSpPr>
        <p:spPr bwMode="auto">
          <a:xfrm flipH="1">
            <a:off x="4236" y="6635876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0587" tIns="45292" rIns="90587" bIns="45292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9" name="Freeform 5"/>
          <p:cNvSpPr>
            <a:spLocks/>
          </p:cNvSpPr>
          <p:nvPr userDrawn="1"/>
        </p:nvSpPr>
        <p:spPr bwMode="auto">
          <a:xfrm flipH="1">
            <a:off x="4236" y="3283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0587" tIns="45292" rIns="90587" bIns="45292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 userDrawn="1">
            <p:ph type="ctrTitle"/>
          </p:nvPr>
        </p:nvSpPr>
        <p:spPr>
          <a:xfrm>
            <a:off x="437853" y="2238434"/>
            <a:ext cx="6581329" cy="1292662"/>
          </a:xfrm>
          <a:prstGeom prst="rect">
            <a:avLst/>
          </a:prstGeom>
        </p:spPr>
        <p:txBody>
          <a:bodyPr/>
          <a:lstStyle>
            <a:lvl1pPr>
              <a:defRPr sz="4200" b="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dirty="0" smtClean="0"/>
              <a:t>Click </a:t>
            </a:r>
            <a:r>
              <a:rPr lang="pt-BR" noProof="0" dirty="0" err="1" smtClean="0"/>
              <a:t>to</a:t>
            </a:r>
            <a:r>
              <a:rPr lang="pt-BR" noProof="0" dirty="0" smtClean="0"/>
              <a:t> </a:t>
            </a:r>
            <a:r>
              <a:rPr lang="pt-BR" noProof="0" dirty="0" err="1" smtClean="0"/>
              <a:t>edit</a:t>
            </a:r>
            <a:r>
              <a:rPr lang="pt-BR" noProof="0" dirty="0" smtClean="0"/>
              <a:t> Master </a:t>
            </a:r>
            <a:r>
              <a:rPr lang="pt-BR" noProof="0" dirty="0" err="1" smtClean="0"/>
              <a:t>title</a:t>
            </a:r>
            <a:r>
              <a:rPr lang="pt-BR" noProof="0" dirty="0" smtClean="0"/>
              <a:t> </a:t>
            </a:r>
            <a:r>
              <a:rPr lang="pt-BR" noProof="0" dirty="0" err="1" smtClean="0"/>
              <a:t>style</a:t>
            </a:r>
            <a:endParaRPr lang="pt-BR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437852" y="3762851"/>
            <a:ext cx="6450496" cy="482639"/>
          </a:xfrm>
        </p:spPr>
        <p:txBody>
          <a:bodyPr wrap="square">
            <a:spAutoFit/>
          </a:bodyPr>
          <a:lstStyle>
            <a:lvl1pPr>
              <a:defRPr sz="310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smtClean="0"/>
              <a:t>Click to edit Master subtitle style</a:t>
            </a:r>
            <a:endParaRPr lang="pt-BR" noProof="0" dirty="0" smtClean="0"/>
          </a:p>
        </p:txBody>
      </p:sp>
      <p:grpSp>
        <p:nvGrpSpPr>
          <p:cNvPr id="25" name="Group 24"/>
          <p:cNvGrpSpPr/>
          <p:nvPr userDrawn="1"/>
        </p:nvGrpSpPr>
        <p:grpSpPr>
          <a:xfrm>
            <a:off x="8526083" y="2325895"/>
            <a:ext cx="3423031" cy="3656746"/>
            <a:chOff x="5526523" y="2325890"/>
            <a:chExt cx="3423032" cy="3656747"/>
          </a:xfrm>
        </p:grpSpPr>
        <p:sp>
          <p:nvSpPr>
            <p:cNvPr id="26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27" name="Group 26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28" name="Donut 27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29" name="Oval 28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0" name="Oval 29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63790536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EA288C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6310250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300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>
          <a:xfrm>
            <a:off x="597456" y="6229821"/>
            <a:ext cx="2788126" cy="357857"/>
          </a:xfrm>
          <a:prstGeom prst="rect">
            <a:avLst/>
          </a:prstGeom>
        </p:spPr>
        <p:txBody>
          <a:bodyPr lIns="91180" tIns="45589" rIns="91180" bIns="45589"/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>
          <a:xfrm>
            <a:off x="4082614" y="6229821"/>
            <a:ext cx="3783886" cy="357857"/>
          </a:xfrm>
          <a:prstGeom prst="rect">
            <a:avLst/>
          </a:prstGeom>
        </p:spPr>
        <p:txBody>
          <a:bodyPr lIns="91180" tIns="45589" rIns="91180" bIns="45589"/>
          <a:lstStyle/>
          <a:p>
            <a:endParaRPr lang="pt-BR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25950427"/>
      </p:ext>
    </p:extLst>
  </p:cSld>
  <p:clrMapOvr>
    <a:masterClrMapping/>
  </p:clrMapOvr>
</p:sldLayout>
</file>

<file path=ppt/slideLayouts/slideLayout130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a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70171368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0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5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 userDrawn="1"/>
        </p:nvSpPr>
        <p:spPr>
          <a:xfrm>
            <a:off x="9689506" y="3762877"/>
            <a:ext cx="1194911" cy="896197"/>
          </a:xfrm>
          <a:prstGeom prst="rect">
            <a:avLst/>
          </a:prstGeom>
        </p:spPr>
        <p:txBody>
          <a:bodyPr vert="horz" wrap="none" lIns="119425" tIns="59712" rIns="119425" bIns="59712" rtlCol="0" anchor="ctr">
            <a:noAutofit/>
          </a:bodyPr>
          <a:lstStyle/>
          <a:p>
            <a:pPr marL="373179" indent="-373179">
              <a:buFont typeface="Arial"/>
              <a:buChar char="•"/>
            </a:pPr>
            <a:endParaRPr lang="en-US" sz="2700" dirty="0">
              <a:solidFill>
                <a:srgbClr val="4D4D4D"/>
              </a:solidFill>
              <a:latin typeface="Simplon BP"/>
            </a:endParaRPr>
          </a:p>
        </p:txBody>
      </p:sp>
      <p:sp>
        <p:nvSpPr>
          <p:cNvPr id="13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422135" y="2848723"/>
            <a:ext cx="5577332" cy="1562434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597087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7087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7087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7087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  <p:sp>
        <p:nvSpPr>
          <p:cNvPr id="14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422135" y="1790555"/>
            <a:ext cx="4970423" cy="73342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597087" rtl="0" eaLnBrk="1" fontAlgn="auto" latinLnBrk="0" hangingPunct="1">
              <a:lnSpc>
                <a:spcPts val="2352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 cap="all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70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smtClean="0"/>
              <a:t>has </a:t>
            </a:r>
            <a:br>
              <a:rPr lang="en-US" dirty="0" smtClean="0"/>
            </a:br>
            <a:r>
              <a:rPr lang="en-US" dirty="0" smtClean="0"/>
              <a:t>id </a:t>
            </a:r>
            <a:r>
              <a:rPr lang="en-US" dirty="0" err="1" smtClean="0"/>
              <a:t>cibo</a:t>
            </a:r>
            <a:r>
              <a:rPr lang="en-US" dirty="0" smtClean="0"/>
              <a:t> </a:t>
            </a:r>
            <a:r>
              <a:rPr lang="en-US" dirty="0" err="1" smtClean="0"/>
              <a:t>quidam</a:t>
            </a:r>
            <a:r>
              <a:rPr lang="en-US" dirty="0" smtClean="0"/>
              <a:t> </a:t>
            </a:r>
            <a:r>
              <a:rPr lang="en-US" dirty="0" err="1" smtClean="0"/>
              <a:t>facilis</a:t>
            </a:r>
            <a:endParaRPr lang="en-US" dirty="0"/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422136" y="349332"/>
            <a:ext cx="4970421" cy="123378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703"/>
              </a:lnSpc>
              <a:defRPr sz="4700">
                <a:solidFill>
                  <a:srgbClr val="EA288C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</a:t>
            </a:r>
            <a:br>
              <a:rPr lang="en-US" dirty="0" smtClean="0"/>
            </a:br>
            <a:r>
              <a:rPr lang="en-US" dirty="0" smtClean="0"/>
              <a:t>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90781130"/>
      </p:ext>
    </p:extLst>
  </p:cSld>
  <p:clrMapOvr>
    <a:masterClrMapping/>
  </p:clrMapOvr>
</p:sldLayout>
</file>

<file path=ppt/slideLayouts/slideLayout130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0304297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3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001581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3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4855025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3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3140700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3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3057889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3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373303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3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EA288C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9544744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6D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2015480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3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6D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6996289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3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A02B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570762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3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41" y="358956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38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41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517" indent="0">
              <a:buNone/>
              <a:defRPr sz="2700">
                <a:solidFill>
                  <a:schemeClr val="accent3"/>
                </a:solidFill>
              </a:defRPr>
            </a:lvl2pPr>
            <a:lvl3pPr marL="474524" indent="0">
              <a:buNone/>
              <a:defRPr sz="2700">
                <a:solidFill>
                  <a:schemeClr val="accent3"/>
                </a:solidFill>
              </a:defRPr>
            </a:lvl3pPr>
            <a:lvl4pPr marL="703535" indent="0">
              <a:buNone/>
              <a:defRPr sz="2700">
                <a:solidFill>
                  <a:schemeClr val="accent3"/>
                </a:solidFill>
              </a:defRPr>
            </a:lvl4pPr>
            <a:lvl5pPr marL="932550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085514306"/>
      </p:ext>
    </p:extLst>
  </p:cSld>
  <p:clrMapOvr>
    <a:masterClrMapping/>
  </p:clrMapOvr>
</p:sldLayout>
</file>

<file path=ppt/slideLayouts/slideLayout13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9551341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3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08" y="358925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07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08" y="819634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6210" indent="0">
              <a:buNone/>
              <a:defRPr sz="2700">
                <a:solidFill>
                  <a:schemeClr val="accent3"/>
                </a:solidFill>
              </a:defRPr>
            </a:lvl2pPr>
            <a:lvl3pPr marL="475867" indent="0">
              <a:buNone/>
              <a:defRPr sz="2700">
                <a:solidFill>
                  <a:schemeClr val="accent3"/>
                </a:solidFill>
              </a:defRPr>
            </a:lvl3pPr>
            <a:lvl4pPr marL="705528" indent="0">
              <a:buNone/>
              <a:defRPr sz="2700">
                <a:solidFill>
                  <a:schemeClr val="accent3"/>
                </a:solidFill>
              </a:defRPr>
            </a:lvl4pPr>
            <a:lvl5pPr marL="935196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915176478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A02B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2637491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3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5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 userDrawn="1"/>
        </p:nvSpPr>
        <p:spPr>
          <a:xfrm>
            <a:off x="9689506" y="3762877"/>
            <a:ext cx="1194911" cy="896197"/>
          </a:xfrm>
          <a:prstGeom prst="rect">
            <a:avLst/>
          </a:prstGeom>
        </p:spPr>
        <p:txBody>
          <a:bodyPr vert="horz" wrap="none" lIns="119425" tIns="59712" rIns="119425" bIns="59712" rtlCol="0" anchor="ctr">
            <a:noAutofit/>
          </a:bodyPr>
          <a:lstStyle/>
          <a:p>
            <a:pPr marL="373179" indent="-373179">
              <a:buFont typeface="Arial"/>
              <a:buChar char="•"/>
            </a:pPr>
            <a:endParaRPr lang="en-US" sz="2700" dirty="0">
              <a:solidFill>
                <a:srgbClr val="4D4D4D"/>
              </a:solidFill>
              <a:latin typeface="Simplon BP"/>
            </a:endParaRPr>
          </a:p>
        </p:txBody>
      </p:sp>
      <p:sp>
        <p:nvSpPr>
          <p:cNvPr id="13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422135" y="2848723"/>
            <a:ext cx="5577332" cy="1562434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597087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7087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7087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7087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  <p:sp>
        <p:nvSpPr>
          <p:cNvPr id="14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422135" y="1790555"/>
            <a:ext cx="4970423" cy="73342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597087" rtl="0" eaLnBrk="1" fontAlgn="auto" latinLnBrk="0" hangingPunct="1">
              <a:lnSpc>
                <a:spcPts val="2352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 cap="all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70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smtClean="0"/>
              <a:t>has </a:t>
            </a:r>
            <a:br>
              <a:rPr lang="en-US" dirty="0" smtClean="0"/>
            </a:br>
            <a:r>
              <a:rPr lang="en-US" dirty="0" smtClean="0"/>
              <a:t>id </a:t>
            </a:r>
            <a:r>
              <a:rPr lang="en-US" dirty="0" err="1" smtClean="0"/>
              <a:t>cibo</a:t>
            </a:r>
            <a:r>
              <a:rPr lang="en-US" dirty="0" smtClean="0"/>
              <a:t> </a:t>
            </a:r>
            <a:r>
              <a:rPr lang="en-US" dirty="0" err="1" smtClean="0"/>
              <a:t>quidam</a:t>
            </a:r>
            <a:r>
              <a:rPr lang="en-US" dirty="0" smtClean="0"/>
              <a:t> </a:t>
            </a:r>
            <a:r>
              <a:rPr lang="en-US" dirty="0" err="1" smtClean="0"/>
              <a:t>facilis</a:t>
            </a:r>
            <a:endParaRPr lang="en-US" dirty="0"/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422136" y="349332"/>
            <a:ext cx="4970421" cy="123378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703"/>
              </a:lnSpc>
              <a:defRPr sz="4700">
                <a:solidFill>
                  <a:srgbClr val="EA288C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</a:t>
            </a:r>
            <a:br>
              <a:rPr lang="en-US" dirty="0" smtClean="0"/>
            </a:br>
            <a:r>
              <a:rPr lang="en-US" dirty="0" smtClean="0"/>
              <a:t>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55442993"/>
      </p:ext>
    </p:extLst>
  </p:cSld>
  <p:clrMapOvr>
    <a:masterClrMapping/>
  </p:clrMapOvr>
</p:sldLayout>
</file>

<file path=ppt/slideLayouts/slideLayout13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971688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53" y="358969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50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53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268" indent="0">
              <a:buNone/>
              <a:defRPr sz="2700">
                <a:solidFill>
                  <a:schemeClr val="accent3"/>
                </a:solidFill>
              </a:defRPr>
            </a:lvl2pPr>
            <a:lvl3pPr marL="474041" indent="0">
              <a:buNone/>
              <a:defRPr sz="2700">
                <a:solidFill>
                  <a:schemeClr val="accent3"/>
                </a:solidFill>
              </a:defRPr>
            </a:lvl3pPr>
            <a:lvl4pPr marL="702818" indent="0">
              <a:buNone/>
              <a:defRPr sz="2700">
                <a:solidFill>
                  <a:schemeClr val="accent3"/>
                </a:solidFill>
              </a:defRPr>
            </a:lvl4pPr>
            <a:lvl5pPr marL="931601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039555570"/>
      </p:ext>
    </p:extLst>
  </p:cSld>
  <p:clrMapOvr>
    <a:masterClrMapping/>
  </p:clrMapOvr>
</p:sldLayout>
</file>

<file path=ppt/slideLayouts/slideLayout13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EA288C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9832727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3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6D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9758941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3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A02B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3021657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3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20" y="358938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20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20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933" indent="0">
              <a:buNone/>
              <a:defRPr sz="2700">
                <a:solidFill>
                  <a:schemeClr val="accent3"/>
                </a:solidFill>
              </a:defRPr>
            </a:lvl2pPr>
            <a:lvl3pPr marL="475329" indent="0">
              <a:buNone/>
              <a:defRPr sz="2700">
                <a:solidFill>
                  <a:schemeClr val="accent3"/>
                </a:solidFill>
              </a:defRPr>
            </a:lvl3pPr>
            <a:lvl4pPr marL="704729" indent="0">
              <a:buNone/>
              <a:defRPr sz="2700">
                <a:solidFill>
                  <a:schemeClr val="accent3"/>
                </a:solidFill>
              </a:defRPr>
            </a:lvl4pPr>
            <a:lvl5pPr marL="934136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41679424"/>
      </p:ext>
    </p:extLst>
  </p:cSld>
  <p:clrMapOvr>
    <a:masterClrMapping/>
  </p:clrMapOvr>
</p:sldLayout>
</file>

<file path=ppt/slideLayouts/slideLayout13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90305180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74284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11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211678" y="230280"/>
            <a:ext cx="10903658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US" noProof="0" dirty="0" smtClean="0"/>
            </a:lvl1pPr>
          </a:lstStyle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</p:spTree>
    <p:extLst>
      <p:ext uri="{BB962C8B-B14F-4D97-AF65-F5344CB8AC3E}">
        <p14:creationId xmlns:p14="http://schemas.microsoft.com/office/powerpoint/2010/main" val="233189373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21502" y="359003"/>
            <a:ext cx="10306110" cy="307777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809247496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50" y="1854632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9085335"/>
      </p:ext>
    </p:extLst>
  </p:cSld>
  <p:clrMapOvr>
    <a:masterClrMapping/>
  </p:clrMapOvr>
</p:sldLayout>
</file>

<file path=ppt/slideLayouts/slideLayout13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147731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13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422137" y="349421"/>
            <a:ext cx="6749230" cy="254184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703"/>
              </a:lnSpc>
              <a:defRPr sz="4700">
                <a:solidFill>
                  <a:srgbClr val="18C3FF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r>
              <a:rPr lang="en-US" dirty="0" smtClean="0"/>
              <a:t>. LOREM IPSUM DOLOR SIT AMET HAS ID CIBO QUIDAM</a:t>
            </a:r>
            <a:endParaRPr lang="en-US" dirty="0"/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422137" y="3071971"/>
            <a:ext cx="6749230" cy="796308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592532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2532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2532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32655106"/>
      </p:ext>
    </p:extLst>
  </p:cSld>
  <p:clrMapOvr>
    <a:masterClrMapping/>
  </p:clrMapOvr>
</p:sldLayout>
</file>

<file path=ppt/slideLayouts/slideLayout13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279973981"/>
      </p:ext>
    </p:extLst>
  </p:cSld>
  <p:clrMapOvr>
    <a:masterClrMapping/>
  </p:clrMapOvr>
</p:sldLayout>
</file>

<file path=ppt/slideLayouts/slideLayout13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60" y="1576"/>
          <a:ext cx="1555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75307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11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60" y="1576"/>
                        <a:ext cx="1555" cy="155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 userDrawn="1"/>
        </p:nvSpPr>
        <p:spPr>
          <a:xfrm>
            <a:off x="1" y="-58698"/>
            <a:ext cx="11949113" cy="186905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678" tIns="45339" rIns="90678" bIns="45339"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75601" y="228691"/>
            <a:ext cx="11491891" cy="30777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36382397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134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1763536388"/>
      </p:ext>
    </p:extLst>
  </p:cSld>
  <p:clrMapOvr>
    <a:masterClrMapping/>
  </p:clrMapOvr>
</p:sldLayout>
</file>

<file path=ppt/slideLayouts/slideLayout13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599673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3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8158772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3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79348763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81447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10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 userDrawn="1"/>
        </p:nvSpPr>
        <p:spPr bwMode="auto">
          <a:xfrm>
            <a:off x="437849" y="131294"/>
            <a:ext cx="88165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pt-BR" sz="800" b="1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WORKING DRAFT</a:t>
            </a:r>
            <a:endParaRPr lang="pt-BR" sz="800" b="1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256937" y="36518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pt-BR" sz="800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 userDrawn="1"/>
        </p:nvSpPr>
        <p:spPr bwMode="auto">
          <a:xfrm>
            <a:off x="437874" y="286867"/>
            <a:ext cx="3069751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 userDrawn="1"/>
        </p:nvSpPr>
        <p:spPr bwMode="auto">
          <a:xfrm>
            <a:off x="437851" y="444027"/>
            <a:ext cx="270106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8" name="McK Title Elements" hidden="1"/>
          <p:cNvGrpSpPr>
            <a:grpSpLocks/>
          </p:cNvGrpSpPr>
          <p:nvPr userDrawn="1"/>
        </p:nvGrpSpPr>
        <p:grpSpPr bwMode="auto">
          <a:xfrm>
            <a:off x="5" y="110"/>
            <a:ext cx="11944879" cy="6723063"/>
            <a:chOff x="0" y="0"/>
            <a:chExt cx="5643" cy="4235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207" y="3361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ocument typ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207" y="3550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at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1" name="McK Disclaimer"/>
            <p:cNvSpPr>
              <a:spLocks noChangeArrowheads="1"/>
            </p:cNvSpPr>
            <p:nvPr/>
          </p:nvSpPr>
          <p:spPr bwMode="auto">
            <a:xfrm>
              <a:off x="207" y="3963"/>
              <a:ext cx="3226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798301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NFIDENTIAL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D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PRIETARY</a:t>
              </a:r>
              <a:endParaRPr lang="pt-BR" sz="80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  <a:p>
              <a:pPr defTabSz="798301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use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his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aterial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without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pecific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ermission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cKinsey &amp;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mpan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is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trictl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hibited</a:t>
              </a:r>
              <a:endParaRPr lang="pt-BR" sz="8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2" name="TitleBottomPlaceholder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3" name="TitleTopPlaceholder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Rectangle 1189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pic>
        <p:nvPicPr>
          <p:cNvPr id="18" name="TitleBottomBarBW" hidden="1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65754" y="6443669"/>
            <a:ext cx="2182379" cy="1920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7" name="Freeform 5"/>
          <p:cNvSpPr>
            <a:spLocks/>
          </p:cNvSpPr>
          <p:nvPr userDrawn="1"/>
        </p:nvSpPr>
        <p:spPr bwMode="auto">
          <a:xfrm flipH="1">
            <a:off x="4236" y="6635865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0678" tIns="45339" rIns="90678" bIns="45339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9" name="Freeform 5"/>
          <p:cNvSpPr>
            <a:spLocks/>
          </p:cNvSpPr>
          <p:nvPr userDrawn="1"/>
        </p:nvSpPr>
        <p:spPr bwMode="auto">
          <a:xfrm flipH="1">
            <a:off x="4236" y="3272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0678" tIns="45339" rIns="90678" bIns="45339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 userDrawn="1">
            <p:ph type="ctrTitle"/>
          </p:nvPr>
        </p:nvSpPr>
        <p:spPr>
          <a:xfrm>
            <a:off x="437853" y="2238434"/>
            <a:ext cx="6581329" cy="1292662"/>
          </a:xfrm>
          <a:prstGeom prst="rect">
            <a:avLst/>
          </a:prstGeom>
        </p:spPr>
        <p:txBody>
          <a:bodyPr/>
          <a:lstStyle>
            <a:lvl1pPr>
              <a:defRPr sz="4200" b="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dirty="0" smtClean="0"/>
              <a:t>Click </a:t>
            </a:r>
            <a:r>
              <a:rPr lang="pt-BR" noProof="0" dirty="0" err="1" smtClean="0"/>
              <a:t>to</a:t>
            </a:r>
            <a:r>
              <a:rPr lang="pt-BR" noProof="0" dirty="0" smtClean="0"/>
              <a:t> </a:t>
            </a:r>
            <a:r>
              <a:rPr lang="pt-BR" noProof="0" dirty="0" err="1" smtClean="0"/>
              <a:t>edit</a:t>
            </a:r>
            <a:r>
              <a:rPr lang="pt-BR" noProof="0" dirty="0" smtClean="0"/>
              <a:t> Master </a:t>
            </a:r>
            <a:r>
              <a:rPr lang="pt-BR" noProof="0" dirty="0" err="1" smtClean="0"/>
              <a:t>title</a:t>
            </a:r>
            <a:r>
              <a:rPr lang="pt-BR" noProof="0" dirty="0" smtClean="0"/>
              <a:t> </a:t>
            </a:r>
            <a:r>
              <a:rPr lang="pt-BR" noProof="0" dirty="0" err="1" smtClean="0"/>
              <a:t>style</a:t>
            </a:r>
            <a:endParaRPr lang="pt-BR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437852" y="3762851"/>
            <a:ext cx="6450496" cy="482639"/>
          </a:xfrm>
        </p:spPr>
        <p:txBody>
          <a:bodyPr wrap="square">
            <a:spAutoFit/>
          </a:bodyPr>
          <a:lstStyle>
            <a:lvl1pPr>
              <a:defRPr sz="310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smtClean="0"/>
              <a:t>Click to edit Master subtitle style</a:t>
            </a:r>
            <a:endParaRPr lang="pt-BR" noProof="0" dirty="0" smtClean="0"/>
          </a:p>
        </p:txBody>
      </p:sp>
      <p:grpSp>
        <p:nvGrpSpPr>
          <p:cNvPr id="25" name="Group 24"/>
          <p:cNvGrpSpPr/>
          <p:nvPr userDrawn="1"/>
        </p:nvGrpSpPr>
        <p:grpSpPr>
          <a:xfrm>
            <a:off x="8526083" y="2325895"/>
            <a:ext cx="3423031" cy="3656746"/>
            <a:chOff x="5526523" y="2325890"/>
            <a:chExt cx="3423032" cy="3656747"/>
          </a:xfrm>
        </p:grpSpPr>
        <p:sp>
          <p:nvSpPr>
            <p:cNvPr id="26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27" name="Group 26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28" name="Donut 27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29" name="Oval 28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0" name="Oval 29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6229434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34496802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82471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10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211678" y="230280"/>
            <a:ext cx="10903658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US" noProof="0" dirty="0" smtClean="0"/>
            </a:lvl1pPr>
          </a:lstStyle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</p:spTree>
    <p:extLst>
      <p:ext uri="{BB962C8B-B14F-4D97-AF65-F5344CB8AC3E}">
        <p14:creationId xmlns:p14="http://schemas.microsoft.com/office/powerpoint/2010/main" val="11917701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21502" y="359003"/>
            <a:ext cx="10306110" cy="307777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296760711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36756402"/>
      </p:ext>
    </p:extLst>
  </p:cSld>
  <p:clrMapOvr>
    <a:masterClrMapping/>
  </p:clrMapOvr>
</p:sldLayout>
</file>

<file path=ppt/slideLayouts/slideLayout13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632061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135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422137" y="349421"/>
            <a:ext cx="6749230" cy="254184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703"/>
              </a:lnSpc>
              <a:defRPr sz="4700">
                <a:solidFill>
                  <a:srgbClr val="18C3FF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r>
              <a:rPr lang="en-US" dirty="0" smtClean="0"/>
              <a:t>. LOREM IPSUM DOLOR SIT AMET HAS ID CIBO QUIDAM</a:t>
            </a:r>
            <a:endParaRPr lang="en-US" dirty="0"/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422137" y="3071971"/>
            <a:ext cx="6749230" cy="796308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592532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2532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2532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59822913"/>
      </p:ext>
    </p:extLst>
  </p:cSld>
  <p:clrMapOvr>
    <a:masterClrMapping/>
  </p:clrMapOvr>
</p:sldLayout>
</file>

<file path=ppt/slideLayouts/slideLayout13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1195558322"/>
      </p:ext>
    </p:extLst>
  </p:cSld>
  <p:clrMapOvr>
    <a:masterClrMapping/>
  </p:clrMapOvr>
</p:sldLayout>
</file>

<file path=ppt/slideLayouts/slideLayout135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60" y="1576"/>
          <a:ext cx="1555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83495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10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60" y="1576"/>
                        <a:ext cx="1555" cy="155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 userDrawn="1"/>
        </p:nvSpPr>
        <p:spPr>
          <a:xfrm>
            <a:off x="1" y="-58698"/>
            <a:ext cx="11949113" cy="186905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678" tIns="45339" rIns="90678" bIns="45339"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75601" y="228691"/>
            <a:ext cx="11491891" cy="30777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1455158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135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1969465958"/>
      </p:ext>
    </p:extLst>
  </p:cSld>
  <p:clrMapOvr>
    <a:masterClrMapping/>
  </p:clrMapOvr>
</p:sldLayout>
</file>

<file path=ppt/slideLayouts/slideLayout135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398332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35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2545897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3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069660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85543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10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 userDrawn="1"/>
        </p:nvSpPr>
        <p:spPr bwMode="auto">
          <a:xfrm>
            <a:off x="437849" y="131294"/>
            <a:ext cx="88165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pt-BR" sz="800" b="1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WORKING DRAFT</a:t>
            </a:r>
            <a:endParaRPr lang="pt-BR" sz="800" b="1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256937" y="36518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pt-BR" sz="800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 userDrawn="1"/>
        </p:nvSpPr>
        <p:spPr bwMode="auto">
          <a:xfrm>
            <a:off x="437874" y="286867"/>
            <a:ext cx="3069751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 userDrawn="1"/>
        </p:nvSpPr>
        <p:spPr bwMode="auto">
          <a:xfrm>
            <a:off x="437851" y="444027"/>
            <a:ext cx="270106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8" name="McK Title Elements" hidden="1"/>
          <p:cNvGrpSpPr>
            <a:grpSpLocks/>
          </p:cNvGrpSpPr>
          <p:nvPr userDrawn="1"/>
        </p:nvGrpSpPr>
        <p:grpSpPr bwMode="auto">
          <a:xfrm>
            <a:off x="5" y="110"/>
            <a:ext cx="11944879" cy="6723063"/>
            <a:chOff x="0" y="0"/>
            <a:chExt cx="5643" cy="4235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207" y="3361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ocument typ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207" y="3550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at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1" name="McK Disclaimer"/>
            <p:cNvSpPr>
              <a:spLocks noChangeArrowheads="1"/>
            </p:cNvSpPr>
            <p:nvPr/>
          </p:nvSpPr>
          <p:spPr bwMode="auto">
            <a:xfrm>
              <a:off x="207" y="3963"/>
              <a:ext cx="3226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798301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NFIDENTIAL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D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PRIETARY</a:t>
              </a:r>
              <a:endParaRPr lang="pt-BR" sz="80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  <a:p>
              <a:pPr defTabSz="798301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use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his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aterial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without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pecific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ermission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cKinsey &amp;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mpan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is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trictl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hibited</a:t>
              </a:r>
              <a:endParaRPr lang="pt-BR" sz="8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2" name="TitleBottomPlaceholder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3" name="TitleTopPlaceholder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Rectangle 1189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pic>
        <p:nvPicPr>
          <p:cNvPr id="18" name="TitleBottomBarBW" hidden="1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65754" y="6443669"/>
            <a:ext cx="2182379" cy="1920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7" name="Freeform 5"/>
          <p:cNvSpPr>
            <a:spLocks/>
          </p:cNvSpPr>
          <p:nvPr userDrawn="1"/>
        </p:nvSpPr>
        <p:spPr bwMode="auto">
          <a:xfrm flipH="1">
            <a:off x="4236" y="6635865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0678" tIns="45339" rIns="90678" bIns="45339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9" name="Freeform 5"/>
          <p:cNvSpPr>
            <a:spLocks/>
          </p:cNvSpPr>
          <p:nvPr userDrawn="1"/>
        </p:nvSpPr>
        <p:spPr bwMode="auto">
          <a:xfrm flipH="1">
            <a:off x="4236" y="3272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0678" tIns="45339" rIns="90678" bIns="45339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 userDrawn="1">
            <p:ph type="ctrTitle"/>
          </p:nvPr>
        </p:nvSpPr>
        <p:spPr>
          <a:xfrm>
            <a:off x="437853" y="2238434"/>
            <a:ext cx="6581329" cy="1292662"/>
          </a:xfrm>
          <a:prstGeom prst="rect">
            <a:avLst/>
          </a:prstGeom>
        </p:spPr>
        <p:txBody>
          <a:bodyPr/>
          <a:lstStyle>
            <a:lvl1pPr>
              <a:defRPr sz="4200" b="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dirty="0" smtClean="0"/>
              <a:t>Click </a:t>
            </a:r>
            <a:r>
              <a:rPr lang="pt-BR" noProof="0" dirty="0" err="1" smtClean="0"/>
              <a:t>to</a:t>
            </a:r>
            <a:r>
              <a:rPr lang="pt-BR" noProof="0" dirty="0" smtClean="0"/>
              <a:t> </a:t>
            </a:r>
            <a:r>
              <a:rPr lang="pt-BR" noProof="0" dirty="0" err="1" smtClean="0"/>
              <a:t>edit</a:t>
            </a:r>
            <a:r>
              <a:rPr lang="pt-BR" noProof="0" dirty="0" smtClean="0"/>
              <a:t> Master </a:t>
            </a:r>
            <a:r>
              <a:rPr lang="pt-BR" noProof="0" dirty="0" err="1" smtClean="0"/>
              <a:t>title</a:t>
            </a:r>
            <a:r>
              <a:rPr lang="pt-BR" noProof="0" dirty="0" smtClean="0"/>
              <a:t> </a:t>
            </a:r>
            <a:r>
              <a:rPr lang="pt-BR" noProof="0" dirty="0" err="1" smtClean="0"/>
              <a:t>style</a:t>
            </a:r>
            <a:endParaRPr lang="pt-BR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437852" y="3762851"/>
            <a:ext cx="6450496" cy="482639"/>
          </a:xfrm>
        </p:spPr>
        <p:txBody>
          <a:bodyPr wrap="square">
            <a:spAutoFit/>
          </a:bodyPr>
          <a:lstStyle>
            <a:lvl1pPr>
              <a:defRPr sz="310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smtClean="0"/>
              <a:t>Click to edit Master subtitle style</a:t>
            </a:r>
            <a:endParaRPr lang="pt-BR" noProof="0" dirty="0" smtClean="0"/>
          </a:p>
        </p:txBody>
      </p:sp>
      <p:grpSp>
        <p:nvGrpSpPr>
          <p:cNvPr id="25" name="Group 24"/>
          <p:cNvGrpSpPr/>
          <p:nvPr userDrawn="1"/>
        </p:nvGrpSpPr>
        <p:grpSpPr>
          <a:xfrm>
            <a:off x="8526083" y="2325895"/>
            <a:ext cx="3423031" cy="3656746"/>
            <a:chOff x="5526523" y="2325890"/>
            <a:chExt cx="3423032" cy="3656747"/>
          </a:xfrm>
        </p:grpSpPr>
        <p:sp>
          <p:nvSpPr>
            <p:cNvPr id="26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27" name="Group 26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28" name="Donut 27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29" name="Oval 28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0" name="Oval 29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52452280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28677597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86567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10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211678" y="230280"/>
            <a:ext cx="10903658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US" noProof="0" dirty="0" smtClean="0"/>
            </a:lvl1pPr>
          </a:lstStyle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</p:spTree>
    <p:extLst>
      <p:ext uri="{BB962C8B-B14F-4D97-AF65-F5344CB8AC3E}">
        <p14:creationId xmlns:p14="http://schemas.microsoft.com/office/powerpoint/2010/main" val="284371208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5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21502" y="359003"/>
            <a:ext cx="10306110" cy="307777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867977805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80" y="1854632"/>
            <a:ext cx="5080446" cy="451832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854704"/>
            <a:ext cx="5080448" cy="451832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2053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268" indent="0">
              <a:buNone/>
              <a:defRPr sz="2700">
                <a:solidFill>
                  <a:schemeClr val="accent3"/>
                </a:solidFill>
              </a:defRPr>
            </a:lvl2pPr>
            <a:lvl3pPr marL="474041" indent="0">
              <a:buNone/>
              <a:defRPr sz="2700">
                <a:solidFill>
                  <a:schemeClr val="accent3"/>
                </a:solidFill>
              </a:defRPr>
            </a:lvl3pPr>
            <a:lvl4pPr marL="702818" indent="0">
              <a:buNone/>
              <a:defRPr sz="2700">
                <a:solidFill>
                  <a:schemeClr val="accent3"/>
                </a:solidFill>
              </a:defRPr>
            </a:lvl4pPr>
            <a:lvl5pPr marL="931601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312991891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136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474396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136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422137" y="349421"/>
            <a:ext cx="6749230" cy="254184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703"/>
              </a:lnSpc>
              <a:defRPr sz="4700">
                <a:solidFill>
                  <a:srgbClr val="18C3FF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r>
              <a:rPr lang="en-US" dirty="0" smtClean="0"/>
              <a:t>. LOREM IPSUM DOLOR SIT AMET HAS ID CIBO QUIDAM</a:t>
            </a:r>
            <a:endParaRPr lang="en-US" dirty="0"/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422137" y="3071971"/>
            <a:ext cx="6749230" cy="796308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592532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2532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2532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96424154"/>
      </p:ext>
    </p:extLst>
  </p:cSld>
  <p:clrMapOvr>
    <a:masterClrMapping/>
  </p:clrMapOvr>
</p:sldLayout>
</file>

<file path=ppt/slideLayouts/slideLayout13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3665869520"/>
      </p:ext>
    </p:extLst>
  </p:cSld>
  <p:clrMapOvr>
    <a:masterClrMapping/>
  </p:clrMapOvr>
</p:sldLayout>
</file>

<file path=ppt/slideLayouts/slideLayout136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60" y="1576"/>
          <a:ext cx="1555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87591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10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60" y="1576"/>
                        <a:ext cx="1555" cy="155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 userDrawn="1"/>
        </p:nvSpPr>
        <p:spPr>
          <a:xfrm>
            <a:off x="1" y="-58698"/>
            <a:ext cx="11949113" cy="186905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678" tIns="45339" rIns="90678" bIns="45339"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75601" y="228691"/>
            <a:ext cx="11491891" cy="30777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7406650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136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2767798585"/>
      </p:ext>
    </p:extLst>
  </p:cSld>
  <p:clrMapOvr>
    <a:masterClrMapping/>
  </p:clrMapOvr>
</p:sldLayout>
</file>

<file path=ppt/slideLayouts/slideLayout136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3453625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36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3120419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3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73079146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92709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10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 userDrawn="1"/>
        </p:nvSpPr>
        <p:spPr bwMode="auto">
          <a:xfrm>
            <a:off x="437849" y="131294"/>
            <a:ext cx="88165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pt-BR" sz="800" b="1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WORKING DRAFT</a:t>
            </a:r>
            <a:endParaRPr lang="pt-BR" sz="800" b="1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256937" y="36518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pt-BR" sz="800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 userDrawn="1"/>
        </p:nvSpPr>
        <p:spPr bwMode="auto">
          <a:xfrm>
            <a:off x="437874" y="286867"/>
            <a:ext cx="3069751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 userDrawn="1"/>
        </p:nvSpPr>
        <p:spPr bwMode="auto">
          <a:xfrm>
            <a:off x="437851" y="444027"/>
            <a:ext cx="270106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8" name="McK Title Elements" hidden="1"/>
          <p:cNvGrpSpPr>
            <a:grpSpLocks/>
          </p:cNvGrpSpPr>
          <p:nvPr userDrawn="1"/>
        </p:nvGrpSpPr>
        <p:grpSpPr bwMode="auto">
          <a:xfrm>
            <a:off x="5" y="110"/>
            <a:ext cx="11944879" cy="6723063"/>
            <a:chOff x="0" y="0"/>
            <a:chExt cx="5643" cy="4235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207" y="3361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ocument typ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207" y="3550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at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1" name="McK Disclaimer"/>
            <p:cNvSpPr>
              <a:spLocks noChangeArrowheads="1"/>
            </p:cNvSpPr>
            <p:nvPr/>
          </p:nvSpPr>
          <p:spPr bwMode="auto">
            <a:xfrm>
              <a:off x="207" y="3963"/>
              <a:ext cx="3226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798301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NFIDENTIAL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D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PRIETARY</a:t>
              </a:r>
              <a:endParaRPr lang="pt-BR" sz="80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  <a:p>
              <a:pPr defTabSz="798301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use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his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aterial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without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pecific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ermission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cKinsey &amp;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mpan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is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trictl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hibited</a:t>
              </a:r>
              <a:endParaRPr lang="pt-BR" sz="8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2" name="TitleBottomPlaceholder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3" name="TitleTopPlaceholder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Rectangle 1189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pic>
        <p:nvPicPr>
          <p:cNvPr id="18" name="TitleBottomBarBW" hidden="1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65754" y="6443669"/>
            <a:ext cx="2182379" cy="1920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7" name="Freeform 5"/>
          <p:cNvSpPr>
            <a:spLocks/>
          </p:cNvSpPr>
          <p:nvPr userDrawn="1"/>
        </p:nvSpPr>
        <p:spPr bwMode="auto">
          <a:xfrm flipH="1">
            <a:off x="4236" y="6635865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0678" tIns="45339" rIns="90678" bIns="45339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9" name="Freeform 5"/>
          <p:cNvSpPr>
            <a:spLocks/>
          </p:cNvSpPr>
          <p:nvPr userDrawn="1"/>
        </p:nvSpPr>
        <p:spPr bwMode="auto">
          <a:xfrm flipH="1">
            <a:off x="4236" y="3272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0678" tIns="45339" rIns="90678" bIns="45339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 userDrawn="1">
            <p:ph type="ctrTitle"/>
          </p:nvPr>
        </p:nvSpPr>
        <p:spPr>
          <a:xfrm>
            <a:off x="437853" y="2238434"/>
            <a:ext cx="6581329" cy="1292662"/>
          </a:xfrm>
          <a:prstGeom prst="rect">
            <a:avLst/>
          </a:prstGeom>
        </p:spPr>
        <p:txBody>
          <a:bodyPr/>
          <a:lstStyle>
            <a:lvl1pPr>
              <a:defRPr sz="4200" b="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dirty="0" smtClean="0"/>
              <a:t>Click </a:t>
            </a:r>
            <a:r>
              <a:rPr lang="pt-BR" noProof="0" dirty="0" err="1" smtClean="0"/>
              <a:t>to</a:t>
            </a:r>
            <a:r>
              <a:rPr lang="pt-BR" noProof="0" dirty="0" smtClean="0"/>
              <a:t> </a:t>
            </a:r>
            <a:r>
              <a:rPr lang="pt-BR" noProof="0" dirty="0" err="1" smtClean="0"/>
              <a:t>edit</a:t>
            </a:r>
            <a:r>
              <a:rPr lang="pt-BR" noProof="0" dirty="0" smtClean="0"/>
              <a:t> Master </a:t>
            </a:r>
            <a:r>
              <a:rPr lang="pt-BR" noProof="0" dirty="0" err="1" smtClean="0"/>
              <a:t>title</a:t>
            </a:r>
            <a:r>
              <a:rPr lang="pt-BR" noProof="0" dirty="0" smtClean="0"/>
              <a:t> </a:t>
            </a:r>
            <a:r>
              <a:rPr lang="pt-BR" noProof="0" dirty="0" err="1" smtClean="0"/>
              <a:t>style</a:t>
            </a:r>
            <a:endParaRPr lang="pt-BR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437852" y="3762851"/>
            <a:ext cx="6450496" cy="482639"/>
          </a:xfrm>
        </p:spPr>
        <p:txBody>
          <a:bodyPr wrap="square">
            <a:spAutoFit/>
          </a:bodyPr>
          <a:lstStyle>
            <a:lvl1pPr>
              <a:defRPr sz="310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smtClean="0"/>
              <a:t>Click to edit Master subtitle style</a:t>
            </a:r>
            <a:endParaRPr lang="pt-BR" noProof="0" dirty="0" smtClean="0"/>
          </a:p>
        </p:txBody>
      </p:sp>
      <p:grpSp>
        <p:nvGrpSpPr>
          <p:cNvPr id="25" name="Group 24"/>
          <p:cNvGrpSpPr/>
          <p:nvPr userDrawn="1"/>
        </p:nvGrpSpPr>
        <p:grpSpPr>
          <a:xfrm>
            <a:off x="8526083" y="2325895"/>
            <a:ext cx="3423031" cy="3656746"/>
            <a:chOff x="5526523" y="2325890"/>
            <a:chExt cx="3423032" cy="3656747"/>
          </a:xfrm>
        </p:grpSpPr>
        <p:sp>
          <p:nvSpPr>
            <p:cNvPr id="26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27" name="Group 26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28" name="Donut 27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29" name="Oval 28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0" name="Oval 29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04225261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14696204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93733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10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211678" y="230280"/>
            <a:ext cx="10903658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US" noProof="0" dirty="0" smtClean="0"/>
            </a:lvl1pPr>
          </a:lstStyle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</p:spTree>
    <p:extLst>
      <p:ext uri="{BB962C8B-B14F-4D97-AF65-F5344CB8AC3E}">
        <p14:creationId xmlns:p14="http://schemas.microsoft.com/office/powerpoint/2010/main" val="361589241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6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21502" y="359003"/>
            <a:ext cx="10306110" cy="307777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456836158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a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796774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7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38682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137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422137" y="349421"/>
            <a:ext cx="6749230" cy="254184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703"/>
              </a:lnSpc>
              <a:defRPr sz="4700">
                <a:solidFill>
                  <a:srgbClr val="18C3FF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r>
              <a:rPr lang="en-US" dirty="0" smtClean="0"/>
              <a:t>. LOREM IPSUM DOLOR SIT AMET HAS ID CIBO QUIDAM</a:t>
            </a:r>
            <a:endParaRPr lang="en-US" dirty="0"/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422137" y="3071971"/>
            <a:ext cx="6749230" cy="796308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592532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2532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2532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15347990"/>
      </p:ext>
    </p:extLst>
  </p:cSld>
  <p:clrMapOvr>
    <a:masterClrMapping/>
  </p:clrMapOvr>
</p:sldLayout>
</file>

<file path=ppt/slideLayouts/slideLayout13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735954424"/>
      </p:ext>
    </p:extLst>
  </p:cSld>
  <p:clrMapOvr>
    <a:masterClrMapping/>
  </p:clrMapOvr>
</p:sldLayout>
</file>

<file path=ppt/slideLayouts/slideLayout137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60" y="1576"/>
          <a:ext cx="1555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94757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10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60" y="1576"/>
                        <a:ext cx="1555" cy="155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 userDrawn="1"/>
        </p:nvSpPr>
        <p:spPr>
          <a:xfrm>
            <a:off x="1" y="-58698"/>
            <a:ext cx="11949113" cy="186905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678" tIns="45339" rIns="90678" bIns="45339"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75601" y="228691"/>
            <a:ext cx="11491891" cy="30777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41822739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137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252282305"/>
      </p:ext>
    </p:extLst>
  </p:cSld>
  <p:clrMapOvr>
    <a:masterClrMapping/>
  </p:clrMapOvr>
</p:sldLayout>
</file>

<file path=ppt/slideLayouts/slideLayout137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1431361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37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5100283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3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25668857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97829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10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 userDrawn="1"/>
        </p:nvSpPr>
        <p:spPr bwMode="auto">
          <a:xfrm>
            <a:off x="437849" y="131294"/>
            <a:ext cx="88165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pt-BR" sz="800" b="1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WORKING DRAFT</a:t>
            </a:r>
            <a:endParaRPr lang="pt-BR" sz="800" b="1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256937" y="36518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pt-BR" sz="800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 userDrawn="1"/>
        </p:nvSpPr>
        <p:spPr bwMode="auto">
          <a:xfrm>
            <a:off x="437874" y="286867"/>
            <a:ext cx="3069751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 userDrawn="1"/>
        </p:nvSpPr>
        <p:spPr bwMode="auto">
          <a:xfrm>
            <a:off x="437851" y="444027"/>
            <a:ext cx="270106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8" name="McK Title Elements" hidden="1"/>
          <p:cNvGrpSpPr>
            <a:grpSpLocks/>
          </p:cNvGrpSpPr>
          <p:nvPr userDrawn="1"/>
        </p:nvGrpSpPr>
        <p:grpSpPr bwMode="auto">
          <a:xfrm>
            <a:off x="5" y="110"/>
            <a:ext cx="11944879" cy="6723063"/>
            <a:chOff x="0" y="0"/>
            <a:chExt cx="5643" cy="4235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207" y="3361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ocument typ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207" y="3550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at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1" name="McK Disclaimer"/>
            <p:cNvSpPr>
              <a:spLocks noChangeArrowheads="1"/>
            </p:cNvSpPr>
            <p:nvPr/>
          </p:nvSpPr>
          <p:spPr bwMode="auto">
            <a:xfrm>
              <a:off x="207" y="3963"/>
              <a:ext cx="3226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798301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NFIDENTIAL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D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PRIETARY</a:t>
              </a:r>
              <a:endParaRPr lang="pt-BR" sz="80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  <a:p>
              <a:pPr defTabSz="798301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use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his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aterial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without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pecific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ermission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cKinsey &amp;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mpan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is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trictl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hibited</a:t>
              </a:r>
              <a:endParaRPr lang="pt-BR" sz="8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2" name="TitleBottomPlaceholder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3" name="TitleTopPlaceholder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Rectangle 1189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pic>
        <p:nvPicPr>
          <p:cNvPr id="18" name="TitleBottomBarBW" hidden="1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65754" y="6443669"/>
            <a:ext cx="2182379" cy="1920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7" name="Freeform 5"/>
          <p:cNvSpPr>
            <a:spLocks/>
          </p:cNvSpPr>
          <p:nvPr userDrawn="1"/>
        </p:nvSpPr>
        <p:spPr bwMode="auto">
          <a:xfrm flipH="1">
            <a:off x="4236" y="6635865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0678" tIns="45339" rIns="90678" bIns="45339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9" name="Freeform 5"/>
          <p:cNvSpPr>
            <a:spLocks/>
          </p:cNvSpPr>
          <p:nvPr userDrawn="1"/>
        </p:nvSpPr>
        <p:spPr bwMode="auto">
          <a:xfrm flipH="1">
            <a:off x="4236" y="3272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0678" tIns="45339" rIns="90678" bIns="45339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 userDrawn="1">
            <p:ph type="ctrTitle"/>
          </p:nvPr>
        </p:nvSpPr>
        <p:spPr>
          <a:xfrm>
            <a:off x="437853" y="2238434"/>
            <a:ext cx="6581329" cy="1292662"/>
          </a:xfrm>
          <a:prstGeom prst="rect">
            <a:avLst/>
          </a:prstGeom>
        </p:spPr>
        <p:txBody>
          <a:bodyPr/>
          <a:lstStyle>
            <a:lvl1pPr>
              <a:defRPr sz="4200" b="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dirty="0" smtClean="0"/>
              <a:t>Click </a:t>
            </a:r>
            <a:r>
              <a:rPr lang="pt-BR" noProof="0" dirty="0" err="1" smtClean="0"/>
              <a:t>to</a:t>
            </a:r>
            <a:r>
              <a:rPr lang="pt-BR" noProof="0" dirty="0" smtClean="0"/>
              <a:t> </a:t>
            </a:r>
            <a:r>
              <a:rPr lang="pt-BR" noProof="0" dirty="0" err="1" smtClean="0"/>
              <a:t>edit</a:t>
            </a:r>
            <a:r>
              <a:rPr lang="pt-BR" noProof="0" dirty="0" smtClean="0"/>
              <a:t> Master </a:t>
            </a:r>
            <a:r>
              <a:rPr lang="pt-BR" noProof="0" dirty="0" err="1" smtClean="0"/>
              <a:t>title</a:t>
            </a:r>
            <a:r>
              <a:rPr lang="pt-BR" noProof="0" dirty="0" smtClean="0"/>
              <a:t> </a:t>
            </a:r>
            <a:r>
              <a:rPr lang="pt-BR" noProof="0" dirty="0" err="1" smtClean="0"/>
              <a:t>style</a:t>
            </a:r>
            <a:endParaRPr lang="pt-BR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437852" y="3762851"/>
            <a:ext cx="6450496" cy="482639"/>
          </a:xfrm>
        </p:spPr>
        <p:txBody>
          <a:bodyPr wrap="square">
            <a:spAutoFit/>
          </a:bodyPr>
          <a:lstStyle>
            <a:lvl1pPr>
              <a:defRPr sz="310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smtClean="0"/>
              <a:t>Click to edit Master subtitle style</a:t>
            </a:r>
            <a:endParaRPr lang="pt-BR" noProof="0" dirty="0" smtClean="0"/>
          </a:p>
        </p:txBody>
      </p:sp>
      <p:grpSp>
        <p:nvGrpSpPr>
          <p:cNvPr id="25" name="Group 24"/>
          <p:cNvGrpSpPr/>
          <p:nvPr userDrawn="1"/>
        </p:nvGrpSpPr>
        <p:grpSpPr>
          <a:xfrm>
            <a:off x="8526083" y="2325895"/>
            <a:ext cx="3423031" cy="3656746"/>
            <a:chOff x="5526523" y="2325890"/>
            <a:chExt cx="3423032" cy="3656747"/>
          </a:xfrm>
        </p:grpSpPr>
        <p:sp>
          <p:nvSpPr>
            <p:cNvPr id="26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27" name="Group 26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28" name="Donut 27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29" name="Oval 28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0" name="Oval 29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5726443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30922061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98853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10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211678" y="230280"/>
            <a:ext cx="10903658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US" noProof="0" dirty="0" smtClean="0"/>
            </a:lvl1pPr>
          </a:lstStyle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</p:spTree>
    <p:extLst>
      <p:ext uri="{BB962C8B-B14F-4D97-AF65-F5344CB8AC3E}">
        <p14:creationId xmlns:p14="http://schemas.microsoft.com/office/powerpoint/2010/main" val="245890100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7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21502" y="359003"/>
            <a:ext cx="10306110" cy="307777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573971789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8502581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38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400884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138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422137" y="349421"/>
            <a:ext cx="6749230" cy="254184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703"/>
              </a:lnSpc>
              <a:defRPr sz="4700">
                <a:solidFill>
                  <a:srgbClr val="18C3FF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r>
              <a:rPr lang="en-US" dirty="0" smtClean="0"/>
              <a:t>. LOREM IPSUM DOLOR SIT AMET HAS ID CIBO QUIDAM</a:t>
            </a:r>
            <a:endParaRPr lang="en-US" dirty="0"/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422137" y="3071971"/>
            <a:ext cx="6749230" cy="796308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592532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2532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2532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7502782"/>
      </p:ext>
    </p:extLst>
  </p:cSld>
  <p:clrMapOvr>
    <a:masterClrMapping/>
  </p:clrMapOvr>
</p:sldLayout>
</file>

<file path=ppt/slideLayouts/slideLayout13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4145019889"/>
      </p:ext>
    </p:extLst>
  </p:cSld>
  <p:clrMapOvr>
    <a:masterClrMapping/>
  </p:clrMapOvr>
</p:sldLayout>
</file>

<file path=ppt/slideLayouts/slideLayout13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60" y="1576"/>
          <a:ext cx="1555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99877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10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60" y="1576"/>
                        <a:ext cx="1555" cy="155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 userDrawn="1"/>
        </p:nvSpPr>
        <p:spPr>
          <a:xfrm>
            <a:off x="1" y="-58698"/>
            <a:ext cx="11949113" cy="186905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678" tIns="45339" rIns="90678" bIns="45339"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75601" y="228691"/>
            <a:ext cx="11491891" cy="30777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3530651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138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425441617"/>
      </p:ext>
    </p:extLst>
  </p:cSld>
  <p:clrMapOvr>
    <a:masterClrMapping/>
  </p:clrMapOvr>
</p:sldLayout>
</file>

<file path=ppt/slideLayouts/slideLayout13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9007690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3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95780105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01925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10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 userDrawn="1"/>
        </p:nvSpPr>
        <p:spPr bwMode="auto">
          <a:xfrm>
            <a:off x="437849" y="131298"/>
            <a:ext cx="88165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pt-BR" sz="800" b="1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WORKING DRAFT</a:t>
            </a:r>
            <a:endParaRPr lang="pt-BR" sz="800" b="1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256937" y="36518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pt-BR" sz="800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 userDrawn="1"/>
        </p:nvSpPr>
        <p:spPr bwMode="auto">
          <a:xfrm>
            <a:off x="437874" y="286871"/>
            <a:ext cx="3069751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 userDrawn="1"/>
        </p:nvSpPr>
        <p:spPr bwMode="auto">
          <a:xfrm>
            <a:off x="437851" y="444031"/>
            <a:ext cx="270106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8" name="McK Title Elements" hidden="1"/>
          <p:cNvGrpSpPr>
            <a:grpSpLocks/>
          </p:cNvGrpSpPr>
          <p:nvPr userDrawn="1"/>
        </p:nvGrpSpPr>
        <p:grpSpPr bwMode="auto">
          <a:xfrm>
            <a:off x="5" y="114"/>
            <a:ext cx="11944879" cy="6723063"/>
            <a:chOff x="0" y="0"/>
            <a:chExt cx="5643" cy="4235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207" y="3361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ocument typ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207" y="3550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at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1" name="McK Disclaimer"/>
            <p:cNvSpPr>
              <a:spLocks noChangeArrowheads="1"/>
            </p:cNvSpPr>
            <p:nvPr/>
          </p:nvSpPr>
          <p:spPr bwMode="auto">
            <a:xfrm>
              <a:off x="207" y="3963"/>
              <a:ext cx="3226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798029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NFIDENTIAL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D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PRIETARY</a:t>
              </a:r>
              <a:endParaRPr lang="pt-BR" sz="80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  <a:p>
              <a:pPr defTabSz="798029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use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his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aterial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without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pecific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ermission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cKinsey &amp;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mpan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is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trictl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hibited</a:t>
              </a:r>
              <a:endParaRPr lang="pt-BR" sz="8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2" name="TitleBottomPlaceholder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3" name="TitleTopPlaceholder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Rectangle 1189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pic>
        <p:nvPicPr>
          <p:cNvPr id="18" name="TitleBottomBarBW" hidden="1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65758" y="6443669"/>
            <a:ext cx="2182379" cy="1920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7" name="Freeform 5"/>
          <p:cNvSpPr>
            <a:spLocks/>
          </p:cNvSpPr>
          <p:nvPr userDrawn="1"/>
        </p:nvSpPr>
        <p:spPr bwMode="auto">
          <a:xfrm flipH="1">
            <a:off x="4236" y="6635869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0648" tIns="45323" rIns="90648" bIns="45323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9" name="Freeform 5"/>
          <p:cNvSpPr>
            <a:spLocks/>
          </p:cNvSpPr>
          <p:nvPr userDrawn="1"/>
        </p:nvSpPr>
        <p:spPr bwMode="auto">
          <a:xfrm flipH="1">
            <a:off x="4236" y="3276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0648" tIns="45323" rIns="90648" bIns="45323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 userDrawn="1">
            <p:ph type="ctrTitle"/>
          </p:nvPr>
        </p:nvSpPr>
        <p:spPr>
          <a:xfrm>
            <a:off x="437853" y="2238434"/>
            <a:ext cx="6581329" cy="1292662"/>
          </a:xfrm>
          <a:prstGeom prst="rect">
            <a:avLst/>
          </a:prstGeom>
        </p:spPr>
        <p:txBody>
          <a:bodyPr/>
          <a:lstStyle>
            <a:lvl1pPr>
              <a:defRPr sz="4200" b="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dirty="0" smtClean="0"/>
              <a:t>Click </a:t>
            </a:r>
            <a:r>
              <a:rPr lang="pt-BR" noProof="0" dirty="0" err="1" smtClean="0"/>
              <a:t>to</a:t>
            </a:r>
            <a:r>
              <a:rPr lang="pt-BR" noProof="0" dirty="0" smtClean="0"/>
              <a:t> </a:t>
            </a:r>
            <a:r>
              <a:rPr lang="pt-BR" noProof="0" dirty="0" err="1" smtClean="0"/>
              <a:t>edit</a:t>
            </a:r>
            <a:r>
              <a:rPr lang="pt-BR" noProof="0" dirty="0" smtClean="0"/>
              <a:t> Master </a:t>
            </a:r>
            <a:r>
              <a:rPr lang="pt-BR" noProof="0" dirty="0" err="1" smtClean="0"/>
              <a:t>title</a:t>
            </a:r>
            <a:r>
              <a:rPr lang="pt-BR" noProof="0" dirty="0" smtClean="0"/>
              <a:t> </a:t>
            </a:r>
            <a:r>
              <a:rPr lang="pt-BR" noProof="0" dirty="0" err="1" smtClean="0"/>
              <a:t>style</a:t>
            </a:r>
            <a:endParaRPr lang="pt-BR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437852" y="3762851"/>
            <a:ext cx="6450496" cy="482639"/>
          </a:xfrm>
        </p:spPr>
        <p:txBody>
          <a:bodyPr wrap="square">
            <a:spAutoFit/>
          </a:bodyPr>
          <a:lstStyle>
            <a:lvl1pPr>
              <a:defRPr sz="310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smtClean="0"/>
              <a:t>Click to edit Master subtitle style</a:t>
            </a:r>
            <a:endParaRPr lang="pt-BR" noProof="0" dirty="0" smtClean="0"/>
          </a:p>
        </p:txBody>
      </p:sp>
      <p:grpSp>
        <p:nvGrpSpPr>
          <p:cNvPr id="25" name="Group 24"/>
          <p:cNvGrpSpPr/>
          <p:nvPr userDrawn="1"/>
        </p:nvGrpSpPr>
        <p:grpSpPr>
          <a:xfrm>
            <a:off x="8526083" y="2325895"/>
            <a:ext cx="3423031" cy="3656746"/>
            <a:chOff x="5526523" y="2325890"/>
            <a:chExt cx="3423032" cy="3656747"/>
          </a:xfrm>
        </p:grpSpPr>
        <p:sp>
          <p:nvSpPr>
            <p:cNvPr id="26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27" name="Group 26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28" name="Donut 27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29" name="Oval 28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0" name="Oval 29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4927764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53819418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02949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10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211678" y="230284"/>
            <a:ext cx="10903658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US" noProof="0" dirty="0" smtClean="0"/>
            </a:lvl1pPr>
          </a:lstStyle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</p:spTree>
    <p:extLst>
      <p:ext uri="{BB962C8B-B14F-4D97-AF65-F5344CB8AC3E}">
        <p14:creationId xmlns:p14="http://schemas.microsoft.com/office/powerpoint/2010/main" val="236880070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8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21502" y="359007"/>
            <a:ext cx="10306110" cy="307777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083070653"/>
      </p:ext>
    </p:extLst>
  </p:cSld>
  <p:clrMapOvr>
    <a:masterClrMapping/>
  </p:clrMapOvr>
</p:sldLayout>
</file>

<file path=ppt/slideLayouts/slideLayout138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709149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1299235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39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422137" y="349423"/>
            <a:ext cx="6749230" cy="254184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703"/>
              </a:lnSpc>
              <a:defRPr sz="4700">
                <a:solidFill>
                  <a:srgbClr val="18C3FF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r>
              <a:rPr lang="en-US" dirty="0" smtClean="0"/>
              <a:t>. LOREM IPSUM DOLOR SIT AMET HAS ID CIBO QUIDAM</a:t>
            </a:r>
            <a:endParaRPr lang="en-US" dirty="0"/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422137" y="3071971"/>
            <a:ext cx="6749230" cy="796308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592328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2328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2328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49273270"/>
      </p:ext>
    </p:extLst>
  </p:cSld>
  <p:clrMapOvr>
    <a:masterClrMapping/>
  </p:clrMapOvr>
</p:sldLayout>
</file>

<file path=ppt/slideLayouts/slideLayout13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6943899"/>
      </p:ext>
    </p:extLst>
  </p:cSld>
  <p:clrMapOvr>
    <a:masterClrMapping/>
  </p:clrMapOvr>
</p:sldLayout>
</file>

<file path=ppt/slideLayouts/slideLayout139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60" y="1576"/>
          <a:ext cx="1555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03972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10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60" y="1576"/>
                        <a:ext cx="1555" cy="155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 userDrawn="1"/>
        </p:nvSpPr>
        <p:spPr>
          <a:xfrm>
            <a:off x="1" y="-58698"/>
            <a:ext cx="11949113" cy="186905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648" tIns="45323" rIns="90648" bIns="45323"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75605" y="228695"/>
            <a:ext cx="11491891" cy="30777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87061159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139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626302978"/>
      </p:ext>
    </p:extLst>
  </p:cSld>
  <p:clrMapOvr>
    <a:masterClrMapping/>
  </p:clrMapOvr>
</p:sldLayout>
</file>

<file path=ppt/slideLayouts/slideLayout139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9245369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3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44" y="358960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42" y="1854630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44" y="1290131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460" indent="0">
              <a:buNone/>
              <a:defRPr sz="2700">
                <a:solidFill>
                  <a:schemeClr val="accent3"/>
                </a:solidFill>
              </a:defRPr>
            </a:lvl2pPr>
            <a:lvl3pPr marL="474413" indent="0">
              <a:buNone/>
              <a:defRPr sz="2700">
                <a:solidFill>
                  <a:schemeClr val="accent3"/>
                </a:solidFill>
              </a:defRPr>
            </a:lvl3pPr>
            <a:lvl4pPr marL="703370" indent="0">
              <a:buNone/>
              <a:defRPr sz="2700">
                <a:solidFill>
                  <a:schemeClr val="accent3"/>
                </a:solidFill>
              </a:defRPr>
            </a:lvl4pPr>
            <a:lvl5pPr marL="932333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3612244636"/>
      </p:ext>
    </p:extLst>
  </p:cSld>
  <p:clrMapOvr>
    <a:masterClrMapping/>
  </p:clrMapOvr>
</p:sldLayout>
</file>

<file path=ppt/slideLayouts/slideLayout13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42" y="1854630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92598597"/>
      </p:ext>
    </p:extLst>
  </p:cSld>
  <p:clrMapOvr>
    <a:masterClrMapping/>
  </p:clrMapOvr>
</p:sldLayout>
</file>

<file path=ppt/slideLayouts/slideLayout13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86023789"/>
      </p:ext>
    </p:extLst>
  </p:cSld>
  <p:clrMapOvr>
    <a:masterClrMapping/>
  </p:clrMapOvr>
</p:sldLayout>
</file>

<file path=ppt/slideLayouts/slideLayout13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79" y="1854630"/>
            <a:ext cx="5080446" cy="451832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854695"/>
            <a:ext cx="5080448" cy="451832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2044" y="1290131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460" indent="0">
              <a:buNone/>
              <a:defRPr sz="2700">
                <a:solidFill>
                  <a:schemeClr val="accent3"/>
                </a:solidFill>
              </a:defRPr>
            </a:lvl2pPr>
            <a:lvl3pPr marL="474413" indent="0">
              <a:buNone/>
              <a:defRPr sz="2700">
                <a:solidFill>
                  <a:schemeClr val="accent3"/>
                </a:solidFill>
              </a:defRPr>
            </a:lvl3pPr>
            <a:lvl4pPr marL="703370" indent="0">
              <a:buNone/>
              <a:defRPr sz="2700">
                <a:solidFill>
                  <a:schemeClr val="accent3"/>
                </a:solidFill>
              </a:defRPr>
            </a:lvl4pPr>
            <a:lvl5pPr marL="932333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57062562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13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8436495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13078754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99914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81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211678" y="230292"/>
            <a:ext cx="10903658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US" noProof="0" dirty="0" smtClean="0"/>
            </a:lvl1pPr>
          </a:lstStyle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</p:spTree>
    <p:extLst>
      <p:ext uri="{BB962C8B-B14F-4D97-AF65-F5344CB8AC3E}">
        <p14:creationId xmlns:p14="http://schemas.microsoft.com/office/powerpoint/2010/main" val="350135279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6587118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4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8040719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4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5334287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4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9965052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4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9975303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4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EA288C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679751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4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6D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5073579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4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A02B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3716715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4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56167558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11128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9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 userDrawn="1"/>
        </p:nvSpPr>
        <p:spPr bwMode="auto">
          <a:xfrm>
            <a:off x="437849" y="131294"/>
            <a:ext cx="88165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pt-BR" sz="800" b="1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WORKING DRAFT</a:t>
            </a:r>
            <a:endParaRPr lang="pt-BR" sz="800" b="1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256936" y="36518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pt-BR" sz="800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 userDrawn="1"/>
        </p:nvSpPr>
        <p:spPr bwMode="auto">
          <a:xfrm>
            <a:off x="437873" y="286867"/>
            <a:ext cx="3069751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 userDrawn="1"/>
        </p:nvSpPr>
        <p:spPr bwMode="auto">
          <a:xfrm>
            <a:off x="437851" y="444027"/>
            <a:ext cx="270106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8" name="McK Title Elements" hidden="1"/>
          <p:cNvGrpSpPr>
            <a:grpSpLocks/>
          </p:cNvGrpSpPr>
          <p:nvPr userDrawn="1"/>
        </p:nvGrpSpPr>
        <p:grpSpPr bwMode="auto">
          <a:xfrm>
            <a:off x="4" y="109"/>
            <a:ext cx="11944879" cy="6723063"/>
            <a:chOff x="0" y="0"/>
            <a:chExt cx="5643" cy="4235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207" y="3361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ocument typ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207" y="3550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at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1" name="McK Disclaimer"/>
            <p:cNvSpPr>
              <a:spLocks noChangeArrowheads="1"/>
            </p:cNvSpPr>
            <p:nvPr/>
          </p:nvSpPr>
          <p:spPr bwMode="auto">
            <a:xfrm>
              <a:off x="207" y="3963"/>
              <a:ext cx="3226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798385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NFIDENTIAL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D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PRIETARY</a:t>
              </a:r>
              <a:endParaRPr lang="pt-BR" sz="80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  <a:p>
              <a:pPr defTabSz="798385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use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his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aterial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without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pecific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ermission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cKinsey &amp;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mpan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is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trictl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hibited</a:t>
              </a:r>
              <a:endParaRPr lang="pt-BR" sz="8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2" name="TitleBottomPlaceholder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3" name="TitleTopPlaceholder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Rectangle 1189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pic>
        <p:nvPicPr>
          <p:cNvPr id="18" name="TitleBottomBarBW" hidden="1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65754" y="6443669"/>
            <a:ext cx="2182379" cy="1920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7" name="Freeform 5"/>
          <p:cNvSpPr>
            <a:spLocks/>
          </p:cNvSpPr>
          <p:nvPr userDrawn="1"/>
        </p:nvSpPr>
        <p:spPr bwMode="auto">
          <a:xfrm flipH="1">
            <a:off x="4236" y="6635864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0689" tIns="45344" rIns="90689" bIns="45344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9" name="Freeform 5"/>
          <p:cNvSpPr>
            <a:spLocks/>
          </p:cNvSpPr>
          <p:nvPr userDrawn="1"/>
        </p:nvSpPr>
        <p:spPr bwMode="auto">
          <a:xfrm flipH="1">
            <a:off x="4236" y="3272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0689" tIns="45344" rIns="90689" bIns="45344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 userDrawn="1">
            <p:ph type="ctrTitle"/>
          </p:nvPr>
        </p:nvSpPr>
        <p:spPr>
          <a:xfrm>
            <a:off x="437852" y="2238434"/>
            <a:ext cx="6581329" cy="1292662"/>
          </a:xfrm>
          <a:prstGeom prst="rect">
            <a:avLst/>
          </a:prstGeom>
        </p:spPr>
        <p:txBody>
          <a:bodyPr/>
          <a:lstStyle>
            <a:lvl1pPr>
              <a:defRPr sz="4200" b="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dirty="0" smtClean="0"/>
              <a:t>Click </a:t>
            </a:r>
            <a:r>
              <a:rPr lang="pt-BR" noProof="0" dirty="0" err="1" smtClean="0"/>
              <a:t>to</a:t>
            </a:r>
            <a:r>
              <a:rPr lang="pt-BR" noProof="0" dirty="0" smtClean="0"/>
              <a:t> </a:t>
            </a:r>
            <a:r>
              <a:rPr lang="pt-BR" noProof="0" dirty="0" err="1" smtClean="0"/>
              <a:t>edit</a:t>
            </a:r>
            <a:r>
              <a:rPr lang="pt-BR" noProof="0" dirty="0" smtClean="0"/>
              <a:t> Master </a:t>
            </a:r>
            <a:r>
              <a:rPr lang="pt-BR" noProof="0" dirty="0" err="1" smtClean="0"/>
              <a:t>title</a:t>
            </a:r>
            <a:r>
              <a:rPr lang="pt-BR" noProof="0" dirty="0" smtClean="0"/>
              <a:t> </a:t>
            </a:r>
            <a:r>
              <a:rPr lang="pt-BR" noProof="0" dirty="0" err="1" smtClean="0"/>
              <a:t>style</a:t>
            </a:r>
            <a:endParaRPr lang="pt-BR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437852" y="3762850"/>
            <a:ext cx="6450496" cy="482639"/>
          </a:xfrm>
        </p:spPr>
        <p:txBody>
          <a:bodyPr wrap="square">
            <a:spAutoFit/>
          </a:bodyPr>
          <a:lstStyle>
            <a:lvl1pPr>
              <a:defRPr sz="310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smtClean="0"/>
              <a:t>Click to edit Master subtitle style</a:t>
            </a:r>
            <a:endParaRPr lang="pt-BR" noProof="0" dirty="0" smtClean="0"/>
          </a:p>
        </p:txBody>
      </p:sp>
      <p:grpSp>
        <p:nvGrpSpPr>
          <p:cNvPr id="25" name="Group 24"/>
          <p:cNvGrpSpPr/>
          <p:nvPr userDrawn="1"/>
        </p:nvGrpSpPr>
        <p:grpSpPr>
          <a:xfrm>
            <a:off x="8526083" y="2325895"/>
            <a:ext cx="3423031" cy="3656746"/>
            <a:chOff x="5526523" y="2325890"/>
            <a:chExt cx="3423032" cy="3656747"/>
          </a:xfrm>
        </p:grpSpPr>
        <p:sp>
          <p:nvSpPr>
            <p:cNvPr id="26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27" name="Group 26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28" name="Donut 27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29" name="Oval 28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0" name="Oval 29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93064738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76671141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12152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9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211678" y="230280"/>
            <a:ext cx="10903658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US" noProof="0" dirty="0" smtClean="0"/>
            </a:lvl1pPr>
          </a:lstStyle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</p:spTree>
    <p:extLst>
      <p:ext uri="{BB962C8B-B14F-4D97-AF65-F5344CB8AC3E}">
        <p14:creationId xmlns:p14="http://schemas.microsoft.com/office/powerpoint/2010/main" val="414275841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0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21502" y="359002"/>
            <a:ext cx="10306110" cy="307777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10076665"/>
      </p:ext>
    </p:extLst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0681367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4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227448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14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422137" y="349419"/>
            <a:ext cx="6749230" cy="254184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704"/>
              </a:lnSpc>
              <a:defRPr sz="4700">
                <a:solidFill>
                  <a:srgbClr val="18C3FF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r>
              <a:rPr lang="en-US" dirty="0" smtClean="0"/>
              <a:t>. LOREM IPSUM DOLOR SIT AMET HAS ID CIBO QUIDAM</a:t>
            </a:r>
            <a:endParaRPr lang="en-US" dirty="0"/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422137" y="3071971"/>
            <a:ext cx="6749230" cy="796308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592592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2592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2592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02319929"/>
      </p:ext>
    </p:extLst>
  </p:cSld>
  <p:clrMapOvr>
    <a:masterClrMapping/>
  </p:clrMapOvr>
</p:sldLayout>
</file>

<file path=ppt/slideLayouts/slideLayout14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1241810463"/>
      </p:ext>
    </p:extLst>
  </p:cSld>
  <p:clrMapOvr>
    <a:masterClrMapping/>
  </p:clrMapOvr>
</p:sldLayout>
</file>

<file path=ppt/slideLayouts/slideLayout14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59" y="1573"/>
          <a:ext cx="1555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13176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9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59" y="1573"/>
                        <a:ext cx="1555" cy="155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 userDrawn="1"/>
        </p:nvSpPr>
        <p:spPr>
          <a:xfrm>
            <a:off x="0" y="-58698"/>
            <a:ext cx="11949113" cy="186905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689" tIns="45344" rIns="90689" bIns="45344"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75601" y="228691"/>
            <a:ext cx="11491891" cy="30777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92507472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14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1005442266"/>
      </p:ext>
    </p:extLst>
  </p:cSld>
  <p:clrMapOvr>
    <a:masterClrMapping/>
  </p:clrMapOvr>
</p:sldLayout>
</file>

<file path=ppt/slideLayouts/slideLayout14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6736469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4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5099674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4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20" y="358937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19" y="1854630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20" y="1290131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958" indent="0">
              <a:buNone/>
              <a:defRPr sz="2700">
                <a:solidFill>
                  <a:schemeClr val="accent3"/>
                </a:solidFill>
              </a:defRPr>
            </a:lvl2pPr>
            <a:lvl3pPr marL="475380" indent="0">
              <a:buNone/>
              <a:defRPr sz="2700">
                <a:solidFill>
                  <a:schemeClr val="accent3"/>
                </a:solidFill>
              </a:defRPr>
            </a:lvl3pPr>
            <a:lvl4pPr marL="704805" indent="0">
              <a:buNone/>
              <a:defRPr sz="2700">
                <a:solidFill>
                  <a:schemeClr val="accent3"/>
                </a:solidFill>
              </a:defRPr>
            </a:lvl4pPr>
            <a:lvl5pPr marL="934236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3308207226"/>
      </p:ext>
    </p:extLst>
  </p:cSld>
  <p:clrMapOvr>
    <a:masterClrMapping/>
  </p:clrMapOvr>
</p:sldLayout>
</file>

<file path=ppt/slideLayouts/slideLayout14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19" y="1854630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12114430"/>
      </p:ext>
    </p:extLst>
  </p:cSld>
  <p:clrMapOvr>
    <a:masterClrMapping/>
  </p:clrMapOvr>
</p:sldLayout>
</file>

<file path=ppt/slideLayouts/slideLayout14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52377708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1563490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4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79" y="1854630"/>
            <a:ext cx="5080446" cy="451832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854672"/>
            <a:ext cx="5080448" cy="451832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2020" y="1290131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958" indent="0">
              <a:buNone/>
              <a:defRPr sz="2700">
                <a:solidFill>
                  <a:schemeClr val="accent3"/>
                </a:solidFill>
              </a:defRPr>
            </a:lvl2pPr>
            <a:lvl3pPr marL="475380" indent="0">
              <a:buNone/>
              <a:defRPr sz="2700">
                <a:solidFill>
                  <a:schemeClr val="accent3"/>
                </a:solidFill>
              </a:defRPr>
            </a:lvl3pPr>
            <a:lvl4pPr marL="704805" indent="0">
              <a:buNone/>
              <a:defRPr sz="2700">
                <a:solidFill>
                  <a:schemeClr val="accent3"/>
                </a:solidFill>
              </a:defRPr>
            </a:lvl4pPr>
            <a:lvl5pPr marL="934236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80663541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14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1944665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4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4774903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4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7641209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4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021937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4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2117937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4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EA288C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6200320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4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6D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5152757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4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A02B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8757778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4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3984295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EA288C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7119537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4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3555139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4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6611660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4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3659010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4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3879250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4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EA288C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467634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4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6D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6435025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4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A02B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8495274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4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25" y="358942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24" y="1854630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25" y="1290131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848" indent="0">
              <a:buNone/>
              <a:defRPr sz="2700">
                <a:solidFill>
                  <a:schemeClr val="accent3"/>
                </a:solidFill>
              </a:defRPr>
            </a:lvl2pPr>
            <a:lvl3pPr marL="475164" indent="0">
              <a:buNone/>
              <a:defRPr sz="2700">
                <a:solidFill>
                  <a:schemeClr val="accent3"/>
                </a:solidFill>
              </a:defRPr>
            </a:lvl3pPr>
            <a:lvl4pPr marL="704486" indent="0">
              <a:buNone/>
              <a:defRPr sz="2700">
                <a:solidFill>
                  <a:schemeClr val="accent3"/>
                </a:solidFill>
              </a:defRPr>
            </a:lvl4pPr>
            <a:lvl5pPr marL="933812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739891343"/>
      </p:ext>
    </p:extLst>
  </p:cSld>
  <p:clrMapOvr>
    <a:masterClrMapping/>
  </p:clrMapOvr>
</p:sldLayout>
</file>

<file path=ppt/slideLayouts/slideLayout14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24" y="1854630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72257313"/>
      </p:ext>
    </p:extLst>
  </p:cSld>
  <p:clrMapOvr>
    <a:masterClrMapping/>
  </p:clrMapOvr>
</p:sldLayout>
</file>

<file path=ppt/slideLayouts/slideLayout14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81351033"/>
      </p:ext>
    </p:extLst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6D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6406286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4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79" y="1854630"/>
            <a:ext cx="5080446" cy="451832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854677"/>
            <a:ext cx="5080448" cy="451832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2025" y="1290131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848" indent="0">
              <a:buNone/>
              <a:defRPr sz="2700">
                <a:solidFill>
                  <a:schemeClr val="accent3"/>
                </a:solidFill>
              </a:defRPr>
            </a:lvl2pPr>
            <a:lvl3pPr marL="475164" indent="0">
              <a:buNone/>
              <a:defRPr sz="2700">
                <a:solidFill>
                  <a:schemeClr val="accent3"/>
                </a:solidFill>
              </a:defRPr>
            </a:lvl3pPr>
            <a:lvl4pPr marL="704486" indent="0">
              <a:buNone/>
              <a:defRPr sz="2700">
                <a:solidFill>
                  <a:schemeClr val="accent3"/>
                </a:solidFill>
              </a:defRPr>
            </a:lvl4pPr>
            <a:lvl5pPr marL="933812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38793151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14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25" y="358942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24" y="1854630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25" y="1290131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848" indent="0">
              <a:buNone/>
              <a:defRPr sz="2700">
                <a:solidFill>
                  <a:schemeClr val="accent3"/>
                </a:solidFill>
              </a:defRPr>
            </a:lvl2pPr>
            <a:lvl3pPr marL="475164" indent="0">
              <a:buNone/>
              <a:defRPr sz="2700">
                <a:solidFill>
                  <a:schemeClr val="accent3"/>
                </a:solidFill>
              </a:defRPr>
            </a:lvl3pPr>
            <a:lvl4pPr marL="704486" indent="0">
              <a:buNone/>
              <a:defRPr sz="2700">
                <a:solidFill>
                  <a:schemeClr val="accent3"/>
                </a:solidFill>
              </a:defRPr>
            </a:lvl4pPr>
            <a:lvl5pPr marL="933812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4208647601"/>
      </p:ext>
    </p:extLst>
  </p:cSld>
  <p:clrMapOvr>
    <a:masterClrMapping/>
  </p:clrMapOvr>
</p:sldLayout>
</file>

<file path=ppt/slideLayouts/slideLayout14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24" y="1854630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33529575"/>
      </p:ext>
    </p:extLst>
  </p:cSld>
  <p:clrMapOvr>
    <a:masterClrMapping/>
  </p:clrMapOvr>
</p:sldLayout>
</file>

<file path=ppt/slideLayouts/slideLayout14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01127880"/>
      </p:ext>
    </p:extLst>
  </p:cSld>
  <p:clrMapOvr>
    <a:masterClrMapping/>
  </p:clrMapOvr>
</p:sldLayout>
</file>

<file path=ppt/slideLayouts/slideLayout14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79" y="1854630"/>
            <a:ext cx="5080446" cy="451832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854677"/>
            <a:ext cx="5080448" cy="451832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2025" y="1290131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848" indent="0">
              <a:buNone/>
              <a:defRPr sz="2700">
                <a:solidFill>
                  <a:schemeClr val="accent3"/>
                </a:solidFill>
              </a:defRPr>
            </a:lvl2pPr>
            <a:lvl3pPr marL="475164" indent="0">
              <a:buNone/>
              <a:defRPr sz="2700">
                <a:solidFill>
                  <a:schemeClr val="accent3"/>
                </a:solidFill>
              </a:defRPr>
            </a:lvl3pPr>
            <a:lvl4pPr marL="704486" indent="0">
              <a:buNone/>
              <a:defRPr sz="2700">
                <a:solidFill>
                  <a:schemeClr val="accent3"/>
                </a:solidFill>
              </a:defRPr>
            </a:lvl4pPr>
            <a:lvl5pPr marL="933812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370591166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14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5007437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4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241337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4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9917640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4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5588820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4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6851967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A02B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5502460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4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EA288C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9852910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4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6D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4673809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4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A02B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5935439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4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i Indi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pt-PT" dirty="0" smtClean="0"/>
              <a:t>Índice</a:t>
            </a:r>
            <a:endParaRPr lang="en-US" dirty="0"/>
          </a:p>
        </p:txBody>
      </p:sp>
      <p:sp>
        <p:nvSpPr>
          <p:cNvPr id="10" name="Title 22"/>
          <p:cNvSpPr txBox="1">
            <a:spLocks/>
          </p:cNvSpPr>
          <p:nvPr userDrawn="1"/>
        </p:nvSpPr>
        <p:spPr>
          <a:xfrm>
            <a:off x="6287747" y="358896"/>
            <a:ext cx="5049390" cy="607312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 anchorCtr="0"/>
          <a:lstStyle>
            <a:lvl1pPr algn="l" defTabSz="457200" rtl="0" eaLnBrk="1" latinLnBrk="0" hangingPunct="1">
              <a:lnSpc>
                <a:spcPts val="6800"/>
              </a:lnSpc>
              <a:spcBef>
                <a:spcPts val="3300"/>
              </a:spcBef>
              <a:buNone/>
              <a:defRPr sz="6600" b="0" i="1" kern="1200" baseline="0">
                <a:solidFill>
                  <a:schemeClr val="tx1"/>
                </a:solidFill>
                <a:latin typeface="Georgia"/>
                <a:ea typeface="+mj-ea"/>
                <a:cs typeface="Georgia"/>
              </a:defRPr>
            </a:lvl1pPr>
          </a:lstStyle>
          <a:p>
            <a:pPr fontAlgn="auto">
              <a:lnSpc>
                <a:spcPts val="5487"/>
              </a:lnSpc>
              <a:spcBef>
                <a:spcPts val="0"/>
              </a:spcBef>
              <a:spcAft>
                <a:spcPts val="0"/>
              </a:spcAft>
            </a:pPr>
            <a:r>
              <a:rPr lang="pt-BR" sz="2700" i="0" dirty="0" smtClean="0">
                <a:solidFill>
                  <a:srgbClr val="9F37FE"/>
                </a:solidFill>
                <a:latin typeface="Simplon BP Bold"/>
                <a:cs typeface="Simplon BP Bold"/>
              </a:rPr>
              <a:t>SUMÁRIO EXECUTIVO</a:t>
            </a:r>
            <a:endParaRPr lang="en-US" sz="2700" i="0" dirty="0">
              <a:solidFill>
                <a:srgbClr val="9F37FE"/>
              </a:solidFill>
              <a:latin typeface="Simplon BP Bold"/>
              <a:cs typeface="Simplon BP Bold"/>
            </a:endParaRP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611982" y="1383713"/>
            <a:ext cx="5080447" cy="4156583"/>
          </a:xfrm>
        </p:spPr>
        <p:txBody>
          <a:bodyPr/>
          <a:lstStyle>
            <a:lvl1pPr marL="0" indent="0">
              <a:buNone/>
              <a:defRPr/>
            </a:lvl1pPr>
            <a:lvl2pPr marL="246768" indent="0">
              <a:buNone/>
              <a:defRPr/>
            </a:lvl2pPr>
            <a:lvl3pPr marL="476946" indent="0">
              <a:buNone/>
              <a:defRPr/>
            </a:lvl3pPr>
            <a:lvl4pPr marL="707125" indent="0">
              <a:buNone/>
              <a:defRPr/>
            </a:lvl4pPr>
            <a:lvl5pPr marL="937305" indent="0">
              <a:buNone/>
              <a:defRPr/>
            </a:lvl5pPr>
          </a:lstStyle>
          <a:p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,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consectetuer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dipiscing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lit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,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sed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diam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nonummy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nibh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uismod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tincidunt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ut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aoreet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dolore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magna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liquam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rat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volutpat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.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Ut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wisi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nim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ad minim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veniam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,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quis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nostrud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xerci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tation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ullamcorper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suscipit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bortis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nisl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ut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liquip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ex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a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commodo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consequat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. </a:t>
            </a:r>
            <a:endParaRPr lang="en-US" sz="1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3" hasCustomPrompt="1"/>
          </p:nvPr>
        </p:nvSpPr>
        <p:spPr>
          <a:xfrm>
            <a:off x="6287807" y="1383713"/>
            <a:ext cx="5049330" cy="4156583"/>
          </a:xfrm>
        </p:spPr>
        <p:txBody>
          <a:bodyPr/>
          <a:lstStyle>
            <a:lvl1pPr marL="0" indent="0">
              <a:buNone/>
              <a:defRPr sz="2700"/>
            </a:lvl1pPr>
            <a:lvl2pPr marL="246768" indent="0">
              <a:buNone/>
              <a:defRPr sz="2700"/>
            </a:lvl2pPr>
            <a:lvl3pPr marL="476946" indent="0">
              <a:buNone/>
              <a:defRPr sz="2700"/>
            </a:lvl3pPr>
            <a:lvl4pPr marL="707125" indent="0">
              <a:buNone/>
              <a:defRPr sz="2700"/>
            </a:lvl4pPr>
            <a:lvl5pPr marL="937305" indent="0">
              <a:buNone/>
              <a:defRPr sz="2700"/>
            </a:lvl5pPr>
          </a:lstStyle>
          <a:p>
            <a:pPr lvl="0"/>
            <a:r>
              <a:rPr lang="pt-PT" dirty="0" smtClean="0"/>
              <a:t>3. </a:t>
            </a:r>
            <a:r>
              <a:rPr lang="pt-PT" dirty="0" err="1" smtClean="0"/>
              <a:t>Impsu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endParaRPr lang="pt-PT" dirty="0" smtClean="0"/>
          </a:p>
          <a:p>
            <a:pPr lvl="0"/>
            <a:r>
              <a:rPr lang="pt-PT" dirty="0" smtClean="0"/>
              <a:t>5.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endParaRPr lang="pt-PT" dirty="0" smtClean="0"/>
          </a:p>
          <a:p>
            <a:pPr lvl="0"/>
            <a:r>
              <a:rPr lang="pt-PT" dirty="0" smtClean="0"/>
              <a:t>10. </a:t>
            </a:r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endParaRPr lang="pt-PT" dirty="0" smtClean="0"/>
          </a:p>
          <a:p>
            <a:pPr lvl="0"/>
            <a:r>
              <a:rPr lang="pt-PT" dirty="0" smtClean="0"/>
              <a:t>15. </a:t>
            </a:r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1" name="TextBox 10"/>
          <p:cNvSpPr txBox="1"/>
          <p:nvPr userDrawn="1"/>
        </p:nvSpPr>
        <p:spPr>
          <a:xfrm>
            <a:off x="611976" y="5852781"/>
            <a:ext cx="3574719" cy="470497"/>
          </a:xfrm>
          <a:prstGeom prst="rect">
            <a:avLst/>
          </a:prstGeom>
          <a:noFill/>
        </p:spPr>
        <p:txBody>
          <a:bodyPr wrap="none" lIns="47026" tIns="47026" rIns="47026" bIns="47026" rtlCol="0" anchor="ctr" anchorCtr="0">
            <a:noAutofit/>
          </a:bodyPr>
          <a:lstStyle/>
          <a:p>
            <a:pPr defTabSz="597219" fontAlgn="auto">
              <a:lnSpc>
                <a:spcPts val="2352"/>
              </a:lnSpc>
              <a:spcBef>
                <a:spcPts val="0"/>
              </a:spcBef>
              <a:spcAft>
                <a:spcPts val="0"/>
              </a:spcAft>
            </a:pPr>
            <a:r>
              <a:rPr lang="pt-BR" sz="2700" dirty="0" smtClean="0">
                <a:solidFill>
                  <a:srgbClr val="9F37FE"/>
                </a:solidFill>
                <a:latin typeface="Simplon BP" charset="0"/>
                <a:ea typeface="Simplon BP" charset="0"/>
                <a:cs typeface="Simplon BP" charset="0"/>
              </a:rPr>
              <a:t>TOTAL DE SLIDES:</a:t>
            </a:r>
            <a:endParaRPr lang="en-US" sz="2700" dirty="0" smtClean="0">
              <a:solidFill>
                <a:srgbClr val="9F37FE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13" name="Text Placeholder 16"/>
          <p:cNvSpPr>
            <a:spLocks noGrp="1"/>
          </p:cNvSpPr>
          <p:nvPr>
            <p:ph type="body" sz="quarter" idx="14" hasCustomPrompt="1"/>
          </p:nvPr>
        </p:nvSpPr>
        <p:spPr>
          <a:xfrm>
            <a:off x="3810045" y="5852781"/>
            <a:ext cx="753042" cy="470497"/>
          </a:xfrm>
          <a:noFill/>
        </p:spPr>
        <p:txBody>
          <a:bodyPr wrap="none" lIns="47026" tIns="47026" rIns="47026" bIns="47026" rtlCol="0" anchor="ctr" anchorCtr="0">
            <a:noAutofit/>
          </a:bodyPr>
          <a:lstStyle>
            <a:lvl1pPr marL="0" indent="0">
              <a:buNone/>
              <a:defRPr lang="en-US" sz="2700" dirty="0">
                <a:solidFill>
                  <a:schemeClr val="accent1"/>
                </a:solidFill>
                <a:latin typeface="Simplon BP" charset="0"/>
                <a:ea typeface="Simplon BP" charset="0"/>
                <a:cs typeface="Simplon BP" charset="0"/>
              </a:defRPr>
            </a:lvl1pPr>
          </a:lstStyle>
          <a:p>
            <a:pPr marL="0" lvl="0">
              <a:lnSpc>
                <a:spcPts val="2352"/>
              </a:lnSpc>
              <a:spcAft>
                <a:spcPts val="0"/>
              </a:spcAft>
            </a:pPr>
            <a:r>
              <a:rPr lang="pt-PT" dirty="0" smtClean="0"/>
              <a:t>##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75774522"/>
      </p:ext>
    </p:extLst>
  </p:cSld>
  <p:clrMapOvr>
    <a:masterClrMapping/>
  </p:clrMapOvr>
</p:sldLayout>
</file>

<file path=ppt/slideLayouts/slideLayout14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I Titulo Corpo later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1982" y="358894"/>
            <a:ext cx="5069337" cy="6014060"/>
          </a:xfrm>
        </p:spPr>
        <p:txBody>
          <a:bodyPr/>
          <a:lstStyle>
            <a:lvl1pPr marL="0" marR="0" indent="0" algn="l" defTabSz="597219" rtl="0" eaLnBrk="1" fontAlgn="auto" latinLnBrk="0" hangingPunct="1">
              <a:lnSpc>
                <a:spcPts val="5487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r>
              <a:rPr lang="pt-PT" dirty="0" smtClean="0"/>
              <a:t>Título </a:t>
            </a:r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DOLOR SIT AMET CONSECTETOR LOREM IPSUM INSERIR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256693" y="358894"/>
            <a:ext cx="5080447" cy="601406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5739415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14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I Titulo Corpo Lateral Destaq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1982" y="358894"/>
            <a:ext cx="5069337" cy="6014060"/>
          </a:xfrm>
        </p:spPr>
        <p:txBody>
          <a:bodyPr/>
          <a:lstStyle>
            <a:lvl1pPr marL="0" marR="0" indent="0" algn="l" defTabSz="597219" rtl="0" eaLnBrk="1" fontAlgn="auto" latinLnBrk="0" hangingPunct="1">
              <a:lnSpc>
                <a:spcPts val="5487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r>
              <a:rPr lang="pt-PT" dirty="0" smtClean="0"/>
              <a:t>Título </a:t>
            </a:r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DOLOR SIT AMET CONSECTETOR LOREM IPSUM INSERIR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2" hasCustomPrompt="1"/>
          </p:nvPr>
        </p:nvSpPr>
        <p:spPr>
          <a:xfrm>
            <a:off x="6256688" y="358894"/>
            <a:ext cx="5094969" cy="6014060"/>
          </a:xfrm>
        </p:spPr>
        <p:txBody>
          <a:bodyPr/>
          <a:lstStyle>
            <a:lvl1pPr marL="304831" indent="-304831">
              <a:buFont typeface="Arial" charset="0"/>
              <a:buChar char="•"/>
              <a:tabLst/>
              <a:defRPr sz="2700">
                <a:solidFill>
                  <a:schemeClr val="tx1"/>
                </a:solidFill>
              </a:defRPr>
            </a:lvl1pPr>
            <a:lvl2pPr>
              <a:defRPr sz="2700"/>
            </a:lvl2pPr>
            <a:lvl3pPr>
              <a:defRPr sz="2700"/>
            </a:lvl3pPr>
            <a:lvl4pPr>
              <a:defRPr sz="2700"/>
            </a:lvl4pPr>
            <a:lvl5pPr>
              <a:defRPr sz="2700"/>
            </a:lvl5pPr>
          </a:lstStyle>
          <a:p>
            <a:pPr lvl="0"/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 </a:t>
            </a:r>
            <a:r>
              <a:rPr lang="pt-PT" dirty="0" err="1" smtClean="0"/>
              <a:t>ips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 </a:t>
            </a:r>
            <a:r>
              <a:rPr lang="pt-PT" dirty="0" err="1" smtClean="0"/>
              <a:t>lorem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lorem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Amet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.</a:t>
            </a:r>
          </a:p>
          <a:p>
            <a:pPr lvl="0"/>
            <a:endParaRPr lang="pt-PT" dirty="0" smtClean="0"/>
          </a:p>
        </p:txBody>
      </p:sp>
    </p:spTree>
    <p:extLst>
      <p:ext uri="{BB962C8B-B14F-4D97-AF65-F5344CB8AC3E}">
        <p14:creationId xmlns:p14="http://schemas.microsoft.com/office/powerpoint/2010/main" val="267233614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2744">
          <p15:clr>
            <a:srgbClr val="FBAE40"/>
          </p15:clr>
        </p15:guide>
        <p15:guide id="2" pos="3016">
          <p15:clr>
            <a:srgbClr val="FBAE40"/>
          </p15:clr>
        </p15:guide>
      </p15:sldGuideLst>
    </p:ext>
  </p:extLst>
</p:sldLayout>
</file>

<file path=ppt/slideLayouts/slideLayout14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75015384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25458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8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 userDrawn="1"/>
        </p:nvSpPr>
        <p:spPr bwMode="auto">
          <a:xfrm>
            <a:off x="437849" y="131294"/>
            <a:ext cx="88165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pt-BR" sz="800" b="1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WORKING DRAFT</a:t>
            </a:r>
            <a:endParaRPr lang="pt-BR" sz="800" b="1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256936" y="36518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pt-BR" sz="800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 userDrawn="1"/>
        </p:nvSpPr>
        <p:spPr bwMode="auto">
          <a:xfrm>
            <a:off x="437873" y="286867"/>
            <a:ext cx="3069751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 userDrawn="1"/>
        </p:nvSpPr>
        <p:spPr bwMode="auto">
          <a:xfrm>
            <a:off x="437851" y="444027"/>
            <a:ext cx="270106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8" name="McK Title Elements" hidden="1"/>
          <p:cNvGrpSpPr>
            <a:grpSpLocks/>
          </p:cNvGrpSpPr>
          <p:nvPr userDrawn="1"/>
        </p:nvGrpSpPr>
        <p:grpSpPr bwMode="auto">
          <a:xfrm>
            <a:off x="4" y="109"/>
            <a:ext cx="11944879" cy="6723063"/>
            <a:chOff x="0" y="0"/>
            <a:chExt cx="5643" cy="4235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207" y="3361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ocument typ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207" y="3550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at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1" name="McK Disclaimer"/>
            <p:cNvSpPr>
              <a:spLocks noChangeArrowheads="1"/>
            </p:cNvSpPr>
            <p:nvPr/>
          </p:nvSpPr>
          <p:spPr bwMode="auto">
            <a:xfrm>
              <a:off x="207" y="3963"/>
              <a:ext cx="3226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798385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NFIDENTIAL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D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PRIETARY</a:t>
              </a:r>
              <a:endParaRPr lang="pt-BR" sz="80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  <a:p>
              <a:pPr defTabSz="798385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use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his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aterial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without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pecific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ermission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cKinsey &amp;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mpan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is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trictl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hibited</a:t>
              </a:r>
              <a:endParaRPr lang="pt-BR" sz="8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2" name="TitleBottomPlaceholder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3" name="TitleTopPlaceholder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Rectangle 1189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pic>
        <p:nvPicPr>
          <p:cNvPr id="18" name="TitleBottomBarBW" hidden="1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65754" y="6443669"/>
            <a:ext cx="2182379" cy="1920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7" name="Freeform 5"/>
          <p:cNvSpPr>
            <a:spLocks/>
          </p:cNvSpPr>
          <p:nvPr userDrawn="1"/>
        </p:nvSpPr>
        <p:spPr bwMode="auto">
          <a:xfrm flipH="1">
            <a:off x="4236" y="6635864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0689" tIns="45344" rIns="90689" bIns="45344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9" name="Freeform 5"/>
          <p:cNvSpPr>
            <a:spLocks/>
          </p:cNvSpPr>
          <p:nvPr userDrawn="1"/>
        </p:nvSpPr>
        <p:spPr bwMode="auto">
          <a:xfrm flipH="1">
            <a:off x="4236" y="3272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0689" tIns="45344" rIns="90689" bIns="45344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 userDrawn="1">
            <p:ph type="ctrTitle"/>
          </p:nvPr>
        </p:nvSpPr>
        <p:spPr>
          <a:xfrm>
            <a:off x="437852" y="2238434"/>
            <a:ext cx="6581329" cy="1292662"/>
          </a:xfrm>
          <a:prstGeom prst="rect">
            <a:avLst/>
          </a:prstGeom>
        </p:spPr>
        <p:txBody>
          <a:bodyPr/>
          <a:lstStyle>
            <a:lvl1pPr>
              <a:defRPr sz="4200" b="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dirty="0" smtClean="0"/>
              <a:t>Click </a:t>
            </a:r>
            <a:r>
              <a:rPr lang="pt-BR" noProof="0" dirty="0" err="1" smtClean="0"/>
              <a:t>to</a:t>
            </a:r>
            <a:r>
              <a:rPr lang="pt-BR" noProof="0" dirty="0" smtClean="0"/>
              <a:t> </a:t>
            </a:r>
            <a:r>
              <a:rPr lang="pt-BR" noProof="0" dirty="0" err="1" smtClean="0"/>
              <a:t>edit</a:t>
            </a:r>
            <a:r>
              <a:rPr lang="pt-BR" noProof="0" dirty="0" smtClean="0"/>
              <a:t> Master </a:t>
            </a:r>
            <a:r>
              <a:rPr lang="pt-BR" noProof="0" dirty="0" err="1" smtClean="0"/>
              <a:t>title</a:t>
            </a:r>
            <a:r>
              <a:rPr lang="pt-BR" noProof="0" dirty="0" smtClean="0"/>
              <a:t> </a:t>
            </a:r>
            <a:r>
              <a:rPr lang="pt-BR" noProof="0" dirty="0" err="1" smtClean="0"/>
              <a:t>style</a:t>
            </a:r>
            <a:endParaRPr lang="pt-BR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437852" y="3762850"/>
            <a:ext cx="6450496" cy="482639"/>
          </a:xfrm>
        </p:spPr>
        <p:txBody>
          <a:bodyPr wrap="square">
            <a:spAutoFit/>
          </a:bodyPr>
          <a:lstStyle>
            <a:lvl1pPr>
              <a:defRPr sz="310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smtClean="0"/>
              <a:t>Click to edit Master subtitle style</a:t>
            </a:r>
            <a:endParaRPr lang="pt-BR" noProof="0" dirty="0" smtClean="0"/>
          </a:p>
        </p:txBody>
      </p:sp>
      <p:grpSp>
        <p:nvGrpSpPr>
          <p:cNvPr id="25" name="Group 24"/>
          <p:cNvGrpSpPr/>
          <p:nvPr userDrawn="1"/>
        </p:nvGrpSpPr>
        <p:grpSpPr>
          <a:xfrm>
            <a:off x="8526083" y="2325895"/>
            <a:ext cx="3423031" cy="3656746"/>
            <a:chOff x="5526523" y="2325890"/>
            <a:chExt cx="3423032" cy="3656747"/>
          </a:xfrm>
        </p:grpSpPr>
        <p:sp>
          <p:nvSpPr>
            <p:cNvPr id="26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27" name="Group 26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28" name="Donut 27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29" name="Oval 28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0" name="Oval 29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92484996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63196276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26482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8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211678" y="230280"/>
            <a:ext cx="10903658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US" noProof="0" dirty="0" smtClean="0"/>
            </a:lvl1pPr>
          </a:lstStyle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</p:spTree>
    <p:extLst>
      <p:ext uri="{BB962C8B-B14F-4D97-AF65-F5344CB8AC3E}">
        <p14:creationId xmlns:p14="http://schemas.microsoft.com/office/powerpoint/2010/main" val="325153705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5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21502" y="359002"/>
            <a:ext cx="10306110" cy="307777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324213017"/>
      </p:ext>
    </p:extLst>
  </p:cSld>
  <p:clrMapOvr>
    <a:masterClrMapping/>
  </p:clrMapOvr>
</p:sldLayout>
</file>

<file path=ppt/slideLayouts/slideLayout145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640985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38" y="358955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37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38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573" indent="0">
              <a:buNone/>
              <a:defRPr sz="2700">
                <a:solidFill>
                  <a:schemeClr val="accent3"/>
                </a:solidFill>
              </a:defRPr>
            </a:lvl2pPr>
            <a:lvl3pPr marL="474630" indent="0">
              <a:buNone/>
              <a:defRPr sz="2700">
                <a:solidFill>
                  <a:schemeClr val="accent3"/>
                </a:solidFill>
              </a:defRPr>
            </a:lvl3pPr>
            <a:lvl4pPr marL="703695" indent="0">
              <a:buNone/>
              <a:defRPr sz="2700">
                <a:solidFill>
                  <a:schemeClr val="accent3"/>
                </a:solidFill>
              </a:defRPr>
            </a:lvl4pPr>
            <a:lvl5pPr marL="932760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868119938"/>
      </p:ext>
    </p:extLst>
  </p:cSld>
  <p:clrMapOvr>
    <a:masterClrMapping/>
  </p:clrMapOvr>
</p:sldLayout>
</file>

<file path=ppt/slideLayouts/slideLayout146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422137" y="349419"/>
            <a:ext cx="6749230" cy="254184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704"/>
              </a:lnSpc>
              <a:defRPr sz="4700">
                <a:solidFill>
                  <a:srgbClr val="18C3FF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r>
              <a:rPr lang="en-US" dirty="0" smtClean="0"/>
              <a:t>. LOREM IPSUM DOLOR SIT AMET HAS ID CIBO QUIDAM</a:t>
            </a:r>
            <a:endParaRPr lang="en-US" dirty="0"/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422137" y="3071971"/>
            <a:ext cx="6749230" cy="796308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592592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2592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2592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16376125"/>
      </p:ext>
    </p:extLst>
  </p:cSld>
  <p:clrMapOvr>
    <a:masterClrMapping/>
  </p:clrMapOvr>
</p:sldLayout>
</file>

<file path=ppt/slideLayouts/slideLayout14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462723911"/>
      </p:ext>
    </p:extLst>
  </p:cSld>
  <p:clrMapOvr>
    <a:masterClrMapping/>
  </p:clrMapOvr>
</p:sldLayout>
</file>

<file path=ppt/slideLayouts/slideLayout146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59" y="1573"/>
          <a:ext cx="1555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27506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8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59" y="1573"/>
                        <a:ext cx="1555" cy="155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 userDrawn="1"/>
        </p:nvSpPr>
        <p:spPr>
          <a:xfrm>
            <a:off x="0" y="-58698"/>
            <a:ext cx="11949113" cy="186905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689" tIns="45344" rIns="90689" bIns="45344"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75601" y="228691"/>
            <a:ext cx="11491891" cy="30777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69877331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146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3666846802"/>
      </p:ext>
    </p:extLst>
  </p:cSld>
  <p:clrMapOvr>
    <a:masterClrMapping/>
  </p:clrMapOvr>
</p:sldLayout>
</file>

<file path=ppt/slideLayouts/slideLayout146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9921670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46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3855090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4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327187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4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8969481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4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046810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4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1437619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37" y="1854632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80438619"/>
      </p:ext>
    </p:extLst>
  </p:cSld>
  <p:clrMapOvr>
    <a:masterClrMapping/>
  </p:clrMapOvr>
</p:sldLayout>
</file>

<file path=ppt/slideLayouts/slideLayout14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3380225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4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EA288C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3587502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4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6D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6016172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4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A02B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2101861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4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4242538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4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7615607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4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3943207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4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2859169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4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1264329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4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EA288C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1509398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39873540"/>
      </p:ext>
    </p:extLst>
  </p:cSld>
  <p:clrMapOvr>
    <a:masterClrMapping/>
  </p:clrMapOvr>
</p:sldLayout>
</file>

<file path=ppt/slideLayouts/slideLayout14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6D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8528637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4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A02B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2410311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4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54" y="358969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53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54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240" indent="0">
              <a:buNone/>
              <a:defRPr sz="2700">
                <a:solidFill>
                  <a:schemeClr val="accent3"/>
                </a:solidFill>
              </a:defRPr>
            </a:lvl2pPr>
            <a:lvl3pPr marL="473988" indent="0">
              <a:buNone/>
              <a:defRPr sz="2700">
                <a:solidFill>
                  <a:schemeClr val="accent3"/>
                </a:solidFill>
              </a:defRPr>
            </a:lvl3pPr>
            <a:lvl4pPr marL="702739" indent="0">
              <a:buNone/>
              <a:defRPr sz="2700">
                <a:solidFill>
                  <a:schemeClr val="accent3"/>
                </a:solidFill>
              </a:defRPr>
            </a:lvl4pPr>
            <a:lvl5pPr marL="931495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3874794908"/>
      </p:ext>
    </p:extLst>
  </p:cSld>
  <p:clrMapOvr>
    <a:masterClrMapping/>
  </p:clrMapOvr>
</p:sldLayout>
</file>

<file path=ppt/slideLayouts/slideLayout14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53" y="1854632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19953916"/>
      </p:ext>
    </p:extLst>
  </p:cSld>
  <p:clrMapOvr>
    <a:masterClrMapping/>
  </p:clrMapOvr>
</p:sldLayout>
</file>

<file path=ppt/slideLayouts/slideLayout14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95510176"/>
      </p:ext>
    </p:extLst>
  </p:cSld>
  <p:clrMapOvr>
    <a:masterClrMapping/>
  </p:clrMapOvr>
</p:sldLayout>
</file>

<file path=ppt/slideLayouts/slideLayout14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80" y="1854632"/>
            <a:ext cx="5080446" cy="451832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854704"/>
            <a:ext cx="5080448" cy="451832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2054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240" indent="0">
              <a:buNone/>
              <a:defRPr sz="2700">
                <a:solidFill>
                  <a:schemeClr val="accent3"/>
                </a:solidFill>
              </a:defRPr>
            </a:lvl2pPr>
            <a:lvl3pPr marL="473988" indent="0">
              <a:buNone/>
              <a:defRPr sz="2700">
                <a:solidFill>
                  <a:schemeClr val="accent3"/>
                </a:solidFill>
              </a:defRPr>
            </a:lvl3pPr>
            <a:lvl4pPr marL="702739" indent="0">
              <a:buNone/>
              <a:defRPr sz="2700">
                <a:solidFill>
                  <a:schemeClr val="accent3"/>
                </a:solidFill>
              </a:defRPr>
            </a:lvl4pPr>
            <a:lvl5pPr marL="931495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376490430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14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20" y="358938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20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20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933" indent="0">
              <a:buNone/>
              <a:defRPr sz="2700">
                <a:solidFill>
                  <a:schemeClr val="accent3"/>
                </a:solidFill>
              </a:defRPr>
            </a:lvl2pPr>
            <a:lvl3pPr marL="475329" indent="0">
              <a:buNone/>
              <a:defRPr sz="2700">
                <a:solidFill>
                  <a:schemeClr val="accent3"/>
                </a:solidFill>
              </a:defRPr>
            </a:lvl3pPr>
            <a:lvl4pPr marL="704729" indent="0">
              <a:buNone/>
              <a:defRPr sz="2700">
                <a:solidFill>
                  <a:schemeClr val="accent3"/>
                </a:solidFill>
              </a:defRPr>
            </a:lvl4pPr>
            <a:lvl5pPr marL="934136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853759461"/>
      </p:ext>
    </p:extLst>
  </p:cSld>
  <p:clrMapOvr>
    <a:masterClrMapping/>
  </p:clrMapOvr>
</p:sldLayout>
</file>

<file path=ppt/slideLayouts/slideLayout14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20" y="1854632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33926990"/>
      </p:ext>
    </p:extLst>
  </p:cSld>
  <p:clrMapOvr>
    <a:masterClrMapping/>
  </p:clrMapOvr>
</p:sldLayout>
</file>

<file path=ppt/slideLayouts/slideLayout14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1791035"/>
      </p:ext>
    </p:extLst>
  </p:cSld>
  <p:clrMapOvr>
    <a:masterClrMapping/>
  </p:clrMapOvr>
</p:sldLayout>
</file>

<file path=ppt/slideLayouts/slideLayout14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80" y="1854632"/>
            <a:ext cx="5080446" cy="451832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854672"/>
            <a:ext cx="5080448" cy="451832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2020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933" indent="0">
              <a:buNone/>
              <a:defRPr sz="2700">
                <a:solidFill>
                  <a:schemeClr val="accent3"/>
                </a:solidFill>
              </a:defRPr>
            </a:lvl2pPr>
            <a:lvl3pPr marL="475329" indent="0">
              <a:buNone/>
              <a:defRPr sz="2700">
                <a:solidFill>
                  <a:schemeClr val="accent3"/>
                </a:solidFill>
              </a:defRPr>
            </a:lvl3pPr>
            <a:lvl4pPr marL="704729" indent="0">
              <a:buNone/>
              <a:defRPr sz="2700">
                <a:solidFill>
                  <a:schemeClr val="accent3"/>
                </a:solidFill>
              </a:defRPr>
            </a:lvl4pPr>
            <a:lvl5pPr marL="934136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51901583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80" y="1854632"/>
            <a:ext cx="5080446" cy="451832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854690"/>
            <a:ext cx="5080448" cy="451832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2038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573" indent="0">
              <a:buNone/>
              <a:defRPr sz="2700">
                <a:solidFill>
                  <a:schemeClr val="accent3"/>
                </a:solidFill>
              </a:defRPr>
            </a:lvl2pPr>
            <a:lvl3pPr marL="474630" indent="0">
              <a:buNone/>
              <a:defRPr sz="2700">
                <a:solidFill>
                  <a:schemeClr val="accent3"/>
                </a:solidFill>
              </a:defRPr>
            </a:lvl3pPr>
            <a:lvl4pPr marL="703695" indent="0">
              <a:buNone/>
              <a:defRPr sz="2700">
                <a:solidFill>
                  <a:schemeClr val="accent3"/>
                </a:solidFill>
              </a:defRPr>
            </a:lvl4pPr>
            <a:lvl5pPr marL="932760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370910015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14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84" y="359001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83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84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4604" indent="0">
              <a:buNone/>
              <a:defRPr sz="2700">
                <a:solidFill>
                  <a:schemeClr val="accent3"/>
                </a:solidFill>
              </a:defRPr>
            </a:lvl2pPr>
            <a:lvl3pPr marL="472756" indent="0">
              <a:buNone/>
              <a:defRPr sz="2700">
                <a:solidFill>
                  <a:schemeClr val="accent3"/>
                </a:solidFill>
              </a:defRPr>
            </a:lvl3pPr>
            <a:lvl4pPr marL="700913" indent="0">
              <a:buNone/>
              <a:defRPr sz="2700">
                <a:solidFill>
                  <a:schemeClr val="accent3"/>
                </a:solidFill>
              </a:defRPr>
            </a:lvl4pPr>
            <a:lvl5pPr marL="929070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4076653905"/>
      </p:ext>
    </p:extLst>
  </p:cSld>
  <p:clrMapOvr>
    <a:masterClrMapping/>
  </p:clrMapOvr>
</p:sldLayout>
</file>

<file path=ppt/slideLayouts/slideLayout14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83" y="1854632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02363646"/>
      </p:ext>
    </p:extLst>
  </p:cSld>
  <p:clrMapOvr>
    <a:masterClrMapping/>
  </p:clrMapOvr>
</p:sldLayout>
</file>

<file path=ppt/slideLayouts/slideLayout14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05083896"/>
      </p:ext>
    </p:extLst>
  </p:cSld>
  <p:clrMapOvr>
    <a:masterClrMapping/>
  </p:clrMapOvr>
</p:sldLayout>
</file>

<file path=ppt/slideLayouts/slideLayout14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80" y="1854632"/>
            <a:ext cx="5080446" cy="451832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854734"/>
            <a:ext cx="5080448" cy="451832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2084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4604" indent="0">
              <a:buNone/>
              <a:defRPr sz="2700">
                <a:solidFill>
                  <a:schemeClr val="accent3"/>
                </a:solidFill>
              </a:defRPr>
            </a:lvl2pPr>
            <a:lvl3pPr marL="472756" indent="0">
              <a:buNone/>
              <a:defRPr sz="2700">
                <a:solidFill>
                  <a:schemeClr val="accent3"/>
                </a:solidFill>
              </a:defRPr>
            </a:lvl3pPr>
            <a:lvl4pPr marL="700913" indent="0">
              <a:buNone/>
              <a:defRPr sz="2700">
                <a:solidFill>
                  <a:schemeClr val="accent3"/>
                </a:solidFill>
              </a:defRPr>
            </a:lvl4pPr>
            <a:lvl5pPr marL="929070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370953703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149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6851353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4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84" y="359001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83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84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4604" indent="0">
              <a:buNone/>
              <a:defRPr sz="2700">
                <a:solidFill>
                  <a:schemeClr val="accent3"/>
                </a:solidFill>
              </a:defRPr>
            </a:lvl2pPr>
            <a:lvl3pPr marL="472756" indent="0">
              <a:buNone/>
              <a:defRPr sz="2700">
                <a:solidFill>
                  <a:schemeClr val="accent3"/>
                </a:solidFill>
              </a:defRPr>
            </a:lvl3pPr>
            <a:lvl4pPr marL="700913" indent="0">
              <a:buNone/>
              <a:defRPr sz="2700">
                <a:solidFill>
                  <a:schemeClr val="accent3"/>
                </a:solidFill>
              </a:defRPr>
            </a:lvl4pPr>
            <a:lvl5pPr marL="929070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593642098"/>
      </p:ext>
    </p:extLst>
  </p:cSld>
  <p:clrMapOvr>
    <a:masterClrMapping/>
  </p:clrMapOvr>
</p:sldLayout>
</file>

<file path=ppt/slideLayouts/slideLayout14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83" y="1854632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43719439"/>
      </p:ext>
    </p:extLst>
  </p:cSld>
  <p:clrMapOvr>
    <a:masterClrMapping/>
  </p:clrMapOvr>
</p:sldLayout>
</file>

<file path=ppt/slideLayouts/slideLayout14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88690263"/>
      </p:ext>
    </p:extLst>
  </p:cSld>
  <p:clrMapOvr>
    <a:masterClrMapping/>
  </p:clrMapOvr>
</p:sldLayout>
</file>

<file path=ppt/slideLayouts/slideLayout14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80" y="1854632"/>
            <a:ext cx="5080446" cy="451832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854734"/>
            <a:ext cx="5080448" cy="451832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2084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4604" indent="0">
              <a:buNone/>
              <a:defRPr sz="2700">
                <a:solidFill>
                  <a:schemeClr val="accent3"/>
                </a:solidFill>
              </a:defRPr>
            </a:lvl2pPr>
            <a:lvl3pPr marL="472756" indent="0">
              <a:buNone/>
              <a:defRPr sz="2700">
                <a:solidFill>
                  <a:schemeClr val="accent3"/>
                </a:solidFill>
              </a:defRPr>
            </a:lvl3pPr>
            <a:lvl4pPr marL="700913" indent="0">
              <a:buNone/>
              <a:defRPr sz="2700">
                <a:solidFill>
                  <a:schemeClr val="accent3"/>
                </a:solidFill>
              </a:defRPr>
            </a:lvl4pPr>
            <a:lvl5pPr marL="929070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79580085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14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40" y="358956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38" y="1854630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40" y="1290131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543" indent="0">
              <a:buNone/>
              <a:defRPr sz="2700">
                <a:solidFill>
                  <a:schemeClr val="accent3"/>
                </a:solidFill>
              </a:defRPr>
            </a:lvl2pPr>
            <a:lvl3pPr marL="474574" indent="0">
              <a:buNone/>
              <a:defRPr sz="2700">
                <a:solidFill>
                  <a:schemeClr val="accent3"/>
                </a:solidFill>
              </a:defRPr>
            </a:lvl3pPr>
            <a:lvl4pPr marL="703610" indent="0">
              <a:buNone/>
              <a:defRPr sz="2700">
                <a:solidFill>
                  <a:schemeClr val="accent3"/>
                </a:solidFill>
              </a:defRPr>
            </a:lvl4pPr>
            <a:lvl5pPr marL="932649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335547110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21502" y="359015"/>
            <a:ext cx="10306110" cy="307777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980945207"/>
      </p:ext>
    </p:extLst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37" y="358952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36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37" y="819634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601" indent="0">
              <a:buNone/>
              <a:defRPr sz="2700">
                <a:solidFill>
                  <a:schemeClr val="accent3"/>
                </a:solidFill>
              </a:defRPr>
            </a:lvl2pPr>
            <a:lvl3pPr marL="474684" indent="0">
              <a:buNone/>
              <a:defRPr sz="2700">
                <a:solidFill>
                  <a:schemeClr val="accent3"/>
                </a:solidFill>
              </a:defRPr>
            </a:lvl3pPr>
            <a:lvl4pPr marL="703774" indent="0">
              <a:buNone/>
              <a:defRPr sz="2700">
                <a:solidFill>
                  <a:schemeClr val="accent3"/>
                </a:solidFill>
              </a:defRPr>
            </a:lvl4pPr>
            <a:lvl5pPr marL="932866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82289287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38" y="1854630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90264208"/>
      </p:ext>
    </p:extLst>
  </p:cSld>
  <p:clrMapOvr>
    <a:masterClrMapping/>
  </p:clrMapOvr>
</p:sldLayout>
</file>

<file path=ppt/slideLayouts/slideLayout15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20920122"/>
      </p:ext>
    </p:extLst>
  </p:cSld>
  <p:clrMapOvr>
    <a:masterClrMapping/>
  </p:clrMapOvr>
</p:sldLayout>
</file>

<file path=ppt/slideLayouts/slideLayout15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79" y="1854630"/>
            <a:ext cx="5080446" cy="451832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854691"/>
            <a:ext cx="5080448" cy="451832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2040" y="1290131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543" indent="0">
              <a:buNone/>
              <a:defRPr sz="2700">
                <a:solidFill>
                  <a:schemeClr val="accent3"/>
                </a:solidFill>
              </a:defRPr>
            </a:lvl2pPr>
            <a:lvl3pPr marL="474574" indent="0">
              <a:buNone/>
              <a:defRPr sz="2700">
                <a:solidFill>
                  <a:schemeClr val="accent3"/>
                </a:solidFill>
              </a:defRPr>
            </a:lvl3pPr>
            <a:lvl4pPr marL="703610" indent="0">
              <a:buNone/>
              <a:defRPr sz="2700">
                <a:solidFill>
                  <a:schemeClr val="accent3"/>
                </a:solidFill>
              </a:defRPr>
            </a:lvl4pPr>
            <a:lvl5pPr marL="932649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24683184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150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3679913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50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07" y="358924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06" y="1854630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07" y="819634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6235" indent="0">
              <a:buNone/>
              <a:defRPr sz="2700">
                <a:solidFill>
                  <a:schemeClr val="accent3"/>
                </a:solidFill>
              </a:defRPr>
            </a:lvl2pPr>
            <a:lvl3pPr marL="475918" indent="0">
              <a:buNone/>
              <a:defRPr sz="2700">
                <a:solidFill>
                  <a:schemeClr val="accent3"/>
                </a:solidFill>
              </a:defRPr>
            </a:lvl3pPr>
            <a:lvl4pPr marL="705602" indent="0">
              <a:buNone/>
              <a:defRPr sz="2700">
                <a:solidFill>
                  <a:schemeClr val="accent3"/>
                </a:solidFill>
              </a:defRPr>
            </a:lvl4pPr>
            <a:lvl5pPr marL="935294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523984871"/>
      </p:ext>
    </p:extLst>
  </p:cSld>
  <p:clrMapOvr>
    <a:masterClrMapping/>
  </p:clrMapOvr>
</p:sldLayout>
</file>

<file path=ppt/slideLayouts/slideLayout150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047692096"/>
      </p:ext>
    </p:extLst>
  </p:cSld>
  <p:clrMapOvr>
    <a:masterClrMapping/>
  </p:clrMapOvr>
</p:sldLayout>
</file>

<file path=ppt/slideLayouts/slideLayout150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a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2447588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0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5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 userDrawn="1"/>
        </p:nvSpPr>
        <p:spPr>
          <a:xfrm>
            <a:off x="9689505" y="3762877"/>
            <a:ext cx="1194911" cy="896197"/>
          </a:xfrm>
          <a:prstGeom prst="rect">
            <a:avLst/>
          </a:prstGeom>
        </p:spPr>
        <p:txBody>
          <a:bodyPr vert="horz" wrap="none" lIns="119438" tIns="59719" rIns="119438" bIns="59719" rtlCol="0" anchor="ctr">
            <a:noAutofit/>
          </a:bodyPr>
          <a:lstStyle/>
          <a:p>
            <a:pPr marL="373222" indent="-373222">
              <a:buFont typeface="Arial"/>
              <a:buChar char="•"/>
            </a:pPr>
            <a:endParaRPr lang="en-US" sz="2700" dirty="0">
              <a:solidFill>
                <a:srgbClr val="4D4D4D"/>
              </a:solidFill>
              <a:latin typeface="Simplon BP"/>
            </a:endParaRPr>
          </a:p>
        </p:txBody>
      </p:sp>
      <p:sp>
        <p:nvSpPr>
          <p:cNvPr id="13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422135" y="2848723"/>
            <a:ext cx="5577332" cy="1562434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597151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7151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7151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7151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  <p:sp>
        <p:nvSpPr>
          <p:cNvPr id="14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422135" y="1790555"/>
            <a:ext cx="4970423" cy="73342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597151" rtl="0" eaLnBrk="1" fontAlgn="auto" latinLnBrk="0" hangingPunct="1">
              <a:lnSpc>
                <a:spcPts val="2352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 cap="all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715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smtClean="0"/>
              <a:t>has </a:t>
            </a:r>
            <a:br>
              <a:rPr lang="en-US" dirty="0" smtClean="0"/>
            </a:br>
            <a:r>
              <a:rPr lang="en-US" dirty="0" smtClean="0"/>
              <a:t>id </a:t>
            </a:r>
            <a:r>
              <a:rPr lang="en-US" dirty="0" err="1" smtClean="0"/>
              <a:t>cibo</a:t>
            </a:r>
            <a:r>
              <a:rPr lang="en-US" dirty="0" smtClean="0"/>
              <a:t> </a:t>
            </a:r>
            <a:r>
              <a:rPr lang="en-US" dirty="0" err="1" smtClean="0"/>
              <a:t>quidam</a:t>
            </a:r>
            <a:r>
              <a:rPr lang="en-US" dirty="0" smtClean="0"/>
              <a:t> </a:t>
            </a:r>
            <a:r>
              <a:rPr lang="en-US" dirty="0" err="1" smtClean="0"/>
              <a:t>facilis</a:t>
            </a:r>
            <a:endParaRPr lang="en-US" dirty="0"/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422136" y="349331"/>
            <a:ext cx="4970421" cy="123378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704"/>
              </a:lnSpc>
              <a:defRPr sz="4700">
                <a:solidFill>
                  <a:srgbClr val="EA288C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</a:t>
            </a:r>
            <a:br>
              <a:rPr lang="en-US" dirty="0" smtClean="0"/>
            </a:br>
            <a:r>
              <a:rPr lang="en-US" dirty="0" smtClean="0"/>
              <a:t>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05689311"/>
      </p:ext>
    </p:extLst>
  </p:cSld>
  <p:clrMapOvr>
    <a:masterClrMapping/>
  </p:clrMapOvr>
</p:sldLayout>
</file>

<file path=ppt/slideLayouts/slideLayout150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7844296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5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5287704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37" y="358952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37" y="819634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601" indent="0">
              <a:buNone/>
              <a:defRPr sz="2700">
                <a:solidFill>
                  <a:schemeClr val="accent3"/>
                </a:solidFill>
              </a:defRPr>
            </a:lvl2pPr>
            <a:lvl3pPr marL="474684" indent="0">
              <a:buNone/>
              <a:defRPr sz="2700">
                <a:solidFill>
                  <a:schemeClr val="accent3"/>
                </a:solidFill>
              </a:defRPr>
            </a:lvl3pPr>
            <a:lvl4pPr marL="703774" indent="0">
              <a:buNone/>
              <a:defRPr sz="2700">
                <a:solidFill>
                  <a:schemeClr val="accent3"/>
                </a:solidFill>
              </a:defRPr>
            </a:lvl4pPr>
            <a:lvl5pPr marL="932866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17348203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2517668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5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4278915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5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4758752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5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855048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5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EA288C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082797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5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6D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4184527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5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A02B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0414746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5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40" y="358956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38" y="1854630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40" y="1290131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543" indent="0">
              <a:buNone/>
              <a:defRPr sz="2700">
                <a:solidFill>
                  <a:schemeClr val="accent3"/>
                </a:solidFill>
              </a:defRPr>
            </a:lvl2pPr>
            <a:lvl3pPr marL="474574" indent="0">
              <a:buNone/>
              <a:defRPr sz="2700">
                <a:solidFill>
                  <a:schemeClr val="accent3"/>
                </a:solidFill>
              </a:defRPr>
            </a:lvl3pPr>
            <a:lvl4pPr marL="703610" indent="0">
              <a:buNone/>
              <a:defRPr sz="2700">
                <a:solidFill>
                  <a:schemeClr val="accent3"/>
                </a:solidFill>
              </a:defRPr>
            </a:lvl4pPr>
            <a:lvl5pPr marL="932649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66534916"/>
      </p:ext>
    </p:extLst>
  </p:cSld>
  <p:clrMapOvr>
    <a:masterClrMapping/>
  </p:clrMapOvr>
</p:sldLayout>
</file>

<file path=ppt/slideLayouts/slideLayout15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38" y="1854630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71735386"/>
      </p:ext>
    </p:extLst>
  </p:cSld>
  <p:clrMapOvr>
    <a:masterClrMapping/>
  </p:clrMapOvr>
</p:sldLayout>
</file>

<file path=ppt/slideLayouts/slideLayout15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59370866"/>
      </p:ext>
    </p:extLst>
  </p:cSld>
  <p:clrMapOvr>
    <a:masterClrMapping/>
  </p:clrMapOvr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37" y="358952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36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37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601" indent="0">
              <a:buNone/>
              <a:defRPr sz="2700">
                <a:solidFill>
                  <a:schemeClr val="accent3"/>
                </a:solidFill>
              </a:defRPr>
            </a:lvl2pPr>
            <a:lvl3pPr marL="474684" indent="0">
              <a:buNone/>
              <a:defRPr sz="2700">
                <a:solidFill>
                  <a:schemeClr val="accent3"/>
                </a:solidFill>
              </a:defRPr>
            </a:lvl3pPr>
            <a:lvl4pPr marL="703774" indent="0">
              <a:buNone/>
              <a:defRPr sz="2700">
                <a:solidFill>
                  <a:schemeClr val="accent3"/>
                </a:solidFill>
              </a:defRPr>
            </a:lvl4pPr>
            <a:lvl5pPr marL="932866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72897532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79" y="1854630"/>
            <a:ext cx="5080446" cy="451832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854691"/>
            <a:ext cx="5080448" cy="451832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2040" y="1290131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543" indent="0">
              <a:buNone/>
              <a:defRPr sz="2700">
                <a:solidFill>
                  <a:schemeClr val="accent3"/>
                </a:solidFill>
              </a:defRPr>
            </a:lvl2pPr>
            <a:lvl3pPr marL="474574" indent="0">
              <a:buNone/>
              <a:defRPr sz="2700">
                <a:solidFill>
                  <a:schemeClr val="accent3"/>
                </a:solidFill>
              </a:defRPr>
            </a:lvl3pPr>
            <a:lvl4pPr marL="703610" indent="0">
              <a:buNone/>
              <a:defRPr sz="2700">
                <a:solidFill>
                  <a:schemeClr val="accent3"/>
                </a:solidFill>
              </a:defRPr>
            </a:lvl4pPr>
            <a:lvl5pPr marL="932649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57037078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15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7183493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5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07" y="358924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06" y="1854630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07" y="819634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6235" indent="0">
              <a:buNone/>
              <a:defRPr sz="2700">
                <a:solidFill>
                  <a:schemeClr val="accent3"/>
                </a:solidFill>
              </a:defRPr>
            </a:lvl2pPr>
            <a:lvl3pPr marL="475918" indent="0">
              <a:buNone/>
              <a:defRPr sz="2700">
                <a:solidFill>
                  <a:schemeClr val="accent3"/>
                </a:solidFill>
              </a:defRPr>
            </a:lvl3pPr>
            <a:lvl4pPr marL="705602" indent="0">
              <a:buNone/>
              <a:defRPr sz="2700">
                <a:solidFill>
                  <a:schemeClr val="accent3"/>
                </a:solidFill>
              </a:defRPr>
            </a:lvl4pPr>
            <a:lvl5pPr marL="935294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992626668"/>
      </p:ext>
    </p:extLst>
  </p:cSld>
  <p:clrMapOvr>
    <a:masterClrMapping/>
  </p:clrMapOvr>
</p:sldLayout>
</file>

<file path=ppt/slideLayouts/slideLayout152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781983386"/>
      </p:ext>
    </p:extLst>
  </p:cSld>
  <p:clrMapOvr>
    <a:masterClrMapping/>
  </p:clrMapOvr>
</p:sldLayout>
</file>

<file path=ppt/slideLayouts/slideLayout15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a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76240558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5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 userDrawn="1"/>
        </p:nvSpPr>
        <p:spPr>
          <a:xfrm>
            <a:off x="9689505" y="3762877"/>
            <a:ext cx="1194911" cy="896197"/>
          </a:xfrm>
          <a:prstGeom prst="rect">
            <a:avLst/>
          </a:prstGeom>
        </p:spPr>
        <p:txBody>
          <a:bodyPr vert="horz" wrap="none" lIns="119438" tIns="59719" rIns="119438" bIns="59719" rtlCol="0" anchor="ctr">
            <a:noAutofit/>
          </a:bodyPr>
          <a:lstStyle/>
          <a:p>
            <a:pPr marL="373222" indent="-373222">
              <a:buFont typeface="Arial"/>
              <a:buChar char="•"/>
            </a:pPr>
            <a:endParaRPr lang="en-US" sz="2700" dirty="0">
              <a:solidFill>
                <a:srgbClr val="4D4D4D"/>
              </a:solidFill>
              <a:latin typeface="Simplon BP"/>
            </a:endParaRPr>
          </a:p>
        </p:txBody>
      </p:sp>
      <p:sp>
        <p:nvSpPr>
          <p:cNvPr id="13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422135" y="2848723"/>
            <a:ext cx="5577332" cy="1562434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597151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7151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7151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7151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  <p:sp>
        <p:nvSpPr>
          <p:cNvPr id="14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422135" y="1790555"/>
            <a:ext cx="4970423" cy="73342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597151" rtl="0" eaLnBrk="1" fontAlgn="auto" latinLnBrk="0" hangingPunct="1">
              <a:lnSpc>
                <a:spcPts val="2352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 cap="all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715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smtClean="0"/>
              <a:t>has </a:t>
            </a:r>
            <a:br>
              <a:rPr lang="en-US" dirty="0" smtClean="0"/>
            </a:br>
            <a:r>
              <a:rPr lang="en-US" dirty="0" smtClean="0"/>
              <a:t>id </a:t>
            </a:r>
            <a:r>
              <a:rPr lang="en-US" dirty="0" err="1" smtClean="0"/>
              <a:t>cibo</a:t>
            </a:r>
            <a:r>
              <a:rPr lang="en-US" dirty="0" smtClean="0"/>
              <a:t> </a:t>
            </a:r>
            <a:r>
              <a:rPr lang="en-US" dirty="0" err="1" smtClean="0"/>
              <a:t>quidam</a:t>
            </a:r>
            <a:r>
              <a:rPr lang="en-US" dirty="0" smtClean="0"/>
              <a:t> </a:t>
            </a:r>
            <a:r>
              <a:rPr lang="en-US" dirty="0" err="1" smtClean="0"/>
              <a:t>facilis</a:t>
            </a:r>
            <a:endParaRPr lang="en-US" dirty="0"/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422136" y="349331"/>
            <a:ext cx="4970421" cy="123378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704"/>
              </a:lnSpc>
              <a:defRPr sz="4700">
                <a:solidFill>
                  <a:srgbClr val="EA288C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</a:t>
            </a:r>
            <a:br>
              <a:rPr lang="en-US" dirty="0" smtClean="0"/>
            </a:br>
            <a:r>
              <a:rPr lang="en-US" dirty="0" smtClean="0"/>
              <a:t>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03702817"/>
      </p:ext>
    </p:extLst>
  </p:cSld>
  <p:clrMapOvr>
    <a:masterClrMapping/>
  </p:clrMapOvr>
</p:sldLayout>
</file>

<file path=ppt/slideLayouts/slideLayout15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8415416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5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54" y="358969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53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54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240" indent="0">
              <a:buNone/>
              <a:defRPr sz="2700">
                <a:solidFill>
                  <a:schemeClr val="accent3"/>
                </a:solidFill>
              </a:defRPr>
            </a:lvl2pPr>
            <a:lvl3pPr marL="473988" indent="0">
              <a:buNone/>
              <a:defRPr sz="2700">
                <a:solidFill>
                  <a:schemeClr val="accent3"/>
                </a:solidFill>
              </a:defRPr>
            </a:lvl3pPr>
            <a:lvl4pPr marL="702739" indent="0">
              <a:buNone/>
              <a:defRPr sz="2700">
                <a:solidFill>
                  <a:schemeClr val="accent3"/>
                </a:solidFill>
              </a:defRPr>
            </a:lvl4pPr>
            <a:lvl5pPr marL="931495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750379651"/>
      </p:ext>
    </p:extLst>
  </p:cSld>
  <p:clrMapOvr>
    <a:masterClrMapping/>
  </p:clrMapOvr>
</p:sldLayout>
</file>

<file path=ppt/slideLayouts/slideLayout15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53" y="1854632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43100990"/>
      </p:ext>
    </p:extLst>
  </p:cSld>
  <p:clrMapOvr>
    <a:masterClrMapping/>
  </p:clrMapOvr>
</p:sldLayout>
</file>

<file path=ppt/slideLayouts/slideLayout15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15020591"/>
      </p:ext>
    </p:extLst>
  </p:cSld>
  <p:clrMapOvr>
    <a:masterClrMapping/>
  </p:clrMapOvr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36" y="1854632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3488230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80" y="1854632"/>
            <a:ext cx="5080446" cy="451832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854704"/>
            <a:ext cx="5080448" cy="451832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2054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240" indent="0">
              <a:buNone/>
              <a:defRPr sz="2700">
                <a:solidFill>
                  <a:schemeClr val="accent3"/>
                </a:solidFill>
              </a:defRPr>
            </a:lvl2pPr>
            <a:lvl3pPr marL="473988" indent="0">
              <a:buNone/>
              <a:defRPr sz="2700">
                <a:solidFill>
                  <a:schemeClr val="accent3"/>
                </a:solidFill>
              </a:defRPr>
            </a:lvl3pPr>
            <a:lvl4pPr marL="702739" indent="0">
              <a:buNone/>
              <a:defRPr sz="2700">
                <a:solidFill>
                  <a:schemeClr val="accent3"/>
                </a:solidFill>
              </a:defRPr>
            </a:lvl4pPr>
            <a:lvl5pPr marL="931495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400238879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15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54" y="358969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53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54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240" indent="0">
              <a:buNone/>
              <a:defRPr sz="2700">
                <a:solidFill>
                  <a:schemeClr val="accent3"/>
                </a:solidFill>
              </a:defRPr>
            </a:lvl2pPr>
            <a:lvl3pPr marL="473988" indent="0">
              <a:buNone/>
              <a:defRPr sz="2700">
                <a:solidFill>
                  <a:schemeClr val="accent3"/>
                </a:solidFill>
              </a:defRPr>
            </a:lvl3pPr>
            <a:lvl4pPr marL="702739" indent="0">
              <a:buNone/>
              <a:defRPr sz="2700">
                <a:solidFill>
                  <a:schemeClr val="accent3"/>
                </a:solidFill>
              </a:defRPr>
            </a:lvl4pPr>
            <a:lvl5pPr marL="931495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3512164783"/>
      </p:ext>
    </p:extLst>
  </p:cSld>
  <p:clrMapOvr>
    <a:masterClrMapping/>
  </p:clrMapOvr>
</p:sldLayout>
</file>

<file path=ppt/slideLayouts/slideLayout15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53" y="1854632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94263503"/>
      </p:ext>
    </p:extLst>
  </p:cSld>
  <p:clrMapOvr>
    <a:masterClrMapping/>
  </p:clrMapOvr>
</p:sldLayout>
</file>

<file path=ppt/slideLayouts/slideLayout15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8784985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23432" name="Slide do think-cell" r:id="rId4" imgW="270" imgH="270" progId="TCLayout.ActiveDocument.1">
                  <p:embed/>
                </p:oleObj>
              </mc:Choice>
              <mc:Fallback>
                <p:oleObj name="Slide do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49258775"/>
      </p:ext>
    </p:extLst>
  </p:cSld>
  <p:clrMapOvr>
    <a:masterClrMapping/>
  </p:clrMapOvr>
</p:sldLayout>
</file>

<file path=ppt/slideLayouts/slideLayout15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80" y="1854632"/>
            <a:ext cx="5080446" cy="451832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854704"/>
            <a:ext cx="5080448" cy="451832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2054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240" indent="0">
              <a:buNone/>
              <a:defRPr sz="2700">
                <a:solidFill>
                  <a:schemeClr val="accent3"/>
                </a:solidFill>
              </a:defRPr>
            </a:lvl2pPr>
            <a:lvl3pPr marL="473988" indent="0">
              <a:buNone/>
              <a:defRPr sz="2700">
                <a:solidFill>
                  <a:schemeClr val="accent3"/>
                </a:solidFill>
              </a:defRPr>
            </a:lvl3pPr>
            <a:lvl4pPr marL="702739" indent="0">
              <a:buNone/>
              <a:defRPr sz="2700">
                <a:solidFill>
                  <a:schemeClr val="accent3"/>
                </a:solidFill>
              </a:defRPr>
            </a:lvl4pPr>
            <a:lvl5pPr marL="931495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326488686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15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9_Blank">
    <p:bg>
      <p:bgPr>
        <a:gradFill flip="none" rotWithShape="1">
          <a:gsLst>
            <a:gs pos="0">
              <a:srgbClr val="00CEFF">
                <a:alpha val="30000"/>
              </a:srgbClr>
            </a:gs>
            <a:gs pos="80000">
              <a:schemeClr val="bg1"/>
            </a:gs>
          </a:gsLst>
          <a:lin ang="189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422136" y="349326"/>
            <a:ext cx="5909907" cy="70986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704"/>
              </a:lnSpc>
              <a:defRPr sz="4704" baseline="0">
                <a:solidFill>
                  <a:srgbClr val="A02BFF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smtClean="0"/>
              <a:t>Obrigado.</a:t>
            </a:r>
            <a:endParaRPr lang="en-US" dirty="0"/>
          </a:p>
        </p:txBody>
      </p:sp>
      <p:pic>
        <p:nvPicPr>
          <p:cNvPr id="5" name="Picture 4" descr="obrigado-02.png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4926"/>
          <a:stretch/>
        </p:blipFill>
        <p:spPr>
          <a:xfrm>
            <a:off x="1009324" y="-17373"/>
            <a:ext cx="4049938" cy="6738849"/>
          </a:xfrm>
          <a:prstGeom prst="rect">
            <a:avLst/>
          </a:prstGeom>
        </p:spPr>
      </p:pic>
      <p:pic>
        <p:nvPicPr>
          <p:cNvPr id="6" name="Picture 5" descr="obrigado-02.png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1530"/>
          <a:stretch/>
        </p:blipFill>
        <p:spPr>
          <a:xfrm>
            <a:off x="7181538" y="-120700"/>
            <a:ext cx="3456507" cy="67388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05143553"/>
      </p:ext>
    </p:extLst>
  </p:cSld>
  <p:clrMapOvr>
    <a:masterClrMapping/>
  </p:clrMapOvr>
</p:sldLayout>
</file>

<file path=ppt/slideLayouts/slideLayout15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OI Titulo Corpo later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1978" y="358894"/>
            <a:ext cx="5069337" cy="6014060"/>
          </a:xfrm>
        </p:spPr>
        <p:txBody>
          <a:bodyPr/>
          <a:lstStyle>
            <a:lvl1pPr marL="0" marR="0" indent="0" algn="l" defTabSz="597423" rtl="0" eaLnBrk="1" fontAlgn="auto" latinLnBrk="0" hangingPunct="1">
              <a:lnSpc>
                <a:spcPts val="5488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r>
              <a:rPr lang="pt-PT" dirty="0" smtClean="0"/>
              <a:t>Título </a:t>
            </a:r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DOLOR SIT AMET CONSECTETOR LOREM IPSUM INSERIR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256689" y="358894"/>
            <a:ext cx="5080447" cy="601406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597455" y="6371917"/>
            <a:ext cx="10176095" cy="282263"/>
          </a:xfrm>
          <a:prstGeom prst="rect">
            <a:avLst/>
          </a:prstGeom>
        </p:spPr>
        <p:txBody>
          <a:bodyPr/>
          <a:lstStyle/>
          <a:p>
            <a:r>
              <a:rPr lang="pt-BR" dirty="0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0773552" y="6371917"/>
            <a:ext cx="578105" cy="282263"/>
          </a:xfrm>
          <a:prstGeom prst="rect">
            <a:avLst/>
          </a:prstGeom>
        </p:spPr>
        <p:txBody>
          <a:bodyPr/>
          <a:lstStyle/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8613593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15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51" y="358968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50" y="1854630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51" y="1290131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294" indent="0">
              <a:buNone/>
              <a:defRPr sz="2700">
                <a:solidFill>
                  <a:schemeClr val="accent3"/>
                </a:solidFill>
              </a:defRPr>
            </a:lvl2pPr>
            <a:lvl3pPr marL="474092" indent="0">
              <a:buNone/>
              <a:defRPr sz="2700">
                <a:solidFill>
                  <a:schemeClr val="accent3"/>
                </a:solidFill>
              </a:defRPr>
            </a:lvl3pPr>
            <a:lvl4pPr marL="702892" indent="0">
              <a:buNone/>
              <a:defRPr sz="2700">
                <a:solidFill>
                  <a:schemeClr val="accent3"/>
                </a:solidFill>
              </a:defRPr>
            </a:lvl4pPr>
            <a:lvl5pPr marL="931699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792078419"/>
      </p:ext>
    </p:extLst>
  </p:cSld>
  <p:clrMapOvr>
    <a:masterClrMapping/>
  </p:clrMapOvr>
</p:sldLayout>
</file>

<file path=ppt/slideLayouts/slideLayout15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50" y="1854630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72568661"/>
      </p:ext>
    </p:extLst>
  </p:cSld>
  <p:clrMapOvr>
    <a:masterClrMapping/>
  </p:clrMapOvr>
</p:sldLayout>
</file>

<file path=ppt/slideLayouts/slideLayout15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2713323"/>
      </p:ext>
    </p:extLst>
  </p:cSld>
  <p:clrMapOvr>
    <a:masterClrMapping/>
  </p:clrMapOvr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43613926"/>
              </p:ext>
            </p:extLst>
          </p:nvPr>
        </p:nvGraphicFramePr>
        <p:xfrm>
          <a:off x="2077" y="2077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14394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60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77" y="2077"/>
                        <a:ext cx="2074" cy="20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3376988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79" y="1854630"/>
            <a:ext cx="5080446" cy="451832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854703"/>
            <a:ext cx="5080448" cy="451832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2051" y="1290131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294" indent="0">
              <a:buNone/>
              <a:defRPr sz="2700">
                <a:solidFill>
                  <a:schemeClr val="accent3"/>
                </a:solidFill>
              </a:defRPr>
            </a:lvl2pPr>
            <a:lvl3pPr marL="474092" indent="0">
              <a:buNone/>
              <a:defRPr sz="2700">
                <a:solidFill>
                  <a:schemeClr val="accent3"/>
                </a:solidFill>
              </a:defRPr>
            </a:lvl3pPr>
            <a:lvl4pPr marL="702892" indent="0">
              <a:buNone/>
              <a:defRPr sz="2700">
                <a:solidFill>
                  <a:schemeClr val="accent3"/>
                </a:solidFill>
              </a:defRPr>
            </a:lvl4pPr>
            <a:lvl5pPr marL="931699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67854732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15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6511037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5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a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29292587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56458688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44893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67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 userDrawn="1"/>
        </p:nvSpPr>
        <p:spPr bwMode="auto">
          <a:xfrm>
            <a:off x="437849" y="131206"/>
            <a:ext cx="88165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pt-BR" sz="800" b="1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WORKING DRAFT</a:t>
            </a:r>
            <a:endParaRPr lang="pt-BR" sz="800" b="1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256936" y="36518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pt-BR" sz="800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 userDrawn="1"/>
        </p:nvSpPr>
        <p:spPr bwMode="auto">
          <a:xfrm>
            <a:off x="437873" y="286780"/>
            <a:ext cx="3069751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 userDrawn="1"/>
        </p:nvSpPr>
        <p:spPr bwMode="auto">
          <a:xfrm>
            <a:off x="437851" y="443940"/>
            <a:ext cx="270106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8" name="McK Title Elements" hidden="1"/>
          <p:cNvGrpSpPr>
            <a:grpSpLocks/>
          </p:cNvGrpSpPr>
          <p:nvPr userDrawn="1"/>
        </p:nvGrpSpPr>
        <p:grpSpPr bwMode="auto">
          <a:xfrm>
            <a:off x="4" y="21"/>
            <a:ext cx="11944879" cy="6723063"/>
            <a:chOff x="0" y="0"/>
            <a:chExt cx="5643" cy="4235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207" y="3361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ocument typ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207" y="3550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at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1" name="McK Disclaimer"/>
            <p:cNvSpPr>
              <a:spLocks noChangeArrowheads="1"/>
            </p:cNvSpPr>
            <p:nvPr/>
          </p:nvSpPr>
          <p:spPr bwMode="auto">
            <a:xfrm>
              <a:off x="207" y="3963"/>
              <a:ext cx="3226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804449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NFIDENTIAL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D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PRIETARY</a:t>
              </a:r>
              <a:endParaRPr lang="pt-BR" sz="80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  <a:p>
              <a:pPr defTabSz="804449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use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his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aterial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without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pecific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ermission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cKinsey &amp;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mpan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is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trictl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hibited</a:t>
              </a:r>
              <a:endParaRPr lang="pt-BR" sz="8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2" name="TitleBottomPlaceholder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3" name="TitleTopPlaceholder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Rectangle 1189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pic>
        <p:nvPicPr>
          <p:cNvPr id="18" name="TitleBottomBarBW" hidden="1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65667" y="6443669"/>
            <a:ext cx="2182379" cy="1920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7" name="Freeform 5"/>
          <p:cNvSpPr>
            <a:spLocks/>
          </p:cNvSpPr>
          <p:nvPr userDrawn="1"/>
        </p:nvSpPr>
        <p:spPr bwMode="auto">
          <a:xfrm flipH="1">
            <a:off x="4236" y="6635776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388" tIns="45694" rIns="91388" bIns="45694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9" name="Freeform 5"/>
          <p:cNvSpPr>
            <a:spLocks/>
          </p:cNvSpPr>
          <p:nvPr userDrawn="1"/>
        </p:nvSpPr>
        <p:spPr bwMode="auto">
          <a:xfrm flipH="1">
            <a:off x="4236" y="3184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388" tIns="45694" rIns="91388" bIns="45694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 userDrawn="1">
            <p:ph type="ctrTitle"/>
          </p:nvPr>
        </p:nvSpPr>
        <p:spPr>
          <a:xfrm>
            <a:off x="437852" y="2238434"/>
            <a:ext cx="6581329" cy="1292662"/>
          </a:xfrm>
          <a:prstGeom prst="rect">
            <a:avLst/>
          </a:prstGeom>
        </p:spPr>
        <p:txBody>
          <a:bodyPr/>
          <a:lstStyle>
            <a:lvl1pPr>
              <a:defRPr sz="4200" b="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dirty="0" smtClean="0"/>
              <a:t>Click </a:t>
            </a:r>
            <a:r>
              <a:rPr lang="pt-BR" noProof="0" dirty="0" err="1" smtClean="0"/>
              <a:t>to</a:t>
            </a:r>
            <a:r>
              <a:rPr lang="pt-BR" noProof="0" dirty="0" smtClean="0"/>
              <a:t> </a:t>
            </a:r>
            <a:r>
              <a:rPr lang="pt-BR" noProof="0" dirty="0" err="1" smtClean="0"/>
              <a:t>edit</a:t>
            </a:r>
            <a:r>
              <a:rPr lang="pt-BR" noProof="0" dirty="0" smtClean="0"/>
              <a:t> Master </a:t>
            </a:r>
            <a:r>
              <a:rPr lang="pt-BR" noProof="0" dirty="0" err="1" smtClean="0"/>
              <a:t>title</a:t>
            </a:r>
            <a:r>
              <a:rPr lang="pt-BR" noProof="0" dirty="0" smtClean="0"/>
              <a:t> </a:t>
            </a:r>
            <a:r>
              <a:rPr lang="pt-BR" noProof="0" dirty="0" err="1" smtClean="0"/>
              <a:t>style</a:t>
            </a:r>
            <a:endParaRPr lang="pt-BR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437852" y="3762850"/>
            <a:ext cx="6450496" cy="482639"/>
          </a:xfrm>
        </p:spPr>
        <p:txBody>
          <a:bodyPr wrap="square">
            <a:spAutoFit/>
          </a:bodyPr>
          <a:lstStyle>
            <a:lvl1pPr>
              <a:defRPr sz="310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smtClean="0"/>
              <a:t>Click to edit Master subtitle style</a:t>
            </a:r>
            <a:endParaRPr lang="pt-BR" noProof="0" dirty="0" smtClean="0"/>
          </a:p>
        </p:txBody>
      </p:sp>
      <p:grpSp>
        <p:nvGrpSpPr>
          <p:cNvPr id="25" name="Group 24"/>
          <p:cNvGrpSpPr/>
          <p:nvPr userDrawn="1"/>
        </p:nvGrpSpPr>
        <p:grpSpPr>
          <a:xfrm>
            <a:off x="8526083" y="2325895"/>
            <a:ext cx="3423031" cy="3656746"/>
            <a:chOff x="5526523" y="2325890"/>
            <a:chExt cx="3423032" cy="3656747"/>
          </a:xfrm>
        </p:grpSpPr>
        <p:sp>
          <p:nvSpPr>
            <p:cNvPr id="26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27" name="Group 26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28" name="Donut 27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29" name="Oval 28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0" name="Oval 29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20052553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70233384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45917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67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211678" y="230193"/>
            <a:ext cx="10903658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US" noProof="0" dirty="0" smtClean="0"/>
            </a:lvl1pPr>
          </a:lstStyle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</p:spTree>
    <p:extLst>
      <p:ext uri="{BB962C8B-B14F-4D97-AF65-F5344CB8AC3E}">
        <p14:creationId xmlns:p14="http://schemas.microsoft.com/office/powerpoint/2010/main" val="172819467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21502" y="358914"/>
            <a:ext cx="10306110" cy="307777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75126158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519900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5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422137" y="349332"/>
            <a:ext cx="6749230" cy="254184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704"/>
              </a:lnSpc>
              <a:defRPr sz="4700">
                <a:solidFill>
                  <a:srgbClr val="18C3FF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r>
              <a:rPr lang="en-US" dirty="0" smtClean="0"/>
              <a:t>. LOREM IPSUM DOLOR SIT AMET HAS ID CIBO QUIDAM</a:t>
            </a:r>
            <a:endParaRPr lang="en-US" dirty="0"/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422137" y="3071971"/>
            <a:ext cx="6749230" cy="796308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597129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7129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7129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7697317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351446356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59" y="1573"/>
          <a:ext cx="1555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46941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6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59" y="1573"/>
                        <a:ext cx="1555" cy="155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>
          <a:xfrm>
            <a:off x="0" y="6162645"/>
            <a:ext cx="11949113" cy="558832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88" tIns="45694" rIns="91388" bIns="45694"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0" y="-58698"/>
            <a:ext cx="11949113" cy="186905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88" tIns="45694" rIns="91388" bIns="45694"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75514" y="228604"/>
            <a:ext cx="11491891" cy="30777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24389601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orytelling: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80" y="1854632"/>
            <a:ext cx="5080446" cy="451832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854687"/>
            <a:ext cx="5080448" cy="451832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2037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601" indent="0">
              <a:buNone/>
              <a:defRPr sz="2700">
                <a:solidFill>
                  <a:schemeClr val="accent3"/>
                </a:solidFill>
              </a:defRPr>
            </a:lvl2pPr>
            <a:lvl3pPr marL="474684" indent="0">
              <a:buNone/>
              <a:defRPr sz="2700">
                <a:solidFill>
                  <a:schemeClr val="accent3"/>
                </a:solidFill>
              </a:defRPr>
            </a:lvl3pPr>
            <a:lvl4pPr marL="703774" indent="0">
              <a:buNone/>
              <a:defRPr sz="2700">
                <a:solidFill>
                  <a:schemeClr val="accent3"/>
                </a:solidFill>
              </a:defRPr>
            </a:lvl4pPr>
            <a:lvl5pPr marL="932866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4139178590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155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1748763161"/>
      </p:ext>
    </p:extLst>
  </p:cSld>
  <p:clrMapOvr>
    <a:masterClrMapping/>
  </p:clrMapOvr>
</p:sldLayout>
</file>

<file path=ppt/slideLayouts/slideLayout155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2906961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74283220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48989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6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437849" y="131206"/>
            <a:ext cx="88165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pt-BR" sz="800" b="1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WORKING DRAFT</a:t>
            </a:r>
            <a:endParaRPr lang="pt-BR" sz="800" b="1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doc id" hidden="1"/>
          <p:cNvSpPr txBox="1">
            <a:spLocks noChangeArrowheads="1"/>
          </p:cNvSpPr>
          <p:nvPr/>
        </p:nvSpPr>
        <p:spPr bwMode="auto">
          <a:xfrm>
            <a:off x="11256936" y="36518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pt-BR" sz="800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437873" y="286780"/>
            <a:ext cx="3069751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437851" y="443940"/>
            <a:ext cx="270106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8" name="McK Title Elements" hidden="1"/>
          <p:cNvGrpSpPr>
            <a:grpSpLocks/>
          </p:cNvGrpSpPr>
          <p:nvPr/>
        </p:nvGrpSpPr>
        <p:grpSpPr bwMode="auto">
          <a:xfrm>
            <a:off x="4" y="21"/>
            <a:ext cx="11944879" cy="6723063"/>
            <a:chOff x="0" y="0"/>
            <a:chExt cx="5643" cy="4235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207" y="3361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ocument typ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207" y="3550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at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1" name="McK Disclaimer"/>
            <p:cNvSpPr>
              <a:spLocks noChangeArrowheads="1"/>
            </p:cNvSpPr>
            <p:nvPr/>
          </p:nvSpPr>
          <p:spPr bwMode="auto">
            <a:xfrm>
              <a:off x="207" y="3963"/>
              <a:ext cx="3226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804449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NFIDENTIAL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D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PRIETARY</a:t>
              </a:r>
              <a:endParaRPr lang="pt-BR" sz="80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  <a:p>
              <a:pPr defTabSz="804449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use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his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aterial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without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pecific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ermission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cKinsey &amp;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mpan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is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trictl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hibited</a:t>
              </a:r>
              <a:endParaRPr lang="pt-BR" sz="8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2" name="TitleBottomPlaceholder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3" name="TitleTopPlaceholder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Rectangle 1189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pic>
        <p:nvPicPr>
          <p:cNvPr id="18" name="TitleBottomBarBW" hidden="1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65667" y="6443669"/>
            <a:ext cx="2182379" cy="1920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7" name="Freeform 5"/>
          <p:cNvSpPr>
            <a:spLocks/>
          </p:cNvSpPr>
          <p:nvPr/>
        </p:nvSpPr>
        <p:spPr bwMode="auto">
          <a:xfrm flipH="1">
            <a:off x="4236" y="6635776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388" tIns="45694" rIns="91388" bIns="45694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9" name="Freeform 5"/>
          <p:cNvSpPr>
            <a:spLocks/>
          </p:cNvSpPr>
          <p:nvPr/>
        </p:nvSpPr>
        <p:spPr bwMode="auto">
          <a:xfrm flipH="1">
            <a:off x="4236" y="3184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388" tIns="45694" rIns="91388" bIns="45694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437852" y="2238434"/>
            <a:ext cx="6581329" cy="1292662"/>
          </a:xfrm>
          <a:prstGeom prst="rect">
            <a:avLst/>
          </a:prstGeom>
        </p:spPr>
        <p:txBody>
          <a:bodyPr/>
          <a:lstStyle>
            <a:lvl1pPr>
              <a:defRPr sz="4200" b="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dirty="0" smtClean="0"/>
              <a:t>Click </a:t>
            </a:r>
            <a:r>
              <a:rPr lang="pt-BR" noProof="0" dirty="0" err="1" smtClean="0"/>
              <a:t>to</a:t>
            </a:r>
            <a:r>
              <a:rPr lang="pt-BR" noProof="0" dirty="0" smtClean="0"/>
              <a:t> </a:t>
            </a:r>
            <a:r>
              <a:rPr lang="pt-BR" noProof="0" dirty="0" err="1" smtClean="0"/>
              <a:t>edit</a:t>
            </a:r>
            <a:r>
              <a:rPr lang="pt-BR" noProof="0" dirty="0" smtClean="0"/>
              <a:t> Master </a:t>
            </a:r>
            <a:r>
              <a:rPr lang="pt-BR" noProof="0" dirty="0" err="1" smtClean="0"/>
              <a:t>title</a:t>
            </a:r>
            <a:r>
              <a:rPr lang="pt-BR" noProof="0" dirty="0" smtClean="0"/>
              <a:t> </a:t>
            </a:r>
            <a:r>
              <a:rPr lang="pt-BR" noProof="0" dirty="0" err="1" smtClean="0"/>
              <a:t>style</a:t>
            </a:r>
            <a:endParaRPr lang="pt-BR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437852" y="3762850"/>
            <a:ext cx="6450496" cy="482639"/>
          </a:xfrm>
        </p:spPr>
        <p:txBody>
          <a:bodyPr wrap="square">
            <a:spAutoFit/>
          </a:bodyPr>
          <a:lstStyle>
            <a:lvl1pPr>
              <a:defRPr sz="310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smtClean="0"/>
              <a:t>Click to edit Master subtitle style</a:t>
            </a:r>
            <a:endParaRPr lang="pt-BR" noProof="0" dirty="0" smtClean="0"/>
          </a:p>
        </p:txBody>
      </p:sp>
      <p:grpSp>
        <p:nvGrpSpPr>
          <p:cNvPr id="25" name="Group 24"/>
          <p:cNvGrpSpPr/>
          <p:nvPr/>
        </p:nvGrpSpPr>
        <p:grpSpPr>
          <a:xfrm>
            <a:off x="8526083" y="2325895"/>
            <a:ext cx="3423031" cy="3656746"/>
            <a:chOff x="5526523" y="2325890"/>
            <a:chExt cx="3423032" cy="3656747"/>
          </a:xfrm>
        </p:grpSpPr>
        <p:sp>
          <p:nvSpPr>
            <p:cNvPr id="26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27" name="Group 26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28" name="Donut 27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29" name="Oval 28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0" name="Oval 29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661228961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ftr="0" dt="0"/>
</p:sldLayout>
</file>

<file path=ppt/slideLayouts/slideLayout15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84641740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0013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6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211678" y="230193"/>
            <a:ext cx="10903658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US" noProof="0" dirty="0" smtClean="0"/>
            </a:lvl1pPr>
          </a:lstStyle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</p:spTree>
    <p:extLst>
      <p:ext uri="{BB962C8B-B14F-4D97-AF65-F5344CB8AC3E}">
        <p14:creationId xmlns:p14="http://schemas.microsoft.com/office/powerpoint/2010/main" val="698040706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ftr="0" dt="0"/>
</p:sldLayout>
</file>

<file path=ppt/slideLayouts/slideLayout155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21502" y="358914"/>
            <a:ext cx="10306110" cy="307777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816269624"/>
      </p:ext>
    </p:extLst>
  </p:cSld>
  <p:clrMapOvr>
    <a:masterClrMapping/>
  </p:clrMapOvr>
  <p:hf sldNum="0" hdr="0" ftr="0" dt="0"/>
</p:sldLayout>
</file>

<file path=ppt/slideLayouts/slideLayout155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269008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hf sldNum="0" hdr="0" ftr="0" dt="0"/>
</p:sldLayout>
</file>

<file path=ppt/slideLayouts/slideLayout155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422137" y="349332"/>
            <a:ext cx="6749230" cy="254184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704"/>
              </a:lnSpc>
              <a:defRPr sz="4700">
                <a:solidFill>
                  <a:srgbClr val="18C3FF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r>
              <a:rPr lang="en-US" dirty="0" smtClean="0"/>
              <a:t>. LOREM IPSUM DOLOR SIT AMET HAS ID CIBO QUIDAM</a:t>
            </a:r>
            <a:endParaRPr lang="en-US" dirty="0"/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422137" y="3071971"/>
            <a:ext cx="6749230" cy="796308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597129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7129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7129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63259182"/>
      </p:ext>
    </p:extLst>
  </p:cSld>
  <p:clrMapOvr>
    <a:masterClrMapping/>
  </p:clrMapOvr>
  <p:hf sldNum="0" hdr="0" ftr="0" dt="0"/>
</p:sldLayout>
</file>

<file path=ppt/slideLayouts/slideLayout15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1440169648"/>
      </p:ext>
    </p:extLst>
  </p:cSld>
  <p:clrMapOvr>
    <a:masterClrMapping/>
  </p:clrMapOvr>
  <p:hf sldNum="0" hdr="0" ftr="0" dt="0"/>
</p:sldLayout>
</file>

<file path=ppt/slideLayouts/slideLayout155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8_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59" y="1573"/>
          <a:ext cx="1555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1037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6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59" y="1573"/>
                        <a:ext cx="1555" cy="155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/>
        </p:nvSpPr>
        <p:spPr>
          <a:xfrm>
            <a:off x="0" y="6162645"/>
            <a:ext cx="11949113" cy="558832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88" tIns="45694" rIns="91388" bIns="45694"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0" y="-58698"/>
            <a:ext cx="11949113" cy="186905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88" tIns="45694" rIns="91388" bIns="45694"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75514" y="228604"/>
            <a:ext cx="11491891" cy="30777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43212917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  <p:hf sldNum="0" hdr="0" ftr="0" dt="0"/>
</p:sldLayout>
</file>

<file path=ppt/slideLayouts/slideLayout155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1742538042"/>
      </p:ext>
    </p:extLst>
  </p:cSld>
  <p:clrMapOvr>
    <a:masterClrMapping/>
  </p:clrMapOvr>
  <p:hf sldNum="0" hdr="0" ftr="0" dt="0"/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0061347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60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32208394"/>
      </p:ext>
    </p:extLst>
  </p:cSld>
  <p:clrMapOvr>
    <a:masterClrMapping/>
  </p:clrMapOvr>
</p:sldLayout>
</file>

<file path=ppt/slideLayouts/slideLayout156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6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9689505" y="3762877"/>
            <a:ext cx="1194911" cy="896197"/>
          </a:xfrm>
          <a:prstGeom prst="rect">
            <a:avLst/>
          </a:prstGeom>
        </p:spPr>
        <p:txBody>
          <a:bodyPr vert="horz" wrap="none" lIns="118931" tIns="59465" rIns="118931" bIns="59465" rtlCol="0" anchor="ctr">
            <a:noAutofit/>
          </a:bodyPr>
          <a:lstStyle/>
          <a:p>
            <a:pPr marL="371608" indent="-371608" defTabSz="594577" fontAlgn="auto">
              <a:spcBef>
                <a:spcPts val="0"/>
              </a:spcBef>
              <a:spcAft>
                <a:spcPts val="0"/>
              </a:spcAft>
              <a:buFont typeface="Arial"/>
              <a:buChar char="•"/>
            </a:pPr>
            <a:endParaRPr lang="en-US" sz="2700" dirty="0">
              <a:solidFill>
                <a:srgbClr val="4D4D4D"/>
              </a:solidFill>
              <a:latin typeface="Simplon BP"/>
            </a:endParaRPr>
          </a:p>
        </p:txBody>
      </p:sp>
      <p:sp>
        <p:nvSpPr>
          <p:cNvPr id="13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422135" y="2848723"/>
            <a:ext cx="5577332" cy="1562434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594577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4577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4577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4577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  <p:sp>
        <p:nvSpPr>
          <p:cNvPr id="14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422135" y="1790555"/>
            <a:ext cx="4970423" cy="73342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594577" rtl="0" eaLnBrk="1" fontAlgn="auto" latinLnBrk="0" hangingPunct="1">
              <a:lnSpc>
                <a:spcPts val="2352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 cap="all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45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smtClean="0"/>
              <a:t>has </a:t>
            </a:r>
            <a:br>
              <a:rPr lang="en-US" dirty="0" smtClean="0"/>
            </a:br>
            <a:r>
              <a:rPr lang="en-US" dirty="0" smtClean="0"/>
              <a:t>id </a:t>
            </a:r>
            <a:r>
              <a:rPr lang="en-US" dirty="0" err="1" smtClean="0"/>
              <a:t>cibo</a:t>
            </a:r>
            <a:r>
              <a:rPr lang="en-US" dirty="0" smtClean="0"/>
              <a:t> </a:t>
            </a:r>
            <a:r>
              <a:rPr lang="en-US" dirty="0" err="1" smtClean="0"/>
              <a:t>quidam</a:t>
            </a:r>
            <a:r>
              <a:rPr lang="en-US" dirty="0" smtClean="0"/>
              <a:t> </a:t>
            </a:r>
            <a:r>
              <a:rPr lang="en-US" dirty="0" err="1" smtClean="0"/>
              <a:t>facilis</a:t>
            </a:r>
            <a:endParaRPr lang="en-US" dirty="0"/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422136" y="349380"/>
            <a:ext cx="5783254" cy="123378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704"/>
              </a:lnSpc>
              <a:defRPr sz="3700">
                <a:solidFill>
                  <a:srgbClr val="EA288C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endParaRPr lang="en-US" dirty="0"/>
          </a:p>
        </p:txBody>
      </p:sp>
      <p:pic>
        <p:nvPicPr>
          <p:cNvPr id="11" name="Picture 8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680" t="18242" r="28666" b="8768"/>
          <a:stretch/>
        </p:blipFill>
        <p:spPr bwMode="auto">
          <a:xfrm>
            <a:off x="10241317" y="322222"/>
            <a:ext cx="1390047" cy="116400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604798943"/>
      </p:ext>
    </p:extLst>
  </p:cSld>
  <p:clrMapOvr>
    <a:masterClrMapping/>
  </p:clrMapOvr>
  <p:hf sldNum="0" hdr="0" ftr="0" dt="0"/>
</p:sldLayout>
</file>

<file path=ppt/slideLayouts/slideLayout156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065903865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ftr="0" dt="0"/>
</p:sldLayout>
</file>

<file path=ppt/slideLayouts/slideLayout15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82891292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5133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67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 userDrawn="1"/>
        </p:nvSpPr>
        <p:spPr bwMode="auto">
          <a:xfrm>
            <a:off x="437849" y="131206"/>
            <a:ext cx="88165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pt-BR" sz="800" b="1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WORKING DRAFT</a:t>
            </a:r>
            <a:endParaRPr lang="pt-BR" sz="800" b="1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256936" y="36518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pt-BR" sz="800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 userDrawn="1"/>
        </p:nvSpPr>
        <p:spPr bwMode="auto">
          <a:xfrm>
            <a:off x="437873" y="286780"/>
            <a:ext cx="3069751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 userDrawn="1"/>
        </p:nvSpPr>
        <p:spPr bwMode="auto">
          <a:xfrm>
            <a:off x="437851" y="443940"/>
            <a:ext cx="270106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8" name="McK Title Elements" hidden="1"/>
          <p:cNvGrpSpPr>
            <a:grpSpLocks/>
          </p:cNvGrpSpPr>
          <p:nvPr userDrawn="1"/>
        </p:nvGrpSpPr>
        <p:grpSpPr bwMode="auto">
          <a:xfrm>
            <a:off x="4" y="21"/>
            <a:ext cx="11944879" cy="6723063"/>
            <a:chOff x="0" y="0"/>
            <a:chExt cx="5643" cy="4235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207" y="3361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ocument typ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207" y="3550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at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1" name="McK Disclaimer"/>
            <p:cNvSpPr>
              <a:spLocks noChangeArrowheads="1"/>
            </p:cNvSpPr>
            <p:nvPr/>
          </p:nvSpPr>
          <p:spPr bwMode="auto">
            <a:xfrm>
              <a:off x="207" y="3963"/>
              <a:ext cx="3226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804449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NFIDENTIAL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D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PRIETARY</a:t>
              </a:r>
              <a:endParaRPr lang="pt-BR" sz="80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  <a:p>
              <a:pPr defTabSz="804449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use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his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aterial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without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pecific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ermission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cKinsey &amp;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mpan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is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trictl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hibited</a:t>
              </a:r>
              <a:endParaRPr lang="pt-BR" sz="8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2" name="TitleBottomPlaceholder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3" name="TitleTopPlaceholder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Rectangle 1189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pic>
        <p:nvPicPr>
          <p:cNvPr id="18" name="TitleBottomBarBW" hidden="1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65667" y="6443669"/>
            <a:ext cx="2182379" cy="1920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7" name="Freeform 5"/>
          <p:cNvSpPr>
            <a:spLocks/>
          </p:cNvSpPr>
          <p:nvPr userDrawn="1"/>
        </p:nvSpPr>
        <p:spPr bwMode="auto">
          <a:xfrm flipH="1">
            <a:off x="4236" y="6635776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388" tIns="45694" rIns="91388" bIns="45694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9" name="Freeform 5"/>
          <p:cNvSpPr>
            <a:spLocks/>
          </p:cNvSpPr>
          <p:nvPr userDrawn="1"/>
        </p:nvSpPr>
        <p:spPr bwMode="auto">
          <a:xfrm flipH="1">
            <a:off x="4236" y="3184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388" tIns="45694" rIns="91388" bIns="45694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 userDrawn="1">
            <p:ph type="ctrTitle"/>
          </p:nvPr>
        </p:nvSpPr>
        <p:spPr>
          <a:xfrm>
            <a:off x="437852" y="2238434"/>
            <a:ext cx="6581329" cy="1292662"/>
          </a:xfrm>
          <a:prstGeom prst="rect">
            <a:avLst/>
          </a:prstGeom>
        </p:spPr>
        <p:txBody>
          <a:bodyPr/>
          <a:lstStyle>
            <a:lvl1pPr>
              <a:defRPr sz="4200" b="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dirty="0" smtClean="0"/>
              <a:t>Click </a:t>
            </a:r>
            <a:r>
              <a:rPr lang="pt-BR" noProof="0" dirty="0" err="1" smtClean="0"/>
              <a:t>to</a:t>
            </a:r>
            <a:r>
              <a:rPr lang="pt-BR" noProof="0" dirty="0" smtClean="0"/>
              <a:t> </a:t>
            </a:r>
            <a:r>
              <a:rPr lang="pt-BR" noProof="0" dirty="0" err="1" smtClean="0"/>
              <a:t>edit</a:t>
            </a:r>
            <a:r>
              <a:rPr lang="pt-BR" noProof="0" dirty="0" smtClean="0"/>
              <a:t> Master </a:t>
            </a:r>
            <a:r>
              <a:rPr lang="pt-BR" noProof="0" dirty="0" err="1" smtClean="0"/>
              <a:t>title</a:t>
            </a:r>
            <a:r>
              <a:rPr lang="pt-BR" noProof="0" dirty="0" smtClean="0"/>
              <a:t> </a:t>
            </a:r>
            <a:r>
              <a:rPr lang="pt-BR" noProof="0" dirty="0" err="1" smtClean="0"/>
              <a:t>style</a:t>
            </a:r>
            <a:endParaRPr lang="pt-BR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437852" y="3762850"/>
            <a:ext cx="6450496" cy="482639"/>
          </a:xfrm>
        </p:spPr>
        <p:txBody>
          <a:bodyPr wrap="square">
            <a:spAutoFit/>
          </a:bodyPr>
          <a:lstStyle>
            <a:lvl1pPr>
              <a:defRPr sz="310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smtClean="0"/>
              <a:t>Click to edit Master subtitle style</a:t>
            </a:r>
            <a:endParaRPr lang="pt-BR" noProof="0" dirty="0" smtClean="0"/>
          </a:p>
        </p:txBody>
      </p:sp>
      <p:grpSp>
        <p:nvGrpSpPr>
          <p:cNvPr id="25" name="Group 24"/>
          <p:cNvGrpSpPr/>
          <p:nvPr userDrawn="1"/>
        </p:nvGrpSpPr>
        <p:grpSpPr>
          <a:xfrm>
            <a:off x="8526083" y="2325895"/>
            <a:ext cx="3423031" cy="3656746"/>
            <a:chOff x="5526523" y="2325890"/>
            <a:chExt cx="3423032" cy="3656747"/>
          </a:xfrm>
        </p:grpSpPr>
        <p:sp>
          <p:nvSpPr>
            <p:cNvPr id="26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27" name="Group 26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28" name="Donut 27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29" name="Oval 28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0" name="Oval 29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88348875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81704402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6157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67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211678" y="230193"/>
            <a:ext cx="10903658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US" noProof="0" dirty="0" smtClean="0"/>
            </a:lvl1pPr>
          </a:lstStyle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  <p:sp>
        <p:nvSpPr>
          <p:cNvPr id="5" name="Slide Number"/>
          <p:cNvSpPr txBox="1">
            <a:spLocks/>
          </p:cNvSpPr>
          <p:nvPr userDrawn="1"/>
        </p:nvSpPr>
        <p:spPr>
          <a:xfrm>
            <a:off x="11394525" y="6426673"/>
            <a:ext cx="278354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pt-BR" smtClean="0">
                <a:solidFill>
                  <a:srgbClr val="000000"/>
                </a:solidFill>
                <a:cs typeface="Arial" panose="020B0604020202020204" pitchFamily="34" charset="0"/>
                <a:sym typeface="Arial" panose="020B0604020202020204" pitchFamily="34" charset="0"/>
              </a:rPr>
              <a:pPr/>
              <a:t>‹nº›</a:t>
            </a:fld>
            <a:endParaRPr lang="pt-BR" dirty="0">
              <a:solidFill>
                <a:srgbClr val="000000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0605072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6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21502" y="358914"/>
            <a:ext cx="10306110" cy="307777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pt-BR"/>
          </a:p>
        </p:txBody>
      </p:sp>
      <p:sp>
        <p:nvSpPr>
          <p:cNvPr id="3" name="Slide Number"/>
          <p:cNvSpPr txBox="1">
            <a:spLocks/>
          </p:cNvSpPr>
          <p:nvPr userDrawn="1"/>
        </p:nvSpPr>
        <p:spPr>
          <a:xfrm>
            <a:off x="11394525" y="6426673"/>
            <a:ext cx="278354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pt-BR" smtClean="0">
                <a:solidFill>
                  <a:srgbClr val="000000"/>
                </a:solidFill>
                <a:cs typeface="Arial" panose="020B0604020202020204" pitchFamily="34" charset="0"/>
                <a:sym typeface="Arial" panose="020B0604020202020204" pitchFamily="34" charset="0"/>
              </a:rPr>
              <a:pPr/>
              <a:t>‹nº›</a:t>
            </a:fld>
            <a:endParaRPr lang="pt-BR" dirty="0">
              <a:solidFill>
                <a:srgbClr val="000000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7448296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6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lide Number"/>
          <p:cNvSpPr txBox="1">
            <a:spLocks/>
          </p:cNvSpPr>
          <p:nvPr userDrawn="1"/>
        </p:nvSpPr>
        <p:spPr>
          <a:xfrm>
            <a:off x="11394525" y="6426673"/>
            <a:ext cx="278354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pt-BR" smtClean="0">
                <a:solidFill>
                  <a:srgbClr val="000000"/>
                </a:solidFill>
                <a:cs typeface="Arial" panose="020B0604020202020204" pitchFamily="34" charset="0"/>
                <a:sym typeface="Arial" panose="020B0604020202020204" pitchFamily="34" charset="0"/>
              </a:rPr>
              <a:pPr/>
              <a:t>‹nº›</a:t>
            </a:fld>
            <a:endParaRPr lang="pt-BR" dirty="0">
              <a:solidFill>
                <a:srgbClr val="000000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064944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56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422137" y="349332"/>
            <a:ext cx="6749230" cy="254184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704"/>
              </a:lnSpc>
              <a:defRPr sz="4700">
                <a:solidFill>
                  <a:srgbClr val="18C3FF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r>
              <a:rPr lang="en-US" dirty="0" smtClean="0"/>
              <a:t>. LOREM IPSUM DOLOR SIT AMET HAS ID CIBO QUIDAM</a:t>
            </a:r>
            <a:endParaRPr lang="en-US" dirty="0"/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422137" y="3071971"/>
            <a:ext cx="6749230" cy="796308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597129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7129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7129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  <p:sp>
        <p:nvSpPr>
          <p:cNvPr id="9" name="Espaço Reservado para Texto 2"/>
          <p:cNvSpPr>
            <a:spLocks noGrp="1"/>
          </p:cNvSpPr>
          <p:nvPr>
            <p:ph type="body" sz="quarter" idx="19" hasCustomPrompt="1"/>
          </p:nvPr>
        </p:nvSpPr>
        <p:spPr>
          <a:xfrm>
            <a:off x="8649528" y="6259815"/>
            <a:ext cx="3041593" cy="402290"/>
          </a:xfrm>
          <a:prstGeom prst="rect">
            <a:avLst/>
          </a:prstGeom>
        </p:spPr>
        <p:txBody>
          <a:bodyPr/>
          <a:lstStyle>
            <a:lvl1pPr marL="0" marR="0" indent="0" algn="l" defTabSz="59712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300">
                <a:solidFill>
                  <a:schemeClr val="bg2"/>
                </a:solidFill>
                <a:latin typeface="+mn-lt"/>
              </a:defRPr>
            </a:lvl1pPr>
            <a:lvl2pPr marL="597129" indent="0">
              <a:buNone/>
              <a:defRPr/>
            </a:lvl2pPr>
            <a:lvl3pPr marL="1194262" indent="0">
              <a:buNone/>
              <a:defRPr/>
            </a:lvl3pPr>
            <a:lvl4pPr marL="1791394" indent="0">
              <a:buNone/>
              <a:defRPr/>
            </a:lvl4pPr>
            <a:lvl5pPr marL="2388523" indent="0">
              <a:buNone/>
              <a:defRPr/>
            </a:lvl5pPr>
          </a:lstStyle>
          <a:p>
            <a:r>
              <a:rPr lang="en-US" dirty="0" smtClean="0">
                <a:latin typeface="+mn-lt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/>
              <a:t>‹nº›</a:t>
            </a:fld>
            <a:endParaRPr lang="en-US" dirty="0">
              <a:latin typeface="Simplon BP Bold"/>
              <a:cs typeface="Simplon BP Bold"/>
            </a:endParaRPr>
          </a:p>
        </p:txBody>
      </p:sp>
      <p:sp>
        <p:nvSpPr>
          <p:cNvPr id="5" name="Slide Number"/>
          <p:cNvSpPr txBox="1">
            <a:spLocks/>
          </p:cNvSpPr>
          <p:nvPr userDrawn="1"/>
        </p:nvSpPr>
        <p:spPr>
          <a:xfrm>
            <a:off x="11394525" y="6426673"/>
            <a:ext cx="278354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pt-BR" smtClean="0">
                <a:solidFill>
                  <a:srgbClr val="000000"/>
                </a:solidFill>
                <a:cs typeface="Arial" panose="020B0604020202020204" pitchFamily="34" charset="0"/>
                <a:sym typeface="Arial" panose="020B0604020202020204" pitchFamily="34" charset="0"/>
              </a:rPr>
              <a:pPr/>
              <a:t>‹nº›</a:t>
            </a:fld>
            <a:endParaRPr lang="pt-BR" dirty="0">
              <a:solidFill>
                <a:srgbClr val="000000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6282110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  <p:sp>
        <p:nvSpPr>
          <p:cNvPr id="3" name="Slide Number"/>
          <p:cNvSpPr txBox="1">
            <a:spLocks/>
          </p:cNvSpPr>
          <p:nvPr userDrawn="1"/>
        </p:nvSpPr>
        <p:spPr>
          <a:xfrm>
            <a:off x="11394525" y="6426673"/>
            <a:ext cx="278354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pt-BR" smtClean="0">
                <a:solidFill>
                  <a:srgbClr val="000000"/>
                </a:solidFill>
                <a:cs typeface="Arial" panose="020B0604020202020204" pitchFamily="34" charset="0"/>
                <a:sym typeface="Arial" panose="020B0604020202020204" pitchFamily="34" charset="0"/>
              </a:rPr>
              <a:pPr/>
              <a:t>‹nº›</a:t>
            </a:fld>
            <a:endParaRPr lang="pt-BR" dirty="0">
              <a:solidFill>
                <a:srgbClr val="000000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7033932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6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59" y="1573"/>
          <a:ext cx="1555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7181" name="Slide do think-cell" r:id="rId5" imgW="0" imgH="0" progId="TCLayout.ActiveDocument.1">
                  <p:embed/>
                </p:oleObj>
              </mc:Choice>
              <mc:Fallback>
                <p:oleObj name="Slide do think-cell" r:id="rId5" imgW="0" imgH="0" progId="TCLayout.ActiveDocument.1">
                  <p:embed/>
                  <p:pic>
                    <p:nvPicPr>
                      <p:cNvPr id="0" name="AutoShape 6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59" y="1573"/>
                        <a:ext cx="1555" cy="155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>
          <a:xfrm>
            <a:off x="0" y="6162645"/>
            <a:ext cx="11949113" cy="558832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88" tIns="45694" rIns="91388" bIns="45694"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0" y="-58698"/>
            <a:ext cx="11949113" cy="186905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88" tIns="45694" rIns="91388" bIns="45694"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75514" y="228604"/>
            <a:ext cx="11491891" cy="30777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 smtClean="0"/>
              <a:t>Click to edit Master title style</a:t>
            </a:r>
            <a:endParaRPr lang="en-GB" dirty="0"/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 bwMode="gray">
          <a:xfrm>
            <a:off x="11419923" y="6508294"/>
            <a:ext cx="16190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fld id="{42C328C1-A84F-4A39-A664-DBA00541A8C6}" type="slidenum">
              <a:rPr sz="800" smtClean="0">
                <a:solidFill>
                  <a:srgbClr val="00CEFF"/>
                </a:solidFill>
              </a:rPr>
              <a:pPr/>
              <a:t>‹nº›</a:t>
            </a:fld>
            <a:endParaRPr sz="800" dirty="0">
              <a:solidFill>
                <a:srgbClr val="00CEFF"/>
              </a:solidFill>
            </a:endParaRPr>
          </a:p>
        </p:txBody>
      </p:sp>
      <p:sp>
        <p:nvSpPr>
          <p:cNvPr id="10" name="SlideLogoText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10272622" y="6508293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184"/>
            <a:r>
              <a:rPr lang="en-US" sz="800" dirty="0" smtClean="0">
                <a:solidFill>
                  <a:srgbClr val="00CEFF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2741337998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96184" y="2088072"/>
            <a:ext cx="10156746" cy="1440761"/>
          </a:xfrm>
        </p:spPr>
        <p:txBody>
          <a:bodyPr/>
          <a:lstStyle/>
          <a:p>
            <a:r>
              <a:rPr lang="x-none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792368" y="3808836"/>
            <a:ext cx="8364379" cy="171771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4578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915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373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7831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289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6747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2056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5663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x-none" smtClean="0"/>
              <a:t>Click to edit Master sub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6745673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7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  <p:sp>
        <p:nvSpPr>
          <p:cNvPr id="3" name="Slide Number"/>
          <p:cNvSpPr txBox="1">
            <a:spLocks/>
          </p:cNvSpPr>
          <p:nvPr userDrawn="1"/>
        </p:nvSpPr>
        <p:spPr>
          <a:xfrm>
            <a:off x="11394525" y="6426673"/>
            <a:ext cx="278354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pt-BR" smtClean="0">
                <a:solidFill>
                  <a:srgbClr val="000000"/>
                </a:solidFill>
                <a:cs typeface="Arial" panose="020B0604020202020204" pitchFamily="34" charset="0"/>
                <a:sym typeface="Arial" panose="020B0604020202020204" pitchFamily="34" charset="0"/>
              </a:rPr>
              <a:pPr/>
              <a:t>‹nº›</a:t>
            </a:fld>
            <a:endParaRPr lang="pt-BR" dirty="0">
              <a:solidFill>
                <a:srgbClr val="000000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22391853"/>
      </p:ext>
    </p:extLst>
  </p:cSld>
  <p:clrMapOvr>
    <a:masterClrMapping/>
  </p:clrMapOvr>
</p:sldLayout>
</file>

<file path=ppt/slideLayouts/slideLayout157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>
          <a:xfrm>
            <a:off x="597456" y="6229821"/>
            <a:ext cx="2788126" cy="357857"/>
          </a:xfrm>
          <a:prstGeom prst="rect">
            <a:avLst/>
          </a:prstGeom>
        </p:spPr>
        <p:txBody>
          <a:bodyPr lIns="91388" tIns="45694" rIns="91388" bIns="45694"/>
          <a:lstStyle/>
          <a:p>
            <a:fld id="{DD75B52F-CD1F-4608-B812-9FBBD7980121}" type="datetimeFigureOut">
              <a:rPr lang="pt-BR" smtClean="0">
                <a:solidFill>
                  <a:srgbClr val="000000"/>
                </a:solidFill>
              </a:rPr>
              <a:pPr/>
              <a:t>11/01/2018</a:t>
            </a:fld>
            <a:endParaRPr lang="pt-BR">
              <a:solidFill>
                <a:srgbClr val="000000"/>
              </a:solidFill>
            </a:endParaRPr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>
          <a:xfrm>
            <a:off x="4082614" y="6229821"/>
            <a:ext cx="3783886" cy="357857"/>
          </a:xfrm>
          <a:prstGeom prst="rect">
            <a:avLst/>
          </a:prstGeom>
        </p:spPr>
        <p:txBody>
          <a:bodyPr lIns="91388" tIns="45694" rIns="91388" bIns="45694"/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>
          <a:xfrm>
            <a:off x="8563531" y="6229821"/>
            <a:ext cx="2788126" cy="357857"/>
          </a:xfrm>
          <a:prstGeom prst="rect">
            <a:avLst/>
          </a:prstGeom>
        </p:spPr>
        <p:txBody>
          <a:bodyPr lIns="91388" tIns="45694" rIns="91388" bIns="45694"/>
          <a:lstStyle/>
          <a:p>
            <a:fld id="{6056DC08-14DA-4149-8E5B-0CB255A9B00E}" type="slidenum">
              <a:rPr lang="pt-BR" smtClean="0">
                <a:solidFill>
                  <a:srgbClr val="000000"/>
                </a:solidFill>
              </a:rPr>
              <a:pPr/>
              <a:t>‹nº›</a:t>
            </a:fld>
            <a:endParaRPr lang="pt-BR">
              <a:solidFill>
                <a:srgbClr val="000000"/>
              </a:solidFill>
            </a:endParaRPr>
          </a:p>
        </p:txBody>
      </p:sp>
      <p:sp>
        <p:nvSpPr>
          <p:cNvPr id="7" name="Slide Number"/>
          <p:cNvSpPr txBox="1">
            <a:spLocks/>
          </p:cNvSpPr>
          <p:nvPr userDrawn="1"/>
        </p:nvSpPr>
        <p:spPr>
          <a:xfrm>
            <a:off x="11394525" y="6426673"/>
            <a:ext cx="278354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pt-BR" smtClean="0">
                <a:solidFill>
                  <a:srgbClr val="000000"/>
                </a:solidFill>
                <a:cs typeface="Arial" panose="020B0604020202020204" pitchFamily="34" charset="0"/>
                <a:sym typeface="Arial" panose="020B0604020202020204" pitchFamily="34" charset="0"/>
              </a:rPr>
              <a:pPr/>
              <a:t>‹nº›</a:t>
            </a:fld>
            <a:endParaRPr lang="pt-BR" dirty="0">
              <a:solidFill>
                <a:srgbClr val="000000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3952285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7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55537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7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a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1260293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7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9689505" y="3762877"/>
            <a:ext cx="1194911" cy="896197"/>
          </a:xfrm>
          <a:prstGeom prst="rect">
            <a:avLst/>
          </a:prstGeom>
        </p:spPr>
        <p:txBody>
          <a:bodyPr vert="horz" wrap="none" lIns="118931" tIns="59465" rIns="118931" bIns="59465" rtlCol="0" anchor="ctr">
            <a:noAutofit/>
          </a:bodyPr>
          <a:lstStyle/>
          <a:p>
            <a:pPr marL="371608" indent="-371608" defTabSz="594577" fontAlgn="auto">
              <a:spcBef>
                <a:spcPts val="0"/>
              </a:spcBef>
              <a:spcAft>
                <a:spcPts val="0"/>
              </a:spcAft>
              <a:buFont typeface="Arial"/>
              <a:buChar char="•"/>
            </a:pPr>
            <a:endParaRPr lang="en-US" sz="2700" dirty="0">
              <a:solidFill>
                <a:srgbClr val="4D4D4D"/>
              </a:solidFill>
              <a:latin typeface="Simplon BP"/>
            </a:endParaRPr>
          </a:p>
        </p:txBody>
      </p:sp>
      <p:sp>
        <p:nvSpPr>
          <p:cNvPr id="13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422135" y="2848723"/>
            <a:ext cx="5577332" cy="1562434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594577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4577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4577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4577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  <p:sp>
        <p:nvSpPr>
          <p:cNvPr id="14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422135" y="1790555"/>
            <a:ext cx="4970423" cy="73342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594577" rtl="0" eaLnBrk="1" fontAlgn="auto" latinLnBrk="0" hangingPunct="1">
              <a:lnSpc>
                <a:spcPts val="2352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 cap="all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45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smtClean="0"/>
              <a:t>has </a:t>
            </a:r>
            <a:br>
              <a:rPr lang="en-US" dirty="0" smtClean="0"/>
            </a:br>
            <a:r>
              <a:rPr lang="en-US" dirty="0" smtClean="0"/>
              <a:t>id </a:t>
            </a:r>
            <a:r>
              <a:rPr lang="en-US" dirty="0" err="1" smtClean="0"/>
              <a:t>cibo</a:t>
            </a:r>
            <a:r>
              <a:rPr lang="en-US" dirty="0" smtClean="0"/>
              <a:t> </a:t>
            </a:r>
            <a:r>
              <a:rPr lang="en-US" dirty="0" err="1" smtClean="0"/>
              <a:t>quidam</a:t>
            </a:r>
            <a:r>
              <a:rPr lang="en-US" dirty="0" smtClean="0"/>
              <a:t> </a:t>
            </a:r>
            <a:r>
              <a:rPr lang="en-US" dirty="0" err="1" smtClean="0"/>
              <a:t>facilis</a:t>
            </a:r>
            <a:endParaRPr lang="en-US" dirty="0"/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422136" y="349380"/>
            <a:ext cx="5783254" cy="123378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704"/>
              </a:lnSpc>
              <a:defRPr sz="3700">
                <a:solidFill>
                  <a:srgbClr val="EA288C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endParaRPr lang="en-US" dirty="0"/>
          </a:p>
        </p:txBody>
      </p:sp>
      <p:pic>
        <p:nvPicPr>
          <p:cNvPr id="11" name="Picture 8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680" t="18242" r="28666" b="8768"/>
          <a:stretch/>
        </p:blipFill>
        <p:spPr bwMode="auto">
          <a:xfrm>
            <a:off x="10241317" y="322222"/>
            <a:ext cx="1390047" cy="116400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739352119"/>
      </p:ext>
    </p:extLst>
  </p:cSld>
  <p:clrMapOvr>
    <a:masterClrMapping/>
  </p:clrMapOvr>
</p:sldLayout>
</file>

<file path=ppt/slideLayouts/slideLayout15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i Capa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27724659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5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Oi Capa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6D00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75950775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5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Oi Capa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02567637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5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Oi Capa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72218785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5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i Capa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38256248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ó image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953415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i Capa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4820780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5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Oi Capa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EA288C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8475975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5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Oi Capa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A02BFF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41076989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5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1982" y="358899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7459" y="6371921"/>
            <a:ext cx="10176095" cy="282263"/>
          </a:xfrm>
          <a:prstGeom prst="rect">
            <a:avLst/>
          </a:prstGeom>
        </p:spPr>
        <p:txBody>
          <a:bodyPr vert="horz" lIns="119445" tIns="59723" rIns="119445" bIns="59723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3552" y="6371921"/>
            <a:ext cx="578105" cy="282263"/>
          </a:xfrm>
          <a:prstGeom prst="rect">
            <a:avLst/>
          </a:prstGeom>
        </p:spPr>
        <p:txBody>
          <a:bodyPr vert="horz" lIns="119445" tIns="59723" rIns="119445" bIns="59723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fld id="{74850952-3374-434C-8FC6-DE28F8CD25B0}" type="slidenum">
              <a:rPr lang="pt-BR" smtClean="0">
                <a:solidFill>
                  <a:srgbClr val="5F5F5F"/>
                </a:solidFill>
              </a:rPr>
              <a:pPr defTabSz="597219" fontAlgn="auto">
                <a:spcBef>
                  <a:spcPts val="0"/>
                </a:spcBef>
                <a:spcAft>
                  <a:spcPts val="0"/>
                </a:spcAft>
              </a:pPr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1982" y="819634"/>
            <a:ext cx="10725159" cy="470918"/>
          </a:xfrm>
          <a:prstGeom prst="rect">
            <a:avLst/>
          </a:prstGeom>
        </p:spPr>
        <p:txBody>
          <a:bodyPr lIns="119445" tIns="59723" rIns="119445" bIns="59723"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6768" indent="0">
              <a:buNone/>
              <a:defRPr sz="2700">
                <a:solidFill>
                  <a:schemeClr val="accent3"/>
                </a:solidFill>
              </a:defRPr>
            </a:lvl2pPr>
            <a:lvl3pPr marL="476946" indent="0">
              <a:buNone/>
              <a:defRPr sz="2700">
                <a:solidFill>
                  <a:schemeClr val="accent3"/>
                </a:solidFill>
              </a:defRPr>
            </a:lvl3pPr>
            <a:lvl4pPr marL="707125" indent="0">
              <a:buNone/>
              <a:defRPr sz="2700">
                <a:solidFill>
                  <a:schemeClr val="accent3"/>
                </a:solidFill>
              </a:defRPr>
            </a:lvl4pPr>
            <a:lvl5pPr marL="937305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48038507"/>
      </p:ext>
    </p:extLst>
  </p:cSld>
  <p:clrMapOvr>
    <a:masterClrMapping/>
  </p:clrMapOvr>
</p:sldLayout>
</file>

<file path=ppt/slideLayouts/slideLayout15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1982" y="358899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1981" y="1854630"/>
            <a:ext cx="10725159" cy="4518324"/>
          </a:xfrm>
          <a:prstGeom prst="rect">
            <a:avLst/>
          </a:prstGeom>
        </p:spPr>
        <p:txBody>
          <a:bodyPr lIns="119445" tIns="59723" rIns="119445" bIns="59723"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7459" y="6371921"/>
            <a:ext cx="10176095" cy="282263"/>
          </a:xfrm>
          <a:prstGeom prst="rect">
            <a:avLst/>
          </a:prstGeom>
        </p:spPr>
        <p:txBody>
          <a:bodyPr vert="horz" lIns="119445" tIns="59723" rIns="119445" bIns="59723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3552" y="6371921"/>
            <a:ext cx="578105" cy="282263"/>
          </a:xfrm>
          <a:prstGeom prst="rect">
            <a:avLst/>
          </a:prstGeom>
        </p:spPr>
        <p:txBody>
          <a:bodyPr vert="horz" lIns="119445" tIns="59723" rIns="119445" bIns="59723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fld id="{74850952-3374-434C-8FC6-DE28F8CD25B0}" type="slidenum">
              <a:rPr lang="pt-BR" smtClean="0">
                <a:solidFill>
                  <a:srgbClr val="5F5F5F"/>
                </a:solidFill>
              </a:rPr>
              <a:pPr defTabSz="597219" fontAlgn="auto">
                <a:spcBef>
                  <a:spcPts val="0"/>
                </a:spcBef>
                <a:spcAft>
                  <a:spcPts val="0"/>
                </a:spcAft>
              </a:pPr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1982" y="819634"/>
            <a:ext cx="10725159" cy="470918"/>
          </a:xfrm>
          <a:prstGeom prst="rect">
            <a:avLst/>
          </a:prstGeom>
        </p:spPr>
        <p:txBody>
          <a:bodyPr lIns="119445" tIns="59723" rIns="119445" bIns="59723"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6768" indent="0">
              <a:buNone/>
              <a:defRPr sz="2700">
                <a:solidFill>
                  <a:schemeClr val="accent3"/>
                </a:solidFill>
              </a:defRPr>
            </a:lvl2pPr>
            <a:lvl3pPr marL="476946" indent="0">
              <a:buNone/>
              <a:defRPr sz="2700">
                <a:solidFill>
                  <a:schemeClr val="accent3"/>
                </a:solidFill>
              </a:defRPr>
            </a:lvl3pPr>
            <a:lvl4pPr marL="707125" indent="0">
              <a:buNone/>
              <a:defRPr sz="2700">
                <a:solidFill>
                  <a:schemeClr val="accent3"/>
                </a:solidFill>
              </a:defRPr>
            </a:lvl4pPr>
            <a:lvl5pPr marL="937305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492376483"/>
      </p:ext>
    </p:extLst>
  </p:cSld>
  <p:clrMapOvr>
    <a:masterClrMapping/>
  </p:clrMapOvr>
</p:sldLayout>
</file>

<file path=ppt/slideLayouts/slideLayout15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m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41375706"/>
              </p:ext>
            </p:extLst>
          </p:nvPr>
        </p:nvGraphicFramePr>
        <p:xfrm>
          <a:off x="2077" y="2077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63323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6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77" y="2077"/>
                        <a:ext cx="2074" cy="20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1984" y="358900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7460" y="6371922"/>
            <a:ext cx="10176095" cy="282263"/>
          </a:xfrm>
          <a:prstGeom prst="rect">
            <a:avLst/>
          </a:prstGeom>
        </p:spPr>
        <p:txBody>
          <a:bodyPr vert="horz" lIns="119431" tIns="59716" rIns="119431" bIns="59716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3552" y="6371922"/>
            <a:ext cx="578105" cy="282263"/>
          </a:xfrm>
          <a:prstGeom prst="rect">
            <a:avLst/>
          </a:prstGeom>
        </p:spPr>
        <p:txBody>
          <a:bodyPr vert="horz" lIns="119431" tIns="59716" rIns="119431" bIns="59716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2762318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mple_bod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1984" y="358900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1982" y="1290363"/>
            <a:ext cx="10725159" cy="5082597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7460" y="6371922"/>
            <a:ext cx="10176095" cy="282263"/>
          </a:xfrm>
          <a:prstGeom prst="rect">
            <a:avLst/>
          </a:prstGeom>
        </p:spPr>
        <p:txBody>
          <a:bodyPr vert="horz" lIns="119431" tIns="59716" rIns="119431" bIns="59716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3552" y="6371922"/>
            <a:ext cx="578105" cy="282263"/>
          </a:xfrm>
          <a:prstGeom prst="rect">
            <a:avLst/>
          </a:prstGeom>
        </p:spPr>
        <p:txBody>
          <a:bodyPr vert="horz" lIns="119431" tIns="59716" rIns="119431" bIns="59716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1363861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mple_bodydou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79" y="1290358"/>
            <a:ext cx="5080446" cy="5082596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290363"/>
            <a:ext cx="5080448" cy="5082597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7460" y="6371922"/>
            <a:ext cx="10176095" cy="282263"/>
          </a:xfrm>
          <a:prstGeom prst="rect">
            <a:avLst/>
          </a:prstGeom>
        </p:spPr>
        <p:txBody>
          <a:bodyPr vert="horz" lIns="119431" tIns="59716" rIns="119431" bIns="59716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3552" y="6371922"/>
            <a:ext cx="578105" cy="282263"/>
          </a:xfrm>
          <a:prstGeom prst="rect">
            <a:avLst/>
          </a:prstGeom>
        </p:spPr>
        <p:txBody>
          <a:bodyPr vert="horz" lIns="119431" tIns="59716" rIns="119431" bIns="59716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83335252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15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02400165"/>
              </p:ext>
            </p:extLst>
          </p:nvPr>
        </p:nvGraphicFramePr>
        <p:xfrm>
          <a:off x="2077" y="2077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64347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6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77" y="2077"/>
                        <a:ext cx="2074" cy="20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1984" y="358900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7460" y="6371922"/>
            <a:ext cx="10176095" cy="282263"/>
          </a:xfrm>
          <a:prstGeom prst="rect">
            <a:avLst/>
          </a:prstGeom>
        </p:spPr>
        <p:txBody>
          <a:bodyPr vert="horz" lIns="119431" tIns="59716" rIns="119431" bIns="59716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3552" y="6371922"/>
            <a:ext cx="578105" cy="282263"/>
          </a:xfrm>
          <a:prstGeom prst="rect">
            <a:avLst/>
          </a:prstGeom>
        </p:spPr>
        <p:txBody>
          <a:bodyPr vert="horz" lIns="119431" tIns="59716" rIns="119431" bIns="59716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5" hasCustomPrompt="1"/>
          </p:nvPr>
        </p:nvSpPr>
        <p:spPr>
          <a:xfrm>
            <a:off x="611984" y="161819"/>
            <a:ext cx="10725159" cy="188783"/>
          </a:xfrm>
        </p:spPr>
        <p:txBody>
          <a:bodyPr anchor="b"/>
          <a:lstStyle>
            <a:lvl1pPr marL="0" indent="0">
              <a:buNone/>
              <a:defRPr b="1">
                <a:solidFill>
                  <a:schemeClr val="tx2"/>
                </a:solidFill>
              </a:defRPr>
            </a:lvl1pPr>
            <a:lvl2pPr marL="246740" indent="0">
              <a:buNone/>
              <a:defRPr b="1"/>
            </a:lvl2pPr>
            <a:lvl3pPr marL="476892" indent="0">
              <a:buNone/>
              <a:defRPr b="1"/>
            </a:lvl3pPr>
            <a:lvl4pPr marL="707045" indent="0">
              <a:buNone/>
              <a:defRPr b="1"/>
            </a:lvl4pPr>
            <a:lvl5pPr marL="937199" indent="0">
              <a:buNone/>
              <a:defRPr b="1"/>
            </a:lvl5pPr>
          </a:lstStyle>
          <a:p>
            <a:pPr lvl="0"/>
            <a:r>
              <a:rPr lang="en-US" dirty="0" smtClean="0"/>
              <a:t>&lt;</a:t>
            </a:r>
            <a:r>
              <a:rPr lang="en-US" dirty="0" err="1" smtClean="0"/>
              <a:t>subtitulo</a:t>
            </a:r>
            <a:r>
              <a:rPr lang="en-US" dirty="0" smtClean="0"/>
              <a:t>&gt;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5014881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_bod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1984" y="358900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1982" y="1290363"/>
            <a:ext cx="10725159" cy="5082597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7460" y="6371922"/>
            <a:ext cx="10176095" cy="282263"/>
          </a:xfrm>
          <a:prstGeom prst="rect">
            <a:avLst/>
          </a:prstGeom>
        </p:spPr>
        <p:txBody>
          <a:bodyPr vert="horz" lIns="119431" tIns="59716" rIns="119431" bIns="59716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3552" y="6371922"/>
            <a:ext cx="578105" cy="282263"/>
          </a:xfrm>
          <a:prstGeom prst="rect">
            <a:avLst/>
          </a:prstGeom>
        </p:spPr>
        <p:txBody>
          <a:bodyPr vert="horz" lIns="119431" tIns="59716" rIns="119431" bIns="59716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5" hasCustomPrompt="1"/>
          </p:nvPr>
        </p:nvSpPr>
        <p:spPr>
          <a:xfrm>
            <a:off x="611984" y="161819"/>
            <a:ext cx="10725159" cy="188783"/>
          </a:xfrm>
        </p:spPr>
        <p:txBody>
          <a:bodyPr anchor="b"/>
          <a:lstStyle>
            <a:lvl1pPr marL="0" indent="0">
              <a:buNone/>
              <a:defRPr b="1">
                <a:solidFill>
                  <a:schemeClr val="tx2"/>
                </a:solidFill>
              </a:defRPr>
            </a:lvl1pPr>
            <a:lvl2pPr marL="246740" indent="0">
              <a:buNone/>
              <a:defRPr b="1"/>
            </a:lvl2pPr>
            <a:lvl3pPr marL="476892" indent="0">
              <a:buNone/>
              <a:defRPr b="1"/>
            </a:lvl3pPr>
            <a:lvl4pPr marL="707045" indent="0">
              <a:buNone/>
              <a:defRPr b="1"/>
            </a:lvl4pPr>
            <a:lvl5pPr marL="937199" indent="0">
              <a:buNone/>
              <a:defRPr b="1"/>
            </a:lvl5pPr>
          </a:lstStyle>
          <a:p>
            <a:pPr lvl="0"/>
            <a:r>
              <a:rPr lang="en-US" dirty="0" smtClean="0"/>
              <a:t>&lt;</a:t>
            </a:r>
            <a:r>
              <a:rPr lang="en-US" dirty="0" err="1" smtClean="0"/>
              <a:t>subtitulo</a:t>
            </a:r>
            <a:r>
              <a:rPr lang="en-US" dirty="0" smtClean="0"/>
              <a:t>&gt;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13602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le &amp;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" name="Shape 66"/>
          <p:cNvSpPr>
            <a:spLocks noGrp="1"/>
          </p:cNvSpPr>
          <p:nvPr>
            <p:ph type="title"/>
          </p:nvPr>
        </p:nvSpPr>
        <p:spPr>
          <a:xfrm>
            <a:off x="875240" y="306320"/>
            <a:ext cx="10198755" cy="1487826"/>
          </a:xfrm>
          <a:prstGeom prst="rect">
            <a:avLst/>
          </a:prstGeom>
        </p:spPr>
        <p:txBody>
          <a:bodyPr/>
          <a:lstStyle>
            <a:lvl1pPr algn="l">
              <a:defRPr b="1">
                <a:latin typeface="Bebas Neue"/>
                <a:ea typeface="Bebas Neue"/>
                <a:cs typeface="Bebas Neue"/>
                <a:sym typeface="Bebas Neue"/>
              </a:defRPr>
            </a:lvl1pPr>
          </a:lstStyle>
          <a:p>
            <a:r>
              <a:t>Title Text</a:t>
            </a:r>
          </a:p>
        </p:txBody>
      </p:sp>
      <p:sp>
        <p:nvSpPr>
          <p:cNvPr id="67" name="Shape 67"/>
          <p:cNvSpPr>
            <a:spLocks noGrp="1"/>
          </p:cNvSpPr>
          <p:nvPr>
            <p:ph type="body" idx="1"/>
          </p:nvPr>
        </p:nvSpPr>
        <p:spPr>
          <a:xfrm>
            <a:off x="875240" y="1794143"/>
            <a:ext cx="10198755" cy="4332200"/>
          </a:xfrm>
          <a:prstGeom prst="rect">
            <a:avLst/>
          </a:prstGeom>
        </p:spPr>
        <p:txBody>
          <a:bodyPr/>
          <a:lstStyle>
            <a:lvl1pPr marL="339576" indent="-339576">
              <a:spcBef>
                <a:spcPts val="1075"/>
              </a:spcBef>
              <a:defRPr sz="2000" b="1">
                <a:latin typeface="Bebas Neue"/>
                <a:ea typeface="Bebas Neue"/>
                <a:cs typeface="Bebas Neue"/>
                <a:sym typeface="Bebas Neue"/>
              </a:defRPr>
            </a:lvl1pPr>
            <a:lvl2pPr>
              <a:spcBef>
                <a:spcPts val="1075"/>
              </a:spcBef>
              <a:defRPr sz="2000" b="1">
                <a:latin typeface="Bebas Neue"/>
                <a:ea typeface="Bebas Neue"/>
                <a:cs typeface="Bebas Neue"/>
                <a:sym typeface="Bebas Neue"/>
              </a:defRPr>
            </a:lvl2pPr>
            <a:lvl3pPr>
              <a:spcBef>
                <a:spcPts val="1075"/>
              </a:spcBef>
              <a:defRPr sz="2000" b="1">
                <a:latin typeface="Bebas Neue"/>
                <a:ea typeface="Bebas Neue"/>
                <a:cs typeface="Bebas Neue"/>
                <a:sym typeface="Bebas Neue"/>
              </a:defRPr>
            </a:lvl3pPr>
            <a:lvl4pPr>
              <a:spcBef>
                <a:spcPts val="1075"/>
              </a:spcBef>
              <a:defRPr sz="2000" b="1">
                <a:latin typeface="Bebas Neue"/>
                <a:ea typeface="Bebas Neue"/>
                <a:cs typeface="Bebas Neue"/>
                <a:sym typeface="Bebas Neue"/>
              </a:defRPr>
            </a:lvl4pPr>
            <a:lvl5pPr>
              <a:spcBef>
                <a:spcPts val="1075"/>
              </a:spcBef>
              <a:defRPr sz="2000" b="1">
                <a:latin typeface="Bebas Neue"/>
                <a:ea typeface="Bebas Neue"/>
                <a:cs typeface="Bebas Neue"/>
                <a:sym typeface="Bebas Neue"/>
              </a:defRPr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68" name="Shape 68"/>
          <p:cNvSpPr>
            <a:spLocks noGrp="1"/>
          </p:cNvSpPr>
          <p:nvPr>
            <p:ph type="sldNum" sz="quarter" idx="2"/>
          </p:nvPr>
        </p:nvSpPr>
        <p:spPr>
          <a:xfrm>
            <a:off x="5790830" y="6375777"/>
            <a:ext cx="355789" cy="295966"/>
          </a:xfrm>
          <a:prstGeom prst="rect">
            <a:avLst/>
          </a:prstGeom>
        </p:spPr>
        <p:txBody>
          <a:bodyPr lIns="91304" tIns="45652" rIns="91304" bIns="45652"/>
          <a:lstStyle/>
          <a:p>
            <a:fld id="{86CB4B4D-7CA3-9044-876B-883B54F8677D}" type="slidenum">
              <a:rPr>
                <a:solidFill>
                  <a:srgbClr val="5F5F5F"/>
                </a:solidFill>
                <a:latin typeface="Helvetica Light"/>
                <a:ea typeface="Helvetica Light"/>
                <a:cs typeface="Helvetica Light"/>
              </a:rPr>
              <a:pPr/>
              <a:t>‹nº›</a:t>
            </a:fld>
            <a:endParaRPr>
              <a:solidFill>
                <a:srgbClr val="5F5F5F"/>
              </a:solidFill>
              <a:latin typeface="Helvetica Light"/>
              <a:ea typeface="Helvetica Light"/>
              <a:cs typeface="Helvetica Light"/>
            </a:endParaRPr>
          </a:p>
        </p:txBody>
      </p:sp>
    </p:spTree>
    <p:extLst>
      <p:ext uri="{BB962C8B-B14F-4D97-AF65-F5344CB8AC3E}">
        <p14:creationId xmlns:p14="http://schemas.microsoft.com/office/powerpoint/2010/main" val="300719974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Layout>
</file>

<file path=ppt/slideLayouts/slideLayout15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_bodydou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79" y="1290358"/>
            <a:ext cx="5080446" cy="5082596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290363"/>
            <a:ext cx="5080448" cy="5082597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7460" y="6371922"/>
            <a:ext cx="10176095" cy="282263"/>
          </a:xfrm>
          <a:prstGeom prst="rect">
            <a:avLst/>
          </a:prstGeom>
        </p:spPr>
        <p:txBody>
          <a:bodyPr vert="horz" lIns="119431" tIns="59716" rIns="119431" bIns="59716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3552" y="6371922"/>
            <a:ext cx="578105" cy="282263"/>
          </a:xfrm>
          <a:prstGeom prst="rect">
            <a:avLst/>
          </a:prstGeom>
        </p:spPr>
        <p:txBody>
          <a:bodyPr vert="horz" lIns="119431" tIns="59716" rIns="119431" bIns="59716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5" hasCustomPrompt="1"/>
          </p:nvPr>
        </p:nvSpPr>
        <p:spPr>
          <a:xfrm>
            <a:off x="611984" y="161819"/>
            <a:ext cx="10725159" cy="188783"/>
          </a:xfrm>
        </p:spPr>
        <p:txBody>
          <a:bodyPr anchor="b"/>
          <a:lstStyle>
            <a:lvl1pPr marL="0" indent="0">
              <a:buNone/>
              <a:defRPr b="1">
                <a:solidFill>
                  <a:schemeClr val="tx2"/>
                </a:solidFill>
              </a:defRPr>
            </a:lvl1pPr>
            <a:lvl2pPr marL="246740" indent="0">
              <a:buNone/>
              <a:defRPr b="1"/>
            </a:lvl2pPr>
            <a:lvl3pPr marL="476892" indent="0">
              <a:buNone/>
              <a:defRPr b="1"/>
            </a:lvl3pPr>
            <a:lvl4pPr marL="707045" indent="0">
              <a:buNone/>
              <a:defRPr b="1"/>
            </a:lvl4pPr>
            <a:lvl5pPr marL="937199" indent="0">
              <a:buNone/>
              <a:defRPr b="1"/>
            </a:lvl5pPr>
          </a:lstStyle>
          <a:p>
            <a:pPr lvl="0"/>
            <a:r>
              <a:rPr lang="en-US" dirty="0" smtClean="0"/>
              <a:t>&lt;</a:t>
            </a:r>
            <a:r>
              <a:rPr lang="en-US" dirty="0" err="1" smtClean="0"/>
              <a:t>subtitulo</a:t>
            </a:r>
            <a:r>
              <a:rPr lang="en-US" dirty="0" smtClean="0"/>
              <a:t>&gt;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72335949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15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t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81376040"/>
              </p:ext>
            </p:extLst>
          </p:nvPr>
        </p:nvGraphicFramePr>
        <p:xfrm>
          <a:off x="2077" y="2077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65371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6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77" y="2077"/>
                        <a:ext cx="2074" cy="20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1984" y="358900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7460" y="6371922"/>
            <a:ext cx="10176095" cy="282263"/>
          </a:xfrm>
          <a:prstGeom prst="rect">
            <a:avLst/>
          </a:prstGeom>
        </p:spPr>
        <p:txBody>
          <a:bodyPr vert="horz" lIns="119431" tIns="59716" rIns="119431" bIns="59716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3552" y="6371922"/>
            <a:ext cx="578105" cy="282263"/>
          </a:xfrm>
          <a:prstGeom prst="rect">
            <a:avLst/>
          </a:prstGeom>
        </p:spPr>
        <p:txBody>
          <a:bodyPr vert="horz" lIns="119431" tIns="59716" rIns="119431" bIns="59716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7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1984" y="819634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6740" indent="0">
              <a:buNone/>
              <a:defRPr sz="2700">
                <a:solidFill>
                  <a:schemeClr val="accent3"/>
                </a:solidFill>
              </a:defRPr>
            </a:lvl2pPr>
            <a:lvl3pPr marL="476892" indent="0">
              <a:buNone/>
              <a:defRPr sz="2700">
                <a:solidFill>
                  <a:schemeClr val="accent3"/>
                </a:solidFill>
              </a:defRPr>
            </a:lvl3pPr>
            <a:lvl4pPr marL="707045" indent="0">
              <a:buNone/>
              <a:defRPr sz="2700">
                <a:solidFill>
                  <a:schemeClr val="accent3"/>
                </a:solidFill>
              </a:defRPr>
            </a:lvl4pPr>
            <a:lvl5pPr marL="937199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414403111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ttom_bod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1984" y="358900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1982" y="1290363"/>
            <a:ext cx="10725159" cy="5082597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7460" y="6371922"/>
            <a:ext cx="10176095" cy="282263"/>
          </a:xfrm>
          <a:prstGeom prst="rect">
            <a:avLst/>
          </a:prstGeom>
        </p:spPr>
        <p:txBody>
          <a:bodyPr vert="horz" lIns="119431" tIns="59716" rIns="119431" bIns="59716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3552" y="6371922"/>
            <a:ext cx="578105" cy="282263"/>
          </a:xfrm>
          <a:prstGeom prst="rect">
            <a:avLst/>
          </a:prstGeom>
        </p:spPr>
        <p:txBody>
          <a:bodyPr vert="horz" lIns="119431" tIns="59716" rIns="119431" bIns="59716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7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1984" y="819634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6740" indent="0">
              <a:buNone/>
              <a:defRPr sz="2700">
                <a:solidFill>
                  <a:schemeClr val="accent3"/>
                </a:solidFill>
              </a:defRPr>
            </a:lvl2pPr>
            <a:lvl3pPr marL="476892" indent="0">
              <a:buNone/>
              <a:defRPr sz="2700">
                <a:solidFill>
                  <a:schemeClr val="accent3"/>
                </a:solidFill>
              </a:defRPr>
            </a:lvl3pPr>
            <a:lvl4pPr marL="707045" indent="0">
              <a:buNone/>
              <a:defRPr sz="2700">
                <a:solidFill>
                  <a:schemeClr val="accent3"/>
                </a:solidFill>
              </a:defRPr>
            </a:lvl4pPr>
            <a:lvl5pPr marL="937199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367334889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ttom_bodydou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79" y="1290358"/>
            <a:ext cx="5080446" cy="5082596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290363"/>
            <a:ext cx="5080448" cy="5082597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7460" y="6371922"/>
            <a:ext cx="10176095" cy="282263"/>
          </a:xfrm>
          <a:prstGeom prst="rect">
            <a:avLst/>
          </a:prstGeom>
        </p:spPr>
        <p:txBody>
          <a:bodyPr vert="horz" lIns="119431" tIns="59716" rIns="119431" bIns="59716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3552" y="6371922"/>
            <a:ext cx="578105" cy="282263"/>
          </a:xfrm>
          <a:prstGeom prst="rect">
            <a:avLst/>
          </a:prstGeom>
        </p:spPr>
        <p:txBody>
          <a:bodyPr vert="horz" lIns="119431" tIns="59716" rIns="119431" bIns="59716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6" hasCustomPrompt="1"/>
          </p:nvPr>
        </p:nvSpPr>
        <p:spPr>
          <a:xfrm>
            <a:off x="611984" y="819634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6740" indent="0">
              <a:buNone/>
              <a:defRPr sz="2700">
                <a:solidFill>
                  <a:schemeClr val="accent3"/>
                </a:solidFill>
              </a:defRPr>
            </a:lvl2pPr>
            <a:lvl3pPr marL="476892" indent="0">
              <a:buNone/>
              <a:defRPr sz="2700">
                <a:solidFill>
                  <a:schemeClr val="accent3"/>
                </a:solidFill>
              </a:defRPr>
            </a:lvl3pPr>
            <a:lvl4pPr marL="707045" indent="0">
              <a:buNone/>
              <a:defRPr sz="2700">
                <a:solidFill>
                  <a:schemeClr val="accent3"/>
                </a:solidFill>
              </a:defRPr>
            </a:lvl4pPr>
            <a:lvl5pPr marL="937199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834235234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15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99454081"/>
              </p:ext>
            </p:extLst>
          </p:nvPr>
        </p:nvGraphicFramePr>
        <p:xfrm>
          <a:off x="2077" y="2077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66395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6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77" y="2077"/>
                        <a:ext cx="2074" cy="20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1984" y="358900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7460" y="6371922"/>
            <a:ext cx="10176095" cy="282263"/>
          </a:xfrm>
          <a:prstGeom prst="rect">
            <a:avLst/>
          </a:prstGeom>
        </p:spPr>
        <p:txBody>
          <a:bodyPr vert="horz" lIns="119431" tIns="59716" rIns="119431" bIns="59716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3552" y="6371922"/>
            <a:ext cx="578105" cy="282263"/>
          </a:xfrm>
          <a:prstGeom prst="rect">
            <a:avLst/>
          </a:prstGeom>
        </p:spPr>
        <p:txBody>
          <a:bodyPr vert="horz" lIns="119431" tIns="59716" rIns="119431" bIns="59716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5" hasCustomPrompt="1"/>
          </p:nvPr>
        </p:nvSpPr>
        <p:spPr>
          <a:xfrm>
            <a:off x="611984" y="161819"/>
            <a:ext cx="10725159" cy="188783"/>
          </a:xfrm>
        </p:spPr>
        <p:txBody>
          <a:bodyPr anchor="b"/>
          <a:lstStyle>
            <a:lvl1pPr marL="0" indent="0">
              <a:buNone/>
              <a:defRPr b="1">
                <a:solidFill>
                  <a:schemeClr val="tx2"/>
                </a:solidFill>
              </a:defRPr>
            </a:lvl1pPr>
            <a:lvl2pPr marL="246740" indent="0">
              <a:buNone/>
              <a:defRPr b="1"/>
            </a:lvl2pPr>
            <a:lvl3pPr marL="476892" indent="0">
              <a:buNone/>
              <a:defRPr b="1"/>
            </a:lvl3pPr>
            <a:lvl4pPr marL="707045" indent="0">
              <a:buNone/>
              <a:defRPr b="1"/>
            </a:lvl4pPr>
            <a:lvl5pPr marL="937199" indent="0">
              <a:buNone/>
              <a:defRPr b="1"/>
            </a:lvl5pPr>
          </a:lstStyle>
          <a:p>
            <a:pPr lvl="0"/>
            <a:r>
              <a:rPr lang="en-US" dirty="0" smtClean="0"/>
              <a:t>&lt;</a:t>
            </a:r>
            <a:r>
              <a:rPr lang="en-US" dirty="0" err="1" smtClean="0"/>
              <a:t>subtitulo</a:t>
            </a:r>
            <a:r>
              <a:rPr lang="en-US" dirty="0" smtClean="0"/>
              <a:t>&gt;</a:t>
            </a:r>
            <a:endParaRPr lang="en-US" dirty="0"/>
          </a:p>
        </p:txBody>
      </p:sp>
      <p:sp>
        <p:nvSpPr>
          <p:cNvPr id="7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1984" y="819634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6740" indent="0">
              <a:buNone/>
              <a:defRPr sz="2700">
                <a:solidFill>
                  <a:schemeClr val="accent3"/>
                </a:solidFill>
              </a:defRPr>
            </a:lvl2pPr>
            <a:lvl3pPr marL="476892" indent="0">
              <a:buNone/>
              <a:defRPr sz="2700">
                <a:solidFill>
                  <a:schemeClr val="accent3"/>
                </a:solidFill>
              </a:defRPr>
            </a:lvl3pPr>
            <a:lvl4pPr marL="707045" indent="0">
              <a:buNone/>
              <a:defRPr sz="2700">
                <a:solidFill>
                  <a:schemeClr val="accent3"/>
                </a:solidFill>
              </a:defRPr>
            </a:lvl4pPr>
            <a:lvl5pPr marL="937199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53745572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_bod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1984" y="358900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1982" y="1290363"/>
            <a:ext cx="10725159" cy="5082597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7460" y="6371922"/>
            <a:ext cx="10176095" cy="282263"/>
          </a:xfrm>
          <a:prstGeom prst="rect">
            <a:avLst/>
          </a:prstGeom>
        </p:spPr>
        <p:txBody>
          <a:bodyPr vert="horz" lIns="119431" tIns="59716" rIns="119431" bIns="59716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3552" y="6371922"/>
            <a:ext cx="578105" cy="282263"/>
          </a:xfrm>
          <a:prstGeom prst="rect">
            <a:avLst/>
          </a:prstGeom>
        </p:spPr>
        <p:txBody>
          <a:bodyPr vert="horz" lIns="119431" tIns="59716" rIns="119431" bIns="59716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5" hasCustomPrompt="1"/>
          </p:nvPr>
        </p:nvSpPr>
        <p:spPr>
          <a:xfrm>
            <a:off x="611984" y="161819"/>
            <a:ext cx="10725159" cy="188783"/>
          </a:xfrm>
        </p:spPr>
        <p:txBody>
          <a:bodyPr anchor="b"/>
          <a:lstStyle>
            <a:lvl1pPr marL="0" indent="0">
              <a:buNone/>
              <a:defRPr b="1">
                <a:solidFill>
                  <a:schemeClr val="tx2"/>
                </a:solidFill>
              </a:defRPr>
            </a:lvl1pPr>
            <a:lvl2pPr marL="246740" indent="0">
              <a:buNone/>
              <a:defRPr b="1"/>
            </a:lvl2pPr>
            <a:lvl3pPr marL="476892" indent="0">
              <a:buNone/>
              <a:defRPr b="1"/>
            </a:lvl3pPr>
            <a:lvl4pPr marL="707045" indent="0">
              <a:buNone/>
              <a:defRPr b="1"/>
            </a:lvl4pPr>
            <a:lvl5pPr marL="937199" indent="0">
              <a:buNone/>
              <a:defRPr b="1"/>
            </a:lvl5pPr>
          </a:lstStyle>
          <a:p>
            <a:pPr lvl="0"/>
            <a:r>
              <a:rPr lang="en-US" dirty="0" smtClean="0"/>
              <a:t>&lt;</a:t>
            </a:r>
            <a:r>
              <a:rPr lang="en-US" dirty="0" err="1" smtClean="0"/>
              <a:t>subtitulo</a:t>
            </a:r>
            <a:r>
              <a:rPr lang="en-US" dirty="0" smtClean="0"/>
              <a:t>&gt;</a:t>
            </a:r>
            <a:endParaRPr lang="en-US" dirty="0"/>
          </a:p>
        </p:txBody>
      </p:sp>
      <p:sp>
        <p:nvSpPr>
          <p:cNvPr id="7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1984" y="819634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6740" indent="0">
              <a:buNone/>
              <a:defRPr sz="2700">
                <a:solidFill>
                  <a:schemeClr val="accent3"/>
                </a:solidFill>
              </a:defRPr>
            </a:lvl2pPr>
            <a:lvl3pPr marL="476892" indent="0">
              <a:buNone/>
              <a:defRPr sz="2700">
                <a:solidFill>
                  <a:schemeClr val="accent3"/>
                </a:solidFill>
              </a:defRPr>
            </a:lvl3pPr>
            <a:lvl4pPr marL="707045" indent="0">
              <a:buNone/>
              <a:defRPr sz="2700">
                <a:solidFill>
                  <a:schemeClr val="accent3"/>
                </a:solidFill>
              </a:defRPr>
            </a:lvl4pPr>
            <a:lvl5pPr marL="937199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347408595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_bodydou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79" y="1290358"/>
            <a:ext cx="5080446" cy="5082596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290363"/>
            <a:ext cx="5080448" cy="5082597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7460" y="6371922"/>
            <a:ext cx="10176095" cy="282263"/>
          </a:xfrm>
          <a:prstGeom prst="rect">
            <a:avLst/>
          </a:prstGeom>
        </p:spPr>
        <p:txBody>
          <a:bodyPr vert="horz" lIns="119431" tIns="59716" rIns="119431" bIns="59716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3552" y="6371922"/>
            <a:ext cx="578105" cy="282263"/>
          </a:xfrm>
          <a:prstGeom prst="rect">
            <a:avLst/>
          </a:prstGeom>
        </p:spPr>
        <p:txBody>
          <a:bodyPr vert="horz" lIns="119431" tIns="59716" rIns="119431" bIns="59716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5" hasCustomPrompt="1"/>
          </p:nvPr>
        </p:nvSpPr>
        <p:spPr>
          <a:xfrm>
            <a:off x="611984" y="161819"/>
            <a:ext cx="10725159" cy="188783"/>
          </a:xfrm>
        </p:spPr>
        <p:txBody>
          <a:bodyPr anchor="b"/>
          <a:lstStyle>
            <a:lvl1pPr marL="0" indent="0">
              <a:buNone/>
              <a:defRPr b="1">
                <a:solidFill>
                  <a:schemeClr val="tx2"/>
                </a:solidFill>
              </a:defRPr>
            </a:lvl1pPr>
            <a:lvl2pPr marL="246740" indent="0">
              <a:buNone/>
              <a:defRPr b="1"/>
            </a:lvl2pPr>
            <a:lvl3pPr marL="476892" indent="0">
              <a:buNone/>
              <a:defRPr b="1"/>
            </a:lvl3pPr>
            <a:lvl4pPr marL="707045" indent="0">
              <a:buNone/>
              <a:defRPr b="1"/>
            </a:lvl4pPr>
            <a:lvl5pPr marL="937199" indent="0">
              <a:buNone/>
              <a:defRPr b="1"/>
            </a:lvl5pPr>
          </a:lstStyle>
          <a:p>
            <a:pPr lvl="0"/>
            <a:r>
              <a:rPr lang="en-US" dirty="0" smtClean="0"/>
              <a:t>&lt;</a:t>
            </a:r>
            <a:r>
              <a:rPr lang="en-US" dirty="0" err="1" smtClean="0"/>
              <a:t>subtitulo</a:t>
            </a:r>
            <a:r>
              <a:rPr lang="en-US" dirty="0" smtClean="0"/>
              <a:t>&gt;</a:t>
            </a:r>
            <a:endParaRPr lang="en-US" dirty="0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6" hasCustomPrompt="1"/>
          </p:nvPr>
        </p:nvSpPr>
        <p:spPr>
          <a:xfrm>
            <a:off x="611984" y="819634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6740" indent="0">
              <a:buNone/>
              <a:defRPr sz="2700">
                <a:solidFill>
                  <a:schemeClr val="accent3"/>
                </a:solidFill>
              </a:defRPr>
            </a:lvl2pPr>
            <a:lvl3pPr marL="476892" indent="0">
              <a:buNone/>
              <a:defRPr sz="2700">
                <a:solidFill>
                  <a:schemeClr val="accent3"/>
                </a:solidFill>
              </a:defRPr>
            </a:lvl3pPr>
            <a:lvl4pPr marL="707045" indent="0">
              <a:buNone/>
              <a:defRPr sz="2700">
                <a:solidFill>
                  <a:schemeClr val="accent3"/>
                </a:solidFill>
              </a:defRPr>
            </a:lvl4pPr>
            <a:lvl5pPr marL="937199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4169508794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159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Meet the te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Picture Placeholder 13"/>
          <p:cNvSpPr>
            <a:spLocks noGrp="1"/>
          </p:cNvSpPr>
          <p:nvPr>
            <p:ph type="pic" sz="quarter" idx="13"/>
          </p:nvPr>
        </p:nvSpPr>
        <p:spPr>
          <a:xfrm>
            <a:off x="9450035" y="3820031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4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8" name="Picture Placeholder 13"/>
          <p:cNvSpPr>
            <a:spLocks noGrp="1"/>
          </p:cNvSpPr>
          <p:nvPr>
            <p:ph type="pic" sz="quarter" idx="14"/>
          </p:nvPr>
        </p:nvSpPr>
        <p:spPr>
          <a:xfrm>
            <a:off x="5336102" y="3820031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4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9" name="Picture Placeholder 13"/>
          <p:cNvSpPr>
            <a:spLocks noGrp="1"/>
          </p:cNvSpPr>
          <p:nvPr>
            <p:ph type="pic" sz="quarter" idx="15"/>
          </p:nvPr>
        </p:nvSpPr>
        <p:spPr>
          <a:xfrm>
            <a:off x="3253108" y="3820031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4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0" name="Picture Placeholder 13"/>
          <p:cNvSpPr>
            <a:spLocks noGrp="1"/>
          </p:cNvSpPr>
          <p:nvPr>
            <p:ph type="pic" sz="quarter" idx="16"/>
          </p:nvPr>
        </p:nvSpPr>
        <p:spPr>
          <a:xfrm>
            <a:off x="1203273" y="3820031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4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1" name="Picture Placeholder 13"/>
          <p:cNvSpPr>
            <a:spLocks noGrp="1"/>
          </p:cNvSpPr>
          <p:nvPr>
            <p:ph type="pic" sz="quarter" idx="17"/>
          </p:nvPr>
        </p:nvSpPr>
        <p:spPr>
          <a:xfrm>
            <a:off x="7385933" y="3820031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4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2" name="Picture Placeholder 13"/>
          <p:cNvSpPr>
            <a:spLocks noGrp="1"/>
          </p:cNvSpPr>
          <p:nvPr>
            <p:ph type="pic" sz="quarter" idx="18"/>
          </p:nvPr>
        </p:nvSpPr>
        <p:spPr>
          <a:xfrm>
            <a:off x="9450035" y="1290552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4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3" name="Picture Placeholder 13"/>
          <p:cNvSpPr>
            <a:spLocks noGrp="1"/>
          </p:cNvSpPr>
          <p:nvPr>
            <p:ph type="pic" sz="quarter" idx="19"/>
          </p:nvPr>
        </p:nvSpPr>
        <p:spPr>
          <a:xfrm>
            <a:off x="5336102" y="1290552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4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4" name="Picture Placeholder 13"/>
          <p:cNvSpPr>
            <a:spLocks noGrp="1"/>
          </p:cNvSpPr>
          <p:nvPr>
            <p:ph type="pic" sz="quarter" idx="20"/>
          </p:nvPr>
        </p:nvSpPr>
        <p:spPr>
          <a:xfrm>
            <a:off x="3253108" y="1290552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4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5" name="Picture Placeholder 13"/>
          <p:cNvSpPr>
            <a:spLocks noGrp="1"/>
          </p:cNvSpPr>
          <p:nvPr>
            <p:ph type="pic" sz="quarter" idx="21"/>
          </p:nvPr>
        </p:nvSpPr>
        <p:spPr>
          <a:xfrm>
            <a:off x="1203273" y="1290552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4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6" name="Picture Placeholder 13"/>
          <p:cNvSpPr>
            <a:spLocks noGrp="1"/>
          </p:cNvSpPr>
          <p:nvPr>
            <p:ph type="pic" sz="quarter" idx="22"/>
          </p:nvPr>
        </p:nvSpPr>
        <p:spPr>
          <a:xfrm>
            <a:off x="7385933" y="1290552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4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Rodapé 2"/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5" name="Text Placeholder 3"/>
          <p:cNvSpPr>
            <a:spLocks noGrp="1"/>
          </p:cNvSpPr>
          <p:nvPr>
            <p:ph type="body" sz="quarter" idx="25" hasCustomPrompt="1"/>
          </p:nvPr>
        </p:nvSpPr>
        <p:spPr>
          <a:xfrm>
            <a:off x="611984" y="161819"/>
            <a:ext cx="10725159" cy="188783"/>
          </a:xfrm>
        </p:spPr>
        <p:txBody>
          <a:bodyPr anchor="b"/>
          <a:lstStyle>
            <a:lvl1pPr marL="0" indent="0">
              <a:buNone/>
              <a:defRPr b="1">
                <a:solidFill>
                  <a:schemeClr val="tx2"/>
                </a:solidFill>
              </a:defRPr>
            </a:lvl1pPr>
            <a:lvl2pPr marL="246740" indent="0">
              <a:buNone/>
              <a:defRPr b="1"/>
            </a:lvl2pPr>
            <a:lvl3pPr marL="476892" indent="0">
              <a:buNone/>
              <a:defRPr b="1"/>
            </a:lvl3pPr>
            <a:lvl4pPr marL="707045" indent="0">
              <a:buNone/>
              <a:defRPr b="1"/>
            </a:lvl4pPr>
            <a:lvl5pPr marL="937199" indent="0">
              <a:buNone/>
              <a:defRPr b="1"/>
            </a:lvl5pPr>
          </a:lstStyle>
          <a:p>
            <a:pPr lvl="0"/>
            <a:r>
              <a:rPr lang="en-US" dirty="0" smtClean="0"/>
              <a:t>&lt;</a:t>
            </a:r>
            <a:r>
              <a:rPr lang="en-US" dirty="0" err="1" smtClean="0"/>
              <a:t>subtitulo</a:t>
            </a:r>
            <a:r>
              <a:rPr lang="en-US" dirty="0" smtClean="0"/>
              <a:t>&gt;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149958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14:reveal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5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Meet the te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Picture Placeholder 13"/>
          <p:cNvSpPr>
            <a:spLocks noGrp="1"/>
          </p:cNvSpPr>
          <p:nvPr>
            <p:ph type="pic" sz="quarter" idx="13"/>
          </p:nvPr>
        </p:nvSpPr>
        <p:spPr>
          <a:xfrm>
            <a:off x="9450035" y="2758553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4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8" name="Picture Placeholder 13"/>
          <p:cNvSpPr>
            <a:spLocks noGrp="1"/>
          </p:cNvSpPr>
          <p:nvPr>
            <p:ph type="pic" sz="quarter" idx="14"/>
          </p:nvPr>
        </p:nvSpPr>
        <p:spPr>
          <a:xfrm>
            <a:off x="5336102" y="2758553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4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9" name="Picture Placeholder 13"/>
          <p:cNvSpPr>
            <a:spLocks noGrp="1"/>
          </p:cNvSpPr>
          <p:nvPr>
            <p:ph type="pic" sz="quarter" idx="15"/>
          </p:nvPr>
        </p:nvSpPr>
        <p:spPr>
          <a:xfrm>
            <a:off x="3253108" y="2758553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4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0" name="Picture Placeholder 13"/>
          <p:cNvSpPr>
            <a:spLocks noGrp="1"/>
          </p:cNvSpPr>
          <p:nvPr>
            <p:ph type="pic" sz="quarter" idx="16"/>
          </p:nvPr>
        </p:nvSpPr>
        <p:spPr>
          <a:xfrm>
            <a:off x="1203273" y="2758553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4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1" name="Picture Placeholder 13"/>
          <p:cNvSpPr>
            <a:spLocks noGrp="1"/>
          </p:cNvSpPr>
          <p:nvPr>
            <p:ph type="pic" sz="quarter" idx="17"/>
          </p:nvPr>
        </p:nvSpPr>
        <p:spPr>
          <a:xfrm>
            <a:off x="7385933" y="2758553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4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2" name="Picture Placeholder 13"/>
          <p:cNvSpPr>
            <a:spLocks noGrp="1"/>
          </p:cNvSpPr>
          <p:nvPr>
            <p:ph type="pic" sz="quarter" idx="18"/>
          </p:nvPr>
        </p:nvSpPr>
        <p:spPr>
          <a:xfrm>
            <a:off x="9450035" y="820055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4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3" name="Picture Placeholder 13"/>
          <p:cNvSpPr>
            <a:spLocks noGrp="1"/>
          </p:cNvSpPr>
          <p:nvPr>
            <p:ph type="pic" sz="quarter" idx="19"/>
          </p:nvPr>
        </p:nvSpPr>
        <p:spPr>
          <a:xfrm>
            <a:off x="5336102" y="820055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4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4" name="Picture Placeholder 13"/>
          <p:cNvSpPr>
            <a:spLocks noGrp="1"/>
          </p:cNvSpPr>
          <p:nvPr>
            <p:ph type="pic" sz="quarter" idx="20"/>
          </p:nvPr>
        </p:nvSpPr>
        <p:spPr>
          <a:xfrm>
            <a:off x="3253108" y="820055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4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5" name="Picture Placeholder 13"/>
          <p:cNvSpPr>
            <a:spLocks noGrp="1"/>
          </p:cNvSpPr>
          <p:nvPr>
            <p:ph type="pic" sz="quarter" idx="21"/>
          </p:nvPr>
        </p:nvSpPr>
        <p:spPr>
          <a:xfrm>
            <a:off x="1203273" y="820055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4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6" name="Picture Placeholder 13"/>
          <p:cNvSpPr>
            <a:spLocks noGrp="1"/>
          </p:cNvSpPr>
          <p:nvPr>
            <p:ph type="pic" sz="quarter" idx="22"/>
          </p:nvPr>
        </p:nvSpPr>
        <p:spPr>
          <a:xfrm>
            <a:off x="7385933" y="820055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4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Rodapé 2"/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5" name="Text Placeholder 3"/>
          <p:cNvSpPr>
            <a:spLocks noGrp="1"/>
          </p:cNvSpPr>
          <p:nvPr>
            <p:ph type="body" sz="quarter" idx="25" hasCustomPrompt="1"/>
          </p:nvPr>
        </p:nvSpPr>
        <p:spPr>
          <a:xfrm>
            <a:off x="611984" y="161819"/>
            <a:ext cx="10725159" cy="188783"/>
          </a:xfrm>
        </p:spPr>
        <p:txBody>
          <a:bodyPr anchor="b"/>
          <a:lstStyle>
            <a:lvl1pPr marL="0" indent="0">
              <a:buNone/>
              <a:defRPr b="1">
                <a:solidFill>
                  <a:schemeClr val="tx2"/>
                </a:solidFill>
              </a:defRPr>
            </a:lvl1pPr>
            <a:lvl2pPr marL="246740" indent="0">
              <a:buNone/>
              <a:defRPr b="1"/>
            </a:lvl2pPr>
            <a:lvl3pPr marL="476892" indent="0">
              <a:buNone/>
              <a:defRPr b="1"/>
            </a:lvl3pPr>
            <a:lvl4pPr marL="707045" indent="0">
              <a:buNone/>
              <a:defRPr b="1"/>
            </a:lvl4pPr>
            <a:lvl5pPr marL="937199" indent="0">
              <a:buNone/>
              <a:defRPr b="1"/>
            </a:lvl5pPr>
          </a:lstStyle>
          <a:p>
            <a:pPr lvl="0"/>
            <a:r>
              <a:rPr lang="en-US" dirty="0" smtClean="0"/>
              <a:t>&lt;</a:t>
            </a:r>
            <a:r>
              <a:rPr lang="en-US" dirty="0" err="1" smtClean="0"/>
              <a:t>subtitulo</a:t>
            </a:r>
            <a:r>
              <a:rPr lang="en-US" dirty="0" smtClean="0"/>
              <a:t>&gt;</a:t>
            </a:r>
            <a:endParaRPr lang="en-US" dirty="0"/>
          </a:p>
        </p:txBody>
      </p:sp>
      <p:sp>
        <p:nvSpPr>
          <p:cNvPr id="16" name="Picture Placeholder 13"/>
          <p:cNvSpPr>
            <a:spLocks noGrp="1"/>
          </p:cNvSpPr>
          <p:nvPr>
            <p:ph type="pic" sz="quarter" idx="26"/>
          </p:nvPr>
        </p:nvSpPr>
        <p:spPr>
          <a:xfrm>
            <a:off x="9454039" y="4640540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4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7" name="Picture Placeholder 13"/>
          <p:cNvSpPr>
            <a:spLocks noGrp="1"/>
          </p:cNvSpPr>
          <p:nvPr>
            <p:ph type="pic" sz="quarter" idx="27"/>
          </p:nvPr>
        </p:nvSpPr>
        <p:spPr>
          <a:xfrm>
            <a:off x="5340106" y="4640540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4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8" name="Picture Placeholder 13"/>
          <p:cNvSpPr>
            <a:spLocks noGrp="1"/>
          </p:cNvSpPr>
          <p:nvPr>
            <p:ph type="pic" sz="quarter" idx="28"/>
          </p:nvPr>
        </p:nvSpPr>
        <p:spPr>
          <a:xfrm>
            <a:off x="3257113" y="4640540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4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9" name="Picture Placeholder 13"/>
          <p:cNvSpPr>
            <a:spLocks noGrp="1"/>
          </p:cNvSpPr>
          <p:nvPr>
            <p:ph type="pic" sz="quarter" idx="29"/>
          </p:nvPr>
        </p:nvSpPr>
        <p:spPr>
          <a:xfrm>
            <a:off x="1207277" y="4640540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4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0" name="Picture Placeholder 13"/>
          <p:cNvSpPr>
            <a:spLocks noGrp="1"/>
          </p:cNvSpPr>
          <p:nvPr>
            <p:ph type="pic" sz="quarter" idx="30"/>
          </p:nvPr>
        </p:nvSpPr>
        <p:spPr>
          <a:xfrm>
            <a:off x="7389938" y="4640540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4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48009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14:reveal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5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i Capa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84582632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147194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323447780"/>
      </p:ext>
    </p:extLst>
  </p:cSld>
  <p:clrMapOvr>
    <a:masterClrMapping/>
  </p:clrMapOvr>
</p:sldLayout>
</file>

<file path=ppt/slideLayouts/slideLayout16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Oi Capa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6D00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61559841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6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Oi Capa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33080251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6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Oi Capa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61839975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6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i Capa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71186651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6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i Capa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61549494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6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Oi Capa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EA288C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46375288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6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Oi Capa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A02BFF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220054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60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1982" y="358899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1982" y="819634"/>
            <a:ext cx="10725159" cy="470918"/>
          </a:xfrm>
          <a:prstGeom prst="rect">
            <a:avLst/>
          </a:prstGeom>
        </p:spPr>
        <p:txBody>
          <a:bodyPr lIns="119445" tIns="59723" rIns="119445" bIns="59723"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6768" indent="0">
              <a:buNone/>
              <a:defRPr sz="2700">
                <a:solidFill>
                  <a:schemeClr val="accent3"/>
                </a:solidFill>
              </a:defRPr>
            </a:lvl2pPr>
            <a:lvl3pPr marL="476946" indent="0">
              <a:buNone/>
              <a:defRPr sz="2700">
                <a:solidFill>
                  <a:schemeClr val="accent3"/>
                </a:solidFill>
              </a:defRPr>
            </a:lvl3pPr>
            <a:lvl4pPr marL="707125" indent="0">
              <a:buNone/>
              <a:defRPr sz="2700">
                <a:solidFill>
                  <a:schemeClr val="accent3"/>
                </a:solidFill>
              </a:defRPr>
            </a:lvl4pPr>
            <a:lvl5pPr marL="937305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792607974"/>
      </p:ext>
    </p:extLst>
  </p:cSld>
  <p:clrMapOvr>
    <a:masterClrMapping/>
  </p:clrMapOvr>
</p:sldLayout>
</file>

<file path=ppt/slideLayouts/slideLayout160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1982" y="358899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1981" y="1854630"/>
            <a:ext cx="10725159" cy="4518324"/>
          </a:xfrm>
          <a:prstGeom prst="rect">
            <a:avLst/>
          </a:prstGeom>
        </p:spPr>
        <p:txBody>
          <a:bodyPr lIns="119445" tIns="59723" rIns="119445" bIns="59723"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1982" y="819634"/>
            <a:ext cx="10725159" cy="470918"/>
          </a:xfrm>
          <a:prstGeom prst="rect">
            <a:avLst/>
          </a:prstGeom>
        </p:spPr>
        <p:txBody>
          <a:bodyPr lIns="119445" tIns="59723" rIns="119445" bIns="59723"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6768" indent="0">
              <a:buNone/>
              <a:defRPr sz="2700">
                <a:solidFill>
                  <a:schemeClr val="accent3"/>
                </a:solidFill>
              </a:defRPr>
            </a:lvl2pPr>
            <a:lvl3pPr marL="476946" indent="0">
              <a:buNone/>
              <a:defRPr sz="2700">
                <a:solidFill>
                  <a:schemeClr val="accent3"/>
                </a:solidFill>
              </a:defRPr>
            </a:lvl3pPr>
            <a:lvl4pPr marL="707125" indent="0">
              <a:buNone/>
              <a:defRPr sz="2700">
                <a:solidFill>
                  <a:schemeClr val="accent3"/>
                </a:solidFill>
              </a:defRPr>
            </a:lvl4pPr>
            <a:lvl5pPr marL="937305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981183058"/>
      </p:ext>
    </p:extLst>
  </p:cSld>
  <p:clrMapOvr>
    <a:masterClrMapping/>
  </p:clrMapOvr>
</p:sldLayout>
</file>

<file path=ppt/slideLayouts/slideLayout16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m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47449214"/>
              </p:ext>
            </p:extLst>
          </p:nvPr>
        </p:nvGraphicFramePr>
        <p:xfrm>
          <a:off x="2077" y="2077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69464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6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77" y="2077"/>
                        <a:ext cx="2074" cy="20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1982" y="358899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1385997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0190849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6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mple_bod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1982" y="358899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1981" y="1290362"/>
            <a:ext cx="10725159" cy="5082597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0600336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mple_bodydou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79" y="1290358"/>
            <a:ext cx="5080446" cy="5082596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290362"/>
            <a:ext cx="5080448" cy="5082597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68375520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16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48754856"/>
              </p:ext>
            </p:extLst>
          </p:nvPr>
        </p:nvGraphicFramePr>
        <p:xfrm>
          <a:off x="2077" y="2077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70488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6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77" y="2077"/>
                        <a:ext cx="2074" cy="20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1982" y="358899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5" hasCustomPrompt="1"/>
          </p:nvPr>
        </p:nvSpPr>
        <p:spPr>
          <a:xfrm>
            <a:off x="611982" y="161818"/>
            <a:ext cx="10725159" cy="188783"/>
          </a:xfrm>
        </p:spPr>
        <p:txBody>
          <a:bodyPr anchor="b"/>
          <a:lstStyle>
            <a:lvl1pPr marL="0" indent="0">
              <a:buNone/>
              <a:defRPr b="1">
                <a:solidFill>
                  <a:schemeClr val="tx2"/>
                </a:solidFill>
              </a:defRPr>
            </a:lvl1pPr>
            <a:lvl2pPr marL="246768" indent="0">
              <a:buNone/>
              <a:defRPr b="1"/>
            </a:lvl2pPr>
            <a:lvl3pPr marL="476946" indent="0">
              <a:buNone/>
              <a:defRPr b="1"/>
            </a:lvl3pPr>
            <a:lvl4pPr marL="707125" indent="0">
              <a:buNone/>
              <a:defRPr b="1"/>
            </a:lvl4pPr>
            <a:lvl5pPr marL="937305" indent="0">
              <a:buNone/>
              <a:defRPr b="1"/>
            </a:lvl5pPr>
          </a:lstStyle>
          <a:p>
            <a:pPr lvl="0"/>
            <a:r>
              <a:rPr lang="en-US" dirty="0" smtClean="0"/>
              <a:t>&lt;</a:t>
            </a:r>
            <a:r>
              <a:rPr lang="en-US" dirty="0" err="1" smtClean="0"/>
              <a:t>subtitulo</a:t>
            </a:r>
            <a:r>
              <a:rPr lang="en-US" dirty="0" smtClean="0"/>
              <a:t>&gt;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7073123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_bod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1982" y="358899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1981" y="1290362"/>
            <a:ext cx="10725159" cy="5082597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5" hasCustomPrompt="1"/>
          </p:nvPr>
        </p:nvSpPr>
        <p:spPr>
          <a:xfrm>
            <a:off x="611982" y="161818"/>
            <a:ext cx="10725159" cy="188783"/>
          </a:xfrm>
        </p:spPr>
        <p:txBody>
          <a:bodyPr anchor="b"/>
          <a:lstStyle>
            <a:lvl1pPr marL="0" indent="0">
              <a:buNone/>
              <a:defRPr b="1">
                <a:solidFill>
                  <a:schemeClr val="tx2"/>
                </a:solidFill>
              </a:defRPr>
            </a:lvl1pPr>
            <a:lvl2pPr marL="246768" indent="0">
              <a:buNone/>
              <a:defRPr b="1"/>
            </a:lvl2pPr>
            <a:lvl3pPr marL="476946" indent="0">
              <a:buNone/>
              <a:defRPr b="1"/>
            </a:lvl3pPr>
            <a:lvl4pPr marL="707125" indent="0">
              <a:buNone/>
              <a:defRPr b="1"/>
            </a:lvl4pPr>
            <a:lvl5pPr marL="937305" indent="0">
              <a:buNone/>
              <a:defRPr b="1"/>
            </a:lvl5pPr>
          </a:lstStyle>
          <a:p>
            <a:pPr lvl="0"/>
            <a:r>
              <a:rPr lang="en-US" dirty="0" smtClean="0"/>
              <a:t>&lt;</a:t>
            </a:r>
            <a:r>
              <a:rPr lang="en-US" dirty="0" err="1" smtClean="0"/>
              <a:t>subtitulo</a:t>
            </a:r>
            <a:r>
              <a:rPr lang="en-US" dirty="0" smtClean="0"/>
              <a:t>&gt;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236111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_bodydou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79" y="1290358"/>
            <a:ext cx="5080446" cy="5082596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290362"/>
            <a:ext cx="5080448" cy="5082597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5" hasCustomPrompt="1"/>
          </p:nvPr>
        </p:nvSpPr>
        <p:spPr>
          <a:xfrm>
            <a:off x="611982" y="161818"/>
            <a:ext cx="10725159" cy="188783"/>
          </a:xfrm>
        </p:spPr>
        <p:txBody>
          <a:bodyPr anchor="b"/>
          <a:lstStyle>
            <a:lvl1pPr marL="0" indent="0">
              <a:buNone/>
              <a:defRPr b="1">
                <a:solidFill>
                  <a:schemeClr val="tx2"/>
                </a:solidFill>
              </a:defRPr>
            </a:lvl1pPr>
            <a:lvl2pPr marL="246768" indent="0">
              <a:buNone/>
              <a:defRPr b="1"/>
            </a:lvl2pPr>
            <a:lvl3pPr marL="476946" indent="0">
              <a:buNone/>
              <a:defRPr b="1"/>
            </a:lvl3pPr>
            <a:lvl4pPr marL="707125" indent="0">
              <a:buNone/>
              <a:defRPr b="1"/>
            </a:lvl4pPr>
            <a:lvl5pPr marL="937305" indent="0">
              <a:buNone/>
              <a:defRPr b="1"/>
            </a:lvl5pPr>
          </a:lstStyle>
          <a:p>
            <a:pPr lvl="0"/>
            <a:r>
              <a:rPr lang="en-US" dirty="0" smtClean="0"/>
              <a:t>&lt;</a:t>
            </a:r>
            <a:r>
              <a:rPr lang="en-US" dirty="0" err="1" smtClean="0"/>
              <a:t>subtitulo</a:t>
            </a:r>
            <a:r>
              <a:rPr lang="en-US" dirty="0" smtClean="0"/>
              <a:t>&gt;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99742861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16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t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85924953"/>
              </p:ext>
            </p:extLst>
          </p:nvPr>
        </p:nvGraphicFramePr>
        <p:xfrm>
          <a:off x="2077" y="2077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71512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6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77" y="2077"/>
                        <a:ext cx="2074" cy="20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1982" y="358899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7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1982" y="819634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6768" indent="0">
              <a:buNone/>
              <a:defRPr sz="2700">
                <a:solidFill>
                  <a:schemeClr val="accent3"/>
                </a:solidFill>
              </a:defRPr>
            </a:lvl2pPr>
            <a:lvl3pPr marL="476946" indent="0">
              <a:buNone/>
              <a:defRPr sz="2700">
                <a:solidFill>
                  <a:schemeClr val="accent3"/>
                </a:solidFill>
              </a:defRPr>
            </a:lvl3pPr>
            <a:lvl4pPr marL="707125" indent="0">
              <a:buNone/>
              <a:defRPr sz="2700">
                <a:solidFill>
                  <a:schemeClr val="accent3"/>
                </a:solidFill>
              </a:defRPr>
            </a:lvl4pPr>
            <a:lvl5pPr marL="937305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353488532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ttom_bod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1982" y="358899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1981" y="1290362"/>
            <a:ext cx="10725159" cy="5082597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7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1982" y="819634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6768" indent="0">
              <a:buNone/>
              <a:defRPr sz="2700">
                <a:solidFill>
                  <a:schemeClr val="accent3"/>
                </a:solidFill>
              </a:defRPr>
            </a:lvl2pPr>
            <a:lvl3pPr marL="476946" indent="0">
              <a:buNone/>
              <a:defRPr sz="2700">
                <a:solidFill>
                  <a:schemeClr val="accent3"/>
                </a:solidFill>
              </a:defRPr>
            </a:lvl3pPr>
            <a:lvl4pPr marL="707125" indent="0">
              <a:buNone/>
              <a:defRPr sz="2700">
                <a:solidFill>
                  <a:schemeClr val="accent3"/>
                </a:solidFill>
              </a:defRPr>
            </a:lvl4pPr>
            <a:lvl5pPr marL="937305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55516199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ttom_bodydou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79" y="1290358"/>
            <a:ext cx="5080446" cy="5082596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290362"/>
            <a:ext cx="5080448" cy="5082597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6" hasCustomPrompt="1"/>
          </p:nvPr>
        </p:nvSpPr>
        <p:spPr>
          <a:xfrm>
            <a:off x="611982" y="819634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6768" indent="0">
              <a:buNone/>
              <a:defRPr sz="2700">
                <a:solidFill>
                  <a:schemeClr val="accent3"/>
                </a:solidFill>
              </a:defRPr>
            </a:lvl2pPr>
            <a:lvl3pPr marL="476946" indent="0">
              <a:buNone/>
              <a:defRPr sz="2700">
                <a:solidFill>
                  <a:schemeClr val="accent3"/>
                </a:solidFill>
              </a:defRPr>
            </a:lvl3pPr>
            <a:lvl4pPr marL="707125" indent="0">
              <a:buNone/>
              <a:defRPr sz="2700">
                <a:solidFill>
                  <a:schemeClr val="accent3"/>
                </a:solidFill>
              </a:defRPr>
            </a:lvl4pPr>
            <a:lvl5pPr marL="937305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638802177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16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68633169"/>
              </p:ext>
            </p:extLst>
          </p:nvPr>
        </p:nvGraphicFramePr>
        <p:xfrm>
          <a:off x="2077" y="2077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72536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6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77" y="2077"/>
                        <a:ext cx="2074" cy="20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1982" y="358899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5" hasCustomPrompt="1"/>
          </p:nvPr>
        </p:nvSpPr>
        <p:spPr>
          <a:xfrm>
            <a:off x="611982" y="161818"/>
            <a:ext cx="10725159" cy="188783"/>
          </a:xfrm>
        </p:spPr>
        <p:txBody>
          <a:bodyPr anchor="b"/>
          <a:lstStyle>
            <a:lvl1pPr marL="0" indent="0">
              <a:buNone/>
              <a:defRPr b="1">
                <a:solidFill>
                  <a:schemeClr val="tx2"/>
                </a:solidFill>
              </a:defRPr>
            </a:lvl1pPr>
            <a:lvl2pPr marL="246768" indent="0">
              <a:buNone/>
              <a:defRPr b="1"/>
            </a:lvl2pPr>
            <a:lvl3pPr marL="476946" indent="0">
              <a:buNone/>
              <a:defRPr b="1"/>
            </a:lvl3pPr>
            <a:lvl4pPr marL="707125" indent="0">
              <a:buNone/>
              <a:defRPr b="1"/>
            </a:lvl4pPr>
            <a:lvl5pPr marL="937305" indent="0">
              <a:buNone/>
              <a:defRPr b="1"/>
            </a:lvl5pPr>
          </a:lstStyle>
          <a:p>
            <a:pPr lvl="0"/>
            <a:r>
              <a:rPr lang="en-US" dirty="0" smtClean="0"/>
              <a:t>&lt;</a:t>
            </a:r>
            <a:r>
              <a:rPr lang="en-US" dirty="0" err="1" smtClean="0"/>
              <a:t>subtitulo</a:t>
            </a:r>
            <a:r>
              <a:rPr lang="en-US" dirty="0" smtClean="0"/>
              <a:t>&gt;</a:t>
            </a:r>
            <a:endParaRPr lang="en-US" dirty="0"/>
          </a:p>
        </p:txBody>
      </p:sp>
      <p:sp>
        <p:nvSpPr>
          <p:cNvPr id="7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1982" y="819634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6768" indent="0">
              <a:buNone/>
              <a:defRPr sz="2700">
                <a:solidFill>
                  <a:schemeClr val="accent3"/>
                </a:solidFill>
              </a:defRPr>
            </a:lvl2pPr>
            <a:lvl3pPr marL="476946" indent="0">
              <a:buNone/>
              <a:defRPr sz="2700">
                <a:solidFill>
                  <a:schemeClr val="accent3"/>
                </a:solidFill>
              </a:defRPr>
            </a:lvl3pPr>
            <a:lvl4pPr marL="707125" indent="0">
              <a:buNone/>
              <a:defRPr sz="2700">
                <a:solidFill>
                  <a:schemeClr val="accent3"/>
                </a:solidFill>
              </a:defRPr>
            </a:lvl4pPr>
            <a:lvl5pPr marL="937305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27079035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_bod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1982" y="358899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1981" y="1290362"/>
            <a:ext cx="10725159" cy="5082597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5" hasCustomPrompt="1"/>
          </p:nvPr>
        </p:nvSpPr>
        <p:spPr>
          <a:xfrm>
            <a:off x="611982" y="161818"/>
            <a:ext cx="10725159" cy="188783"/>
          </a:xfrm>
        </p:spPr>
        <p:txBody>
          <a:bodyPr anchor="b"/>
          <a:lstStyle>
            <a:lvl1pPr marL="0" indent="0">
              <a:buNone/>
              <a:defRPr b="1">
                <a:solidFill>
                  <a:schemeClr val="tx2"/>
                </a:solidFill>
              </a:defRPr>
            </a:lvl1pPr>
            <a:lvl2pPr marL="246768" indent="0">
              <a:buNone/>
              <a:defRPr b="1"/>
            </a:lvl2pPr>
            <a:lvl3pPr marL="476946" indent="0">
              <a:buNone/>
              <a:defRPr b="1"/>
            </a:lvl3pPr>
            <a:lvl4pPr marL="707125" indent="0">
              <a:buNone/>
              <a:defRPr b="1"/>
            </a:lvl4pPr>
            <a:lvl5pPr marL="937305" indent="0">
              <a:buNone/>
              <a:defRPr b="1"/>
            </a:lvl5pPr>
          </a:lstStyle>
          <a:p>
            <a:pPr lvl="0"/>
            <a:r>
              <a:rPr lang="en-US" dirty="0" smtClean="0"/>
              <a:t>&lt;</a:t>
            </a:r>
            <a:r>
              <a:rPr lang="en-US" dirty="0" err="1" smtClean="0"/>
              <a:t>subtitulo</a:t>
            </a:r>
            <a:r>
              <a:rPr lang="en-US" dirty="0" smtClean="0"/>
              <a:t>&gt;</a:t>
            </a:r>
            <a:endParaRPr lang="en-US" dirty="0"/>
          </a:p>
        </p:txBody>
      </p:sp>
      <p:sp>
        <p:nvSpPr>
          <p:cNvPr id="7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1982" y="819634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6768" indent="0">
              <a:buNone/>
              <a:defRPr sz="2700">
                <a:solidFill>
                  <a:schemeClr val="accent3"/>
                </a:solidFill>
              </a:defRPr>
            </a:lvl2pPr>
            <a:lvl3pPr marL="476946" indent="0">
              <a:buNone/>
              <a:defRPr sz="2700">
                <a:solidFill>
                  <a:schemeClr val="accent3"/>
                </a:solidFill>
              </a:defRPr>
            </a:lvl3pPr>
            <a:lvl4pPr marL="707125" indent="0">
              <a:buNone/>
              <a:defRPr sz="2700">
                <a:solidFill>
                  <a:schemeClr val="accent3"/>
                </a:solidFill>
              </a:defRPr>
            </a:lvl4pPr>
            <a:lvl5pPr marL="937305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84904987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9225599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6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_bodydou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79" y="1290358"/>
            <a:ext cx="5080446" cy="5082596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290362"/>
            <a:ext cx="5080448" cy="5082597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5" hasCustomPrompt="1"/>
          </p:nvPr>
        </p:nvSpPr>
        <p:spPr>
          <a:xfrm>
            <a:off x="611982" y="161818"/>
            <a:ext cx="10725159" cy="188783"/>
          </a:xfrm>
        </p:spPr>
        <p:txBody>
          <a:bodyPr anchor="b"/>
          <a:lstStyle>
            <a:lvl1pPr marL="0" indent="0">
              <a:buNone/>
              <a:defRPr b="1">
                <a:solidFill>
                  <a:schemeClr val="tx2"/>
                </a:solidFill>
              </a:defRPr>
            </a:lvl1pPr>
            <a:lvl2pPr marL="246768" indent="0">
              <a:buNone/>
              <a:defRPr b="1"/>
            </a:lvl2pPr>
            <a:lvl3pPr marL="476946" indent="0">
              <a:buNone/>
              <a:defRPr b="1"/>
            </a:lvl3pPr>
            <a:lvl4pPr marL="707125" indent="0">
              <a:buNone/>
              <a:defRPr b="1"/>
            </a:lvl4pPr>
            <a:lvl5pPr marL="937305" indent="0">
              <a:buNone/>
              <a:defRPr b="1"/>
            </a:lvl5pPr>
          </a:lstStyle>
          <a:p>
            <a:pPr lvl="0"/>
            <a:r>
              <a:rPr lang="en-US" dirty="0" smtClean="0"/>
              <a:t>&lt;</a:t>
            </a:r>
            <a:r>
              <a:rPr lang="en-US" dirty="0" err="1" smtClean="0"/>
              <a:t>subtitulo</a:t>
            </a:r>
            <a:r>
              <a:rPr lang="en-US" dirty="0" smtClean="0"/>
              <a:t>&gt;</a:t>
            </a:r>
            <a:endParaRPr lang="en-US" dirty="0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6" hasCustomPrompt="1"/>
          </p:nvPr>
        </p:nvSpPr>
        <p:spPr>
          <a:xfrm>
            <a:off x="611982" y="819634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6768" indent="0">
              <a:buNone/>
              <a:defRPr sz="2700">
                <a:solidFill>
                  <a:schemeClr val="accent3"/>
                </a:solidFill>
              </a:defRPr>
            </a:lvl2pPr>
            <a:lvl3pPr marL="476946" indent="0">
              <a:buNone/>
              <a:defRPr sz="2700">
                <a:solidFill>
                  <a:schemeClr val="accent3"/>
                </a:solidFill>
              </a:defRPr>
            </a:lvl3pPr>
            <a:lvl4pPr marL="707125" indent="0">
              <a:buNone/>
              <a:defRPr sz="2700">
                <a:solidFill>
                  <a:schemeClr val="accent3"/>
                </a:solidFill>
              </a:defRPr>
            </a:lvl4pPr>
            <a:lvl5pPr marL="937305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324376799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16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Meet the te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Picture Placeholder 13"/>
          <p:cNvSpPr>
            <a:spLocks noGrp="1"/>
          </p:cNvSpPr>
          <p:nvPr>
            <p:ph type="pic" sz="quarter" idx="13"/>
          </p:nvPr>
        </p:nvSpPr>
        <p:spPr>
          <a:xfrm>
            <a:off x="9450035" y="3820031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4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8" name="Picture Placeholder 13"/>
          <p:cNvSpPr>
            <a:spLocks noGrp="1"/>
          </p:cNvSpPr>
          <p:nvPr>
            <p:ph type="pic" sz="quarter" idx="14"/>
          </p:nvPr>
        </p:nvSpPr>
        <p:spPr>
          <a:xfrm>
            <a:off x="5336102" y="3820031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4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9" name="Picture Placeholder 13"/>
          <p:cNvSpPr>
            <a:spLocks noGrp="1"/>
          </p:cNvSpPr>
          <p:nvPr>
            <p:ph type="pic" sz="quarter" idx="15"/>
          </p:nvPr>
        </p:nvSpPr>
        <p:spPr>
          <a:xfrm>
            <a:off x="3253108" y="3820031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4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0" name="Picture Placeholder 13"/>
          <p:cNvSpPr>
            <a:spLocks noGrp="1"/>
          </p:cNvSpPr>
          <p:nvPr>
            <p:ph type="pic" sz="quarter" idx="16"/>
          </p:nvPr>
        </p:nvSpPr>
        <p:spPr>
          <a:xfrm>
            <a:off x="1203273" y="3820031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4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1" name="Picture Placeholder 13"/>
          <p:cNvSpPr>
            <a:spLocks noGrp="1"/>
          </p:cNvSpPr>
          <p:nvPr>
            <p:ph type="pic" sz="quarter" idx="17"/>
          </p:nvPr>
        </p:nvSpPr>
        <p:spPr>
          <a:xfrm>
            <a:off x="7385933" y="3820031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4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2" name="Picture Placeholder 13"/>
          <p:cNvSpPr>
            <a:spLocks noGrp="1"/>
          </p:cNvSpPr>
          <p:nvPr>
            <p:ph type="pic" sz="quarter" idx="18"/>
          </p:nvPr>
        </p:nvSpPr>
        <p:spPr>
          <a:xfrm>
            <a:off x="9450035" y="1290552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4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3" name="Picture Placeholder 13"/>
          <p:cNvSpPr>
            <a:spLocks noGrp="1"/>
          </p:cNvSpPr>
          <p:nvPr>
            <p:ph type="pic" sz="quarter" idx="19"/>
          </p:nvPr>
        </p:nvSpPr>
        <p:spPr>
          <a:xfrm>
            <a:off x="5336102" y="1290552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4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4" name="Picture Placeholder 13"/>
          <p:cNvSpPr>
            <a:spLocks noGrp="1"/>
          </p:cNvSpPr>
          <p:nvPr>
            <p:ph type="pic" sz="quarter" idx="20"/>
          </p:nvPr>
        </p:nvSpPr>
        <p:spPr>
          <a:xfrm>
            <a:off x="3253108" y="1290552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4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5" name="Picture Placeholder 13"/>
          <p:cNvSpPr>
            <a:spLocks noGrp="1"/>
          </p:cNvSpPr>
          <p:nvPr>
            <p:ph type="pic" sz="quarter" idx="21"/>
          </p:nvPr>
        </p:nvSpPr>
        <p:spPr>
          <a:xfrm>
            <a:off x="1203273" y="1290552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4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6" name="Picture Placeholder 13"/>
          <p:cNvSpPr>
            <a:spLocks noGrp="1"/>
          </p:cNvSpPr>
          <p:nvPr>
            <p:ph type="pic" sz="quarter" idx="22"/>
          </p:nvPr>
        </p:nvSpPr>
        <p:spPr>
          <a:xfrm>
            <a:off x="7385933" y="1290552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4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15" name="Text Placeholder 3"/>
          <p:cNvSpPr>
            <a:spLocks noGrp="1"/>
          </p:cNvSpPr>
          <p:nvPr>
            <p:ph type="body" sz="quarter" idx="25" hasCustomPrompt="1"/>
          </p:nvPr>
        </p:nvSpPr>
        <p:spPr>
          <a:xfrm>
            <a:off x="611982" y="161818"/>
            <a:ext cx="10725159" cy="188783"/>
          </a:xfrm>
        </p:spPr>
        <p:txBody>
          <a:bodyPr anchor="b"/>
          <a:lstStyle>
            <a:lvl1pPr marL="0" indent="0">
              <a:buNone/>
              <a:defRPr b="1">
                <a:solidFill>
                  <a:schemeClr val="tx2"/>
                </a:solidFill>
              </a:defRPr>
            </a:lvl1pPr>
            <a:lvl2pPr marL="246768" indent="0">
              <a:buNone/>
              <a:defRPr b="1"/>
            </a:lvl2pPr>
            <a:lvl3pPr marL="476946" indent="0">
              <a:buNone/>
              <a:defRPr b="1"/>
            </a:lvl3pPr>
            <a:lvl4pPr marL="707125" indent="0">
              <a:buNone/>
              <a:defRPr b="1"/>
            </a:lvl4pPr>
            <a:lvl5pPr marL="937305" indent="0">
              <a:buNone/>
              <a:defRPr b="1"/>
            </a:lvl5pPr>
          </a:lstStyle>
          <a:p>
            <a:pPr lvl="0"/>
            <a:r>
              <a:rPr lang="en-US" dirty="0" smtClean="0"/>
              <a:t>&lt;</a:t>
            </a:r>
            <a:r>
              <a:rPr lang="en-US" dirty="0" err="1" smtClean="0"/>
              <a:t>subtitulo</a:t>
            </a:r>
            <a:r>
              <a:rPr lang="en-US" dirty="0" smtClean="0"/>
              <a:t>&gt;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997774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14:reveal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6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Meet the te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Picture Placeholder 13"/>
          <p:cNvSpPr>
            <a:spLocks noGrp="1"/>
          </p:cNvSpPr>
          <p:nvPr>
            <p:ph type="pic" sz="quarter" idx="13"/>
          </p:nvPr>
        </p:nvSpPr>
        <p:spPr>
          <a:xfrm>
            <a:off x="9450035" y="2758553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4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8" name="Picture Placeholder 13"/>
          <p:cNvSpPr>
            <a:spLocks noGrp="1"/>
          </p:cNvSpPr>
          <p:nvPr>
            <p:ph type="pic" sz="quarter" idx="14"/>
          </p:nvPr>
        </p:nvSpPr>
        <p:spPr>
          <a:xfrm>
            <a:off x="5336102" y="2758553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4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9" name="Picture Placeholder 13"/>
          <p:cNvSpPr>
            <a:spLocks noGrp="1"/>
          </p:cNvSpPr>
          <p:nvPr>
            <p:ph type="pic" sz="quarter" idx="15"/>
          </p:nvPr>
        </p:nvSpPr>
        <p:spPr>
          <a:xfrm>
            <a:off x="3253108" y="2758553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4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0" name="Picture Placeholder 13"/>
          <p:cNvSpPr>
            <a:spLocks noGrp="1"/>
          </p:cNvSpPr>
          <p:nvPr>
            <p:ph type="pic" sz="quarter" idx="16"/>
          </p:nvPr>
        </p:nvSpPr>
        <p:spPr>
          <a:xfrm>
            <a:off x="1203273" y="2758553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4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1" name="Picture Placeholder 13"/>
          <p:cNvSpPr>
            <a:spLocks noGrp="1"/>
          </p:cNvSpPr>
          <p:nvPr>
            <p:ph type="pic" sz="quarter" idx="17"/>
          </p:nvPr>
        </p:nvSpPr>
        <p:spPr>
          <a:xfrm>
            <a:off x="7385933" y="2758553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4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2" name="Picture Placeholder 13"/>
          <p:cNvSpPr>
            <a:spLocks noGrp="1"/>
          </p:cNvSpPr>
          <p:nvPr>
            <p:ph type="pic" sz="quarter" idx="18"/>
          </p:nvPr>
        </p:nvSpPr>
        <p:spPr>
          <a:xfrm>
            <a:off x="9450035" y="820055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4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3" name="Picture Placeholder 13"/>
          <p:cNvSpPr>
            <a:spLocks noGrp="1"/>
          </p:cNvSpPr>
          <p:nvPr>
            <p:ph type="pic" sz="quarter" idx="19"/>
          </p:nvPr>
        </p:nvSpPr>
        <p:spPr>
          <a:xfrm>
            <a:off x="5336102" y="820055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4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4" name="Picture Placeholder 13"/>
          <p:cNvSpPr>
            <a:spLocks noGrp="1"/>
          </p:cNvSpPr>
          <p:nvPr>
            <p:ph type="pic" sz="quarter" idx="20"/>
          </p:nvPr>
        </p:nvSpPr>
        <p:spPr>
          <a:xfrm>
            <a:off x="3253108" y="820055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4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5" name="Picture Placeholder 13"/>
          <p:cNvSpPr>
            <a:spLocks noGrp="1"/>
          </p:cNvSpPr>
          <p:nvPr>
            <p:ph type="pic" sz="quarter" idx="21"/>
          </p:nvPr>
        </p:nvSpPr>
        <p:spPr>
          <a:xfrm>
            <a:off x="1203273" y="820055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4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6" name="Picture Placeholder 13"/>
          <p:cNvSpPr>
            <a:spLocks noGrp="1"/>
          </p:cNvSpPr>
          <p:nvPr>
            <p:ph type="pic" sz="quarter" idx="22"/>
          </p:nvPr>
        </p:nvSpPr>
        <p:spPr>
          <a:xfrm>
            <a:off x="7385933" y="820055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4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15" name="Text Placeholder 3"/>
          <p:cNvSpPr>
            <a:spLocks noGrp="1"/>
          </p:cNvSpPr>
          <p:nvPr>
            <p:ph type="body" sz="quarter" idx="25" hasCustomPrompt="1"/>
          </p:nvPr>
        </p:nvSpPr>
        <p:spPr>
          <a:xfrm>
            <a:off x="611982" y="161818"/>
            <a:ext cx="10725159" cy="188783"/>
          </a:xfrm>
        </p:spPr>
        <p:txBody>
          <a:bodyPr anchor="b"/>
          <a:lstStyle>
            <a:lvl1pPr marL="0" indent="0">
              <a:buNone/>
              <a:defRPr b="1">
                <a:solidFill>
                  <a:schemeClr val="tx2"/>
                </a:solidFill>
              </a:defRPr>
            </a:lvl1pPr>
            <a:lvl2pPr marL="246768" indent="0">
              <a:buNone/>
              <a:defRPr b="1"/>
            </a:lvl2pPr>
            <a:lvl3pPr marL="476946" indent="0">
              <a:buNone/>
              <a:defRPr b="1"/>
            </a:lvl3pPr>
            <a:lvl4pPr marL="707125" indent="0">
              <a:buNone/>
              <a:defRPr b="1"/>
            </a:lvl4pPr>
            <a:lvl5pPr marL="937305" indent="0">
              <a:buNone/>
              <a:defRPr b="1"/>
            </a:lvl5pPr>
          </a:lstStyle>
          <a:p>
            <a:pPr lvl="0"/>
            <a:r>
              <a:rPr lang="en-US" dirty="0" smtClean="0"/>
              <a:t>&lt;</a:t>
            </a:r>
            <a:r>
              <a:rPr lang="en-US" dirty="0" err="1" smtClean="0"/>
              <a:t>subtitulo</a:t>
            </a:r>
            <a:r>
              <a:rPr lang="en-US" dirty="0" smtClean="0"/>
              <a:t>&gt;</a:t>
            </a:r>
            <a:endParaRPr lang="en-US" dirty="0"/>
          </a:p>
        </p:txBody>
      </p:sp>
      <p:sp>
        <p:nvSpPr>
          <p:cNvPr id="16" name="Picture Placeholder 13"/>
          <p:cNvSpPr>
            <a:spLocks noGrp="1"/>
          </p:cNvSpPr>
          <p:nvPr>
            <p:ph type="pic" sz="quarter" idx="26"/>
          </p:nvPr>
        </p:nvSpPr>
        <p:spPr>
          <a:xfrm>
            <a:off x="9454039" y="4640540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4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7" name="Picture Placeholder 13"/>
          <p:cNvSpPr>
            <a:spLocks noGrp="1"/>
          </p:cNvSpPr>
          <p:nvPr>
            <p:ph type="pic" sz="quarter" idx="27"/>
          </p:nvPr>
        </p:nvSpPr>
        <p:spPr>
          <a:xfrm>
            <a:off x="5340106" y="4640540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4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8" name="Picture Placeholder 13"/>
          <p:cNvSpPr>
            <a:spLocks noGrp="1"/>
          </p:cNvSpPr>
          <p:nvPr>
            <p:ph type="pic" sz="quarter" idx="28"/>
          </p:nvPr>
        </p:nvSpPr>
        <p:spPr>
          <a:xfrm>
            <a:off x="3257113" y="4640540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4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9" name="Picture Placeholder 13"/>
          <p:cNvSpPr>
            <a:spLocks noGrp="1"/>
          </p:cNvSpPr>
          <p:nvPr>
            <p:ph type="pic" sz="quarter" idx="29"/>
          </p:nvPr>
        </p:nvSpPr>
        <p:spPr>
          <a:xfrm>
            <a:off x="1207277" y="4640540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4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0" name="Picture Placeholder 13"/>
          <p:cNvSpPr>
            <a:spLocks noGrp="1"/>
          </p:cNvSpPr>
          <p:nvPr>
            <p:ph type="pic" sz="quarter" idx="30"/>
          </p:nvPr>
        </p:nvSpPr>
        <p:spPr>
          <a:xfrm>
            <a:off x="7389938" y="4640540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4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131034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14:reveal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6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i Capa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63539700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6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Oi Capa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6D00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11413728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6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Oi Capa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49105181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6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Oi Capa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21012266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6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i Capa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80709043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6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i Capa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95274884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6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Oi Capa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EA288C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63426636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8475605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6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Oi Capa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A02BFF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58148876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6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1981" y="358897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7458" y="6371920"/>
            <a:ext cx="10176095" cy="282263"/>
          </a:xfrm>
          <a:prstGeom prst="rect">
            <a:avLst/>
          </a:prstGeom>
        </p:spPr>
        <p:txBody>
          <a:bodyPr vert="horz" lIns="119459" tIns="59729" rIns="119459" bIns="59729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pPr defTabSz="597287" fontAlgn="auto">
              <a:spcBef>
                <a:spcPts val="0"/>
              </a:spcBef>
              <a:spcAft>
                <a:spcPts val="0"/>
              </a:spcAft>
            </a:pPr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3552" y="6371920"/>
            <a:ext cx="578105" cy="282263"/>
          </a:xfrm>
          <a:prstGeom prst="rect">
            <a:avLst/>
          </a:prstGeom>
        </p:spPr>
        <p:txBody>
          <a:bodyPr vert="horz" lIns="119459" tIns="59729" rIns="119459" bIns="59729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pPr defTabSz="597287" fontAlgn="auto">
              <a:spcBef>
                <a:spcPts val="0"/>
              </a:spcBef>
              <a:spcAft>
                <a:spcPts val="0"/>
              </a:spcAft>
            </a:pPr>
            <a:fld id="{74850952-3374-434C-8FC6-DE28F8CD25B0}" type="slidenum">
              <a:rPr lang="pt-BR" smtClean="0">
                <a:solidFill>
                  <a:srgbClr val="5F5F5F"/>
                </a:solidFill>
              </a:rPr>
              <a:pPr defTabSz="597287" fontAlgn="auto">
                <a:spcBef>
                  <a:spcPts val="0"/>
                </a:spcBef>
                <a:spcAft>
                  <a:spcPts val="0"/>
                </a:spcAft>
              </a:pPr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1981" y="819634"/>
            <a:ext cx="10725159" cy="470918"/>
          </a:xfrm>
          <a:prstGeom prst="rect">
            <a:avLst/>
          </a:prstGeom>
        </p:spPr>
        <p:txBody>
          <a:bodyPr lIns="119459" tIns="59729" rIns="119459" bIns="59729"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6795" indent="0">
              <a:buNone/>
              <a:defRPr sz="2700">
                <a:solidFill>
                  <a:schemeClr val="accent3"/>
                </a:solidFill>
              </a:defRPr>
            </a:lvl2pPr>
            <a:lvl3pPr marL="477000" indent="0">
              <a:buNone/>
              <a:defRPr sz="2700">
                <a:solidFill>
                  <a:schemeClr val="accent3"/>
                </a:solidFill>
              </a:defRPr>
            </a:lvl3pPr>
            <a:lvl4pPr marL="707204" indent="0">
              <a:buNone/>
              <a:defRPr sz="2700">
                <a:solidFill>
                  <a:schemeClr val="accent3"/>
                </a:solidFill>
              </a:defRPr>
            </a:lvl4pPr>
            <a:lvl5pPr marL="937411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853138375"/>
      </p:ext>
    </p:extLst>
  </p:cSld>
  <p:clrMapOvr>
    <a:masterClrMapping/>
  </p:clrMapOvr>
</p:sldLayout>
</file>

<file path=ppt/slideLayouts/slideLayout16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1981" y="358897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1980" y="1854630"/>
            <a:ext cx="10725159" cy="4518324"/>
          </a:xfrm>
          <a:prstGeom prst="rect">
            <a:avLst/>
          </a:prstGeom>
        </p:spPr>
        <p:txBody>
          <a:bodyPr lIns="119459" tIns="59729" rIns="119459" bIns="59729"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7458" y="6371920"/>
            <a:ext cx="10176095" cy="282263"/>
          </a:xfrm>
          <a:prstGeom prst="rect">
            <a:avLst/>
          </a:prstGeom>
        </p:spPr>
        <p:txBody>
          <a:bodyPr vert="horz" lIns="119459" tIns="59729" rIns="119459" bIns="59729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pPr defTabSz="597287" fontAlgn="auto">
              <a:spcBef>
                <a:spcPts val="0"/>
              </a:spcBef>
              <a:spcAft>
                <a:spcPts val="0"/>
              </a:spcAft>
            </a:pPr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3552" y="6371920"/>
            <a:ext cx="578105" cy="282263"/>
          </a:xfrm>
          <a:prstGeom prst="rect">
            <a:avLst/>
          </a:prstGeom>
        </p:spPr>
        <p:txBody>
          <a:bodyPr vert="horz" lIns="119459" tIns="59729" rIns="119459" bIns="59729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pPr defTabSz="597287" fontAlgn="auto">
              <a:spcBef>
                <a:spcPts val="0"/>
              </a:spcBef>
              <a:spcAft>
                <a:spcPts val="0"/>
              </a:spcAft>
            </a:pPr>
            <a:fld id="{74850952-3374-434C-8FC6-DE28F8CD25B0}" type="slidenum">
              <a:rPr lang="pt-BR" smtClean="0">
                <a:solidFill>
                  <a:srgbClr val="5F5F5F"/>
                </a:solidFill>
              </a:rPr>
              <a:pPr defTabSz="597287" fontAlgn="auto">
                <a:spcBef>
                  <a:spcPts val="0"/>
                </a:spcBef>
                <a:spcAft>
                  <a:spcPts val="0"/>
                </a:spcAft>
              </a:pPr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1981" y="819634"/>
            <a:ext cx="10725159" cy="470918"/>
          </a:xfrm>
          <a:prstGeom prst="rect">
            <a:avLst/>
          </a:prstGeom>
        </p:spPr>
        <p:txBody>
          <a:bodyPr lIns="119459" tIns="59729" rIns="119459" bIns="59729"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6795" indent="0">
              <a:buNone/>
              <a:defRPr sz="2700">
                <a:solidFill>
                  <a:schemeClr val="accent3"/>
                </a:solidFill>
              </a:defRPr>
            </a:lvl2pPr>
            <a:lvl3pPr marL="477000" indent="0">
              <a:buNone/>
              <a:defRPr sz="2700">
                <a:solidFill>
                  <a:schemeClr val="accent3"/>
                </a:solidFill>
              </a:defRPr>
            </a:lvl3pPr>
            <a:lvl4pPr marL="707204" indent="0">
              <a:buNone/>
              <a:defRPr sz="2700">
                <a:solidFill>
                  <a:schemeClr val="accent3"/>
                </a:solidFill>
              </a:defRPr>
            </a:lvl4pPr>
            <a:lvl5pPr marL="937411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983064678"/>
      </p:ext>
    </p:extLst>
  </p:cSld>
  <p:clrMapOvr>
    <a:masterClrMapping/>
  </p:clrMapOvr>
</p:sldLayout>
</file>

<file path=ppt/slideLayouts/slideLayout16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m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74598399"/>
              </p:ext>
            </p:extLst>
          </p:nvPr>
        </p:nvGraphicFramePr>
        <p:xfrm>
          <a:off x="2077" y="2077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75604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5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77" y="2077"/>
                        <a:ext cx="2074" cy="20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1980" y="358896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7457" y="6371918"/>
            <a:ext cx="10176095" cy="282263"/>
          </a:xfrm>
          <a:prstGeom prst="rect">
            <a:avLst/>
          </a:prstGeom>
        </p:spPr>
        <p:txBody>
          <a:bodyPr vert="horz" lIns="119472" tIns="59736" rIns="119472" bIns="59736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3552" y="6371918"/>
            <a:ext cx="578105" cy="282263"/>
          </a:xfrm>
          <a:prstGeom prst="rect">
            <a:avLst/>
          </a:prstGeom>
        </p:spPr>
        <p:txBody>
          <a:bodyPr vert="horz" lIns="119472" tIns="59736" rIns="119472" bIns="59736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562313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mple_bod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1980" y="358896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1978" y="1290359"/>
            <a:ext cx="10725159" cy="5082597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7457" y="6371918"/>
            <a:ext cx="10176095" cy="282263"/>
          </a:xfrm>
          <a:prstGeom prst="rect">
            <a:avLst/>
          </a:prstGeom>
        </p:spPr>
        <p:txBody>
          <a:bodyPr vert="horz" lIns="119472" tIns="59736" rIns="119472" bIns="59736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3552" y="6371918"/>
            <a:ext cx="578105" cy="282263"/>
          </a:xfrm>
          <a:prstGeom prst="rect">
            <a:avLst/>
          </a:prstGeom>
        </p:spPr>
        <p:txBody>
          <a:bodyPr vert="horz" lIns="119472" tIns="59736" rIns="119472" bIns="59736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604356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mple_bodydou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79" y="1290358"/>
            <a:ext cx="5080446" cy="5082596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290359"/>
            <a:ext cx="5080448" cy="5082597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7457" y="6371918"/>
            <a:ext cx="10176095" cy="282263"/>
          </a:xfrm>
          <a:prstGeom prst="rect">
            <a:avLst/>
          </a:prstGeom>
        </p:spPr>
        <p:txBody>
          <a:bodyPr vert="horz" lIns="119472" tIns="59736" rIns="119472" bIns="59736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3552" y="6371918"/>
            <a:ext cx="578105" cy="282263"/>
          </a:xfrm>
          <a:prstGeom prst="rect">
            <a:avLst/>
          </a:prstGeom>
        </p:spPr>
        <p:txBody>
          <a:bodyPr vert="horz" lIns="119472" tIns="59736" rIns="119472" bIns="59736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68971124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16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90852450"/>
              </p:ext>
            </p:extLst>
          </p:nvPr>
        </p:nvGraphicFramePr>
        <p:xfrm>
          <a:off x="2077" y="2077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76628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5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77" y="2077"/>
                        <a:ext cx="2074" cy="20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1980" y="358896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7457" y="6371918"/>
            <a:ext cx="10176095" cy="282263"/>
          </a:xfrm>
          <a:prstGeom prst="rect">
            <a:avLst/>
          </a:prstGeom>
        </p:spPr>
        <p:txBody>
          <a:bodyPr vert="horz" lIns="119472" tIns="59736" rIns="119472" bIns="59736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3552" y="6371918"/>
            <a:ext cx="578105" cy="282263"/>
          </a:xfrm>
          <a:prstGeom prst="rect">
            <a:avLst/>
          </a:prstGeom>
        </p:spPr>
        <p:txBody>
          <a:bodyPr vert="horz" lIns="119472" tIns="59736" rIns="119472" bIns="59736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5" hasCustomPrompt="1"/>
          </p:nvPr>
        </p:nvSpPr>
        <p:spPr>
          <a:xfrm>
            <a:off x="611980" y="161815"/>
            <a:ext cx="10725159" cy="188783"/>
          </a:xfrm>
        </p:spPr>
        <p:txBody>
          <a:bodyPr anchor="b"/>
          <a:lstStyle>
            <a:lvl1pPr marL="0" indent="0">
              <a:buNone/>
              <a:defRPr b="1">
                <a:solidFill>
                  <a:schemeClr val="tx2"/>
                </a:solidFill>
              </a:defRPr>
            </a:lvl1pPr>
            <a:lvl2pPr marL="246823" indent="0">
              <a:buNone/>
              <a:defRPr b="1"/>
            </a:lvl2pPr>
            <a:lvl3pPr marL="477055" indent="0">
              <a:buNone/>
              <a:defRPr b="1"/>
            </a:lvl3pPr>
            <a:lvl4pPr marL="707285" indent="0">
              <a:buNone/>
              <a:defRPr b="1"/>
            </a:lvl4pPr>
            <a:lvl5pPr marL="937517" indent="0">
              <a:buNone/>
              <a:defRPr b="1"/>
            </a:lvl5pPr>
          </a:lstStyle>
          <a:p>
            <a:pPr lvl="0"/>
            <a:r>
              <a:rPr lang="en-US" dirty="0" smtClean="0"/>
              <a:t>&lt;</a:t>
            </a:r>
            <a:r>
              <a:rPr lang="en-US" dirty="0" err="1" smtClean="0"/>
              <a:t>subtitulo</a:t>
            </a:r>
            <a:r>
              <a:rPr lang="en-US" dirty="0" smtClean="0"/>
              <a:t>&gt;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3040433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_bod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1980" y="358896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1978" y="1290359"/>
            <a:ext cx="10725159" cy="5082597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7457" y="6371918"/>
            <a:ext cx="10176095" cy="282263"/>
          </a:xfrm>
          <a:prstGeom prst="rect">
            <a:avLst/>
          </a:prstGeom>
        </p:spPr>
        <p:txBody>
          <a:bodyPr vert="horz" lIns="119472" tIns="59736" rIns="119472" bIns="59736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3552" y="6371918"/>
            <a:ext cx="578105" cy="282263"/>
          </a:xfrm>
          <a:prstGeom prst="rect">
            <a:avLst/>
          </a:prstGeom>
        </p:spPr>
        <p:txBody>
          <a:bodyPr vert="horz" lIns="119472" tIns="59736" rIns="119472" bIns="59736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5" hasCustomPrompt="1"/>
          </p:nvPr>
        </p:nvSpPr>
        <p:spPr>
          <a:xfrm>
            <a:off x="611980" y="161815"/>
            <a:ext cx="10725159" cy="188783"/>
          </a:xfrm>
        </p:spPr>
        <p:txBody>
          <a:bodyPr anchor="b"/>
          <a:lstStyle>
            <a:lvl1pPr marL="0" indent="0">
              <a:buNone/>
              <a:defRPr b="1">
                <a:solidFill>
                  <a:schemeClr val="tx2"/>
                </a:solidFill>
              </a:defRPr>
            </a:lvl1pPr>
            <a:lvl2pPr marL="246823" indent="0">
              <a:buNone/>
              <a:defRPr b="1"/>
            </a:lvl2pPr>
            <a:lvl3pPr marL="477055" indent="0">
              <a:buNone/>
              <a:defRPr b="1"/>
            </a:lvl3pPr>
            <a:lvl4pPr marL="707285" indent="0">
              <a:buNone/>
              <a:defRPr b="1"/>
            </a:lvl4pPr>
            <a:lvl5pPr marL="937517" indent="0">
              <a:buNone/>
              <a:defRPr b="1"/>
            </a:lvl5pPr>
          </a:lstStyle>
          <a:p>
            <a:pPr lvl="0"/>
            <a:r>
              <a:rPr lang="en-US" dirty="0" smtClean="0"/>
              <a:t>&lt;</a:t>
            </a:r>
            <a:r>
              <a:rPr lang="en-US" dirty="0" err="1" smtClean="0"/>
              <a:t>subtitulo</a:t>
            </a:r>
            <a:r>
              <a:rPr lang="en-US" dirty="0" smtClean="0"/>
              <a:t>&gt;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9645593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_bodydou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79" y="1290358"/>
            <a:ext cx="5080446" cy="5082596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290359"/>
            <a:ext cx="5080448" cy="5082597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7457" y="6371918"/>
            <a:ext cx="10176095" cy="282263"/>
          </a:xfrm>
          <a:prstGeom prst="rect">
            <a:avLst/>
          </a:prstGeom>
        </p:spPr>
        <p:txBody>
          <a:bodyPr vert="horz" lIns="119472" tIns="59736" rIns="119472" bIns="59736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3552" y="6371918"/>
            <a:ext cx="578105" cy="282263"/>
          </a:xfrm>
          <a:prstGeom prst="rect">
            <a:avLst/>
          </a:prstGeom>
        </p:spPr>
        <p:txBody>
          <a:bodyPr vert="horz" lIns="119472" tIns="59736" rIns="119472" bIns="59736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5" hasCustomPrompt="1"/>
          </p:nvPr>
        </p:nvSpPr>
        <p:spPr>
          <a:xfrm>
            <a:off x="611980" y="161815"/>
            <a:ext cx="10725159" cy="188783"/>
          </a:xfrm>
        </p:spPr>
        <p:txBody>
          <a:bodyPr anchor="b"/>
          <a:lstStyle>
            <a:lvl1pPr marL="0" indent="0">
              <a:buNone/>
              <a:defRPr b="1">
                <a:solidFill>
                  <a:schemeClr val="tx2"/>
                </a:solidFill>
              </a:defRPr>
            </a:lvl1pPr>
            <a:lvl2pPr marL="246823" indent="0">
              <a:buNone/>
              <a:defRPr b="1"/>
            </a:lvl2pPr>
            <a:lvl3pPr marL="477055" indent="0">
              <a:buNone/>
              <a:defRPr b="1"/>
            </a:lvl3pPr>
            <a:lvl4pPr marL="707285" indent="0">
              <a:buNone/>
              <a:defRPr b="1"/>
            </a:lvl4pPr>
            <a:lvl5pPr marL="937517" indent="0">
              <a:buNone/>
              <a:defRPr b="1"/>
            </a:lvl5pPr>
          </a:lstStyle>
          <a:p>
            <a:pPr lvl="0"/>
            <a:r>
              <a:rPr lang="en-US" dirty="0" smtClean="0"/>
              <a:t>&lt;</a:t>
            </a:r>
            <a:r>
              <a:rPr lang="en-US" dirty="0" err="1" smtClean="0"/>
              <a:t>subtitulo</a:t>
            </a:r>
            <a:r>
              <a:rPr lang="en-US" dirty="0" smtClean="0"/>
              <a:t>&gt;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68722960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16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t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34164243"/>
              </p:ext>
            </p:extLst>
          </p:nvPr>
        </p:nvGraphicFramePr>
        <p:xfrm>
          <a:off x="2077" y="2077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77652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5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77" y="2077"/>
                        <a:ext cx="2074" cy="20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1980" y="358896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7457" y="6371918"/>
            <a:ext cx="10176095" cy="282263"/>
          </a:xfrm>
          <a:prstGeom prst="rect">
            <a:avLst/>
          </a:prstGeom>
        </p:spPr>
        <p:txBody>
          <a:bodyPr vert="horz" lIns="119472" tIns="59736" rIns="119472" bIns="59736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3552" y="6371918"/>
            <a:ext cx="578105" cy="282263"/>
          </a:xfrm>
          <a:prstGeom prst="rect">
            <a:avLst/>
          </a:prstGeom>
        </p:spPr>
        <p:txBody>
          <a:bodyPr vert="horz" lIns="119472" tIns="59736" rIns="119472" bIns="59736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7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1980" y="819634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6823" indent="0">
              <a:buNone/>
              <a:defRPr sz="2700">
                <a:solidFill>
                  <a:schemeClr val="accent3"/>
                </a:solidFill>
              </a:defRPr>
            </a:lvl2pPr>
            <a:lvl3pPr marL="477055" indent="0">
              <a:buNone/>
              <a:defRPr sz="2700">
                <a:solidFill>
                  <a:schemeClr val="accent3"/>
                </a:solidFill>
              </a:defRPr>
            </a:lvl3pPr>
            <a:lvl4pPr marL="707285" indent="0">
              <a:buNone/>
              <a:defRPr sz="2700">
                <a:solidFill>
                  <a:schemeClr val="accent3"/>
                </a:solidFill>
              </a:defRPr>
            </a:lvl4pPr>
            <a:lvl5pPr marL="937517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353304250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737456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6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ttom_bod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1980" y="358896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1978" y="1290359"/>
            <a:ext cx="10725159" cy="5082597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7457" y="6371918"/>
            <a:ext cx="10176095" cy="282263"/>
          </a:xfrm>
          <a:prstGeom prst="rect">
            <a:avLst/>
          </a:prstGeom>
        </p:spPr>
        <p:txBody>
          <a:bodyPr vert="horz" lIns="119472" tIns="59736" rIns="119472" bIns="59736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3552" y="6371918"/>
            <a:ext cx="578105" cy="282263"/>
          </a:xfrm>
          <a:prstGeom prst="rect">
            <a:avLst/>
          </a:prstGeom>
        </p:spPr>
        <p:txBody>
          <a:bodyPr vert="horz" lIns="119472" tIns="59736" rIns="119472" bIns="59736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7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1980" y="819634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6823" indent="0">
              <a:buNone/>
              <a:defRPr sz="2700">
                <a:solidFill>
                  <a:schemeClr val="accent3"/>
                </a:solidFill>
              </a:defRPr>
            </a:lvl2pPr>
            <a:lvl3pPr marL="477055" indent="0">
              <a:buNone/>
              <a:defRPr sz="2700">
                <a:solidFill>
                  <a:schemeClr val="accent3"/>
                </a:solidFill>
              </a:defRPr>
            </a:lvl3pPr>
            <a:lvl4pPr marL="707285" indent="0">
              <a:buNone/>
              <a:defRPr sz="2700">
                <a:solidFill>
                  <a:schemeClr val="accent3"/>
                </a:solidFill>
              </a:defRPr>
            </a:lvl4pPr>
            <a:lvl5pPr marL="937517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64771945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ttom_bodydou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79" y="1290358"/>
            <a:ext cx="5080446" cy="5082596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290359"/>
            <a:ext cx="5080448" cy="5082597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7457" y="6371918"/>
            <a:ext cx="10176095" cy="282263"/>
          </a:xfrm>
          <a:prstGeom prst="rect">
            <a:avLst/>
          </a:prstGeom>
        </p:spPr>
        <p:txBody>
          <a:bodyPr vert="horz" lIns="119472" tIns="59736" rIns="119472" bIns="59736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3552" y="6371918"/>
            <a:ext cx="578105" cy="282263"/>
          </a:xfrm>
          <a:prstGeom prst="rect">
            <a:avLst/>
          </a:prstGeom>
        </p:spPr>
        <p:txBody>
          <a:bodyPr vert="horz" lIns="119472" tIns="59736" rIns="119472" bIns="59736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6" hasCustomPrompt="1"/>
          </p:nvPr>
        </p:nvSpPr>
        <p:spPr>
          <a:xfrm>
            <a:off x="611980" y="819634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6823" indent="0">
              <a:buNone/>
              <a:defRPr sz="2700">
                <a:solidFill>
                  <a:schemeClr val="accent3"/>
                </a:solidFill>
              </a:defRPr>
            </a:lvl2pPr>
            <a:lvl3pPr marL="477055" indent="0">
              <a:buNone/>
              <a:defRPr sz="2700">
                <a:solidFill>
                  <a:schemeClr val="accent3"/>
                </a:solidFill>
              </a:defRPr>
            </a:lvl3pPr>
            <a:lvl4pPr marL="707285" indent="0">
              <a:buNone/>
              <a:defRPr sz="2700">
                <a:solidFill>
                  <a:schemeClr val="accent3"/>
                </a:solidFill>
              </a:defRPr>
            </a:lvl4pPr>
            <a:lvl5pPr marL="937517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3181086114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16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09590006"/>
              </p:ext>
            </p:extLst>
          </p:nvPr>
        </p:nvGraphicFramePr>
        <p:xfrm>
          <a:off x="2077" y="2077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78676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5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77" y="2077"/>
                        <a:ext cx="2074" cy="20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1980" y="358896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7457" y="6371918"/>
            <a:ext cx="10176095" cy="282263"/>
          </a:xfrm>
          <a:prstGeom prst="rect">
            <a:avLst/>
          </a:prstGeom>
        </p:spPr>
        <p:txBody>
          <a:bodyPr vert="horz" lIns="119472" tIns="59736" rIns="119472" bIns="59736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3552" y="6371918"/>
            <a:ext cx="578105" cy="282263"/>
          </a:xfrm>
          <a:prstGeom prst="rect">
            <a:avLst/>
          </a:prstGeom>
        </p:spPr>
        <p:txBody>
          <a:bodyPr vert="horz" lIns="119472" tIns="59736" rIns="119472" bIns="59736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5" hasCustomPrompt="1"/>
          </p:nvPr>
        </p:nvSpPr>
        <p:spPr>
          <a:xfrm>
            <a:off x="611980" y="161815"/>
            <a:ext cx="10725159" cy="188783"/>
          </a:xfrm>
        </p:spPr>
        <p:txBody>
          <a:bodyPr anchor="b"/>
          <a:lstStyle>
            <a:lvl1pPr marL="0" indent="0">
              <a:buNone/>
              <a:defRPr b="1">
                <a:solidFill>
                  <a:schemeClr val="tx2"/>
                </a:solidFill>
              </a:defRPr>
            </a:lvl1pPr>
            <a:lvl2pPr marL="246823" indent="0">
              <a:buNone/>
              <a:defRPr b="1"/>
            </a:lvl2pPr>
            <a:lvl3pPr marL="477055" indent="0">
              <a:buNone/>
              <a:defRPr b="1"/>
            </a:lvl3pPr>
            <a:lvl4pPr marL="707285" indent="0">
              <a:buNone/>
              <a:defRPr b="1"/>
            </a:lvl4pPr>
            <a:lvl5pPr marL="937517" indent="0">
              <a:buNone/>
              <a:defRPr b="1"/>
            </a:lvl5pPr>
          </a:lstStyle>
          <a:p>
            <a:pPr lvl="0"/>
            <a:r>
              <a:rPr lang="en-US" dirty="0" smtClean="0"/>
              <a:t>&lt;</a:t>
            </a:r>
            <a:r>
              <a:rPr lang="en-US" dirty="0" err="1" smtClean="0"/>
              <a:t>subtitulo</a:t>
            </a:r>
            <a:r>
              <a:rPr lang="en-US" dirty="0" smtClean="0"/>
              <a:t>&gt;</a:t>
            </a:r>
            <a:endParaRPr lang="en-US" dirty="0"/>
          </a:p>
        </p:txBody>
      </p:sp>
      <p:sp>
        <p:nvSpPr>
          <p:cNvPr id="7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1980" y="819634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6823" indent="0">
              <a:buNone/>
              <a:defRPr sz="2700">
                <a:solidFill>
                  <a:schemeClr val="accent3"/>
                </a:solidFill>
              </a:defRPr>
            </a:lvl2pPr>
            <a:lvl3pPr marL="477055" indent="0">
              <a:buNone/>
              <a:defRPr sz="2700">
                <a:solidFill>
                  <a:schemeClr val="accent3"/>
                </a:solidFill>
              </a:defRPr>
            </a:lvl3pPr>
            <a:lvl4pPr marL="707285" indent="0">
              <a:buNone/>
              <a:defRPr sz="2700">
                <a:solidFill>
                  <a:schemeClr val="accent3"/>
                </a:solidFill>
              </a:defRPr>
            </a:lvl4pPr>
            <a:lvl5pPr marL="937517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07942200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_bod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1980" y="358896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1978" y="1290359"/>
            <a:ext cx="10725159" cy="5082597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7457" y="6371918"/>
            <a:ext cx="10176095" cy="282263"/>
          </a:xfrm>
          <a:prstGeom prst="rect">
            <a:avLst/>
          </a:prstGeom>
        </p:spPr>
        <p:txBody>
          <a:bodyPr vert="horz" lIns="119472" tIns="59736" rIns="119472" bIns="59736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3552" y="6371918"/>
            <a:ext cx="578105" cy="282263"/>
          </a:xfrm>
          <a:prstGeom prst="rect">
            <a:avLst/>
          </a:prstGeom>
        </p:spPr>
        <p:txBody>
          <a:bodyPr vert="horz" lIns="119472" tIns="59736" rIns="119472" bIns="59736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5" hasCustomPrompt="1"/>
          </p:nvPr>
        </p:nvSpPr>
        <p:spPr>
          <a:xfrm>
            <a:off x="611980" y="161815"/>
            <a:ext cx="10725159" cy="188783"/>
          </a:xfrm>
        </p:spPr>
        <p:txBody>
          <a:bodyPr anchor="b"/>
          <a:lstStyle>
            <a:lvl1pPr marL="0" indent="0">
              <a:buNone/>
              <a:defRPr b="1">
                <a:solidFill>
                  <a:schemeClr val="tx2"/>
                </a:solidFill>
              </a:defRPr>
            </a:lvl1pPr>
            <a:lvl2pPr marL="246823" indent="0">
              <a:buNone/>
              <a:defRPr b="1"/>
            </a:lvl2pPr>
            <a:lvl3pPr marL="477055" indent="0">
              <a:buNone/>
              <a:defRPr b="1"/>
            </a:lvl3pPr>
            <a:lvl4pPr marL="707285" indent="0">
              <a:buNone/>
              <a:defRPr b="1"/>
            </a:lvl4pPr>
            <a:lvl5pPr marL="937517" indent="0">
              <a:buNone/>
              <a:defRPr b="1"/>
            </a:lvl5pPr>
          </a:lstStyle>
          <a:p>
            <a:pPr lvl="0"/>
            <a:r>
              <a:rPr lang="en-US" dirty="0" smtClean="0"/>
              <a:t>&lt;</a:t>
            </a:r>
            <a:r>
              <a:rPr lang="en-US" dirty="0" err="1" smtClean="0"/>
              <a:t>subtitulo</a:t>
            </a:r>
            <a:r>
              <a:rPr lang="en-US" dirty="0" smtClean="0"/>
              <a:t>&gt;</a:t>
            </a:r>
            <a:endParaRPr lang="en-US" dirty="0"/>
          </a:p>
        </p:txBody>
      </p:sp>
      <p:sp>
        <p:nvSpPr>
          <p:cNvPr id="7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1980" y="819634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6823" indent="0">
              <a:buNone/>
              <a:defRPr sz="2700">
                <a:solidFill>
                  <a:schemeClr val="accent3"/>
                </a:solidFill>
              </a:defRPr>
            </a:lvl2pPr>
            <a:lvl3pPr marL="477055" indent="0">
              <a:buNone/>
              <a:defRPr sz="2700">
                <a:solidFill>
                  <a:schemeClr val="accent3"/>
                </a:solidFill>
              </a:defRPr>
            </a:lvl3pPr>
            <a:lvl4pPr marL="707285" indent="0">
              <a:buNone/>
              <a:defRPr sz="2700">
                <a:solidFill>
                  <a:schemeClr val="accent3"/>
                </a:solidFill>
              </a:defRPr>
            </a:lvl4pPr>
            <a:lvl5pPr marL="937517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34885136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_bodydou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79" y="1290358"/>
            <a:ext cx="5080446" cy="5082596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290359"/>
            <a:ext cx="5080448" cy="5082597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7457" y="6371918"/>
            <a:ext cx="10176095" cy="282263"/>
          </a:xfrm>
          <a:prstGeom prst="rect">
            <a:avLst/>
          </a:prstGeom>
        </p:spPr>
        <p:txBody>
          <a:bodyPr vert="horz" lIns="119472" tIns="59736" rIns="119472" bIns="59736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3552" y="6371918"/>
            <a:ext cx="578105" cy="282263"/>
          </a:xfrm>
          <a:prstGeom prst="rect">
            <a:avLst/>
          </a:prstGeom>
        </p:spPr>
        <p:txBody>
          <a:bodyPr vert="horz" lIns="119472" tIns="59736" rIns="119472" bIns="59736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5" hasCustomPrompt="1"/>
          </p:nvPr>
        </p:nvSpPr>
        <p:spPr>
          <a:xfrm>
            <a:off x="611980" y="161815"/>
            <a:ext cx="10725159" cy="188783"/>
          </a:xfrm>
        </p:spPr>
        <p:txBody>
          <a:bodyPr anchor="b"/>
          <a:lstStyle>
            <a:lvl1pPr marL="0" indent="0">
              <a:buNone/>
              <a:defRPr b="1">
                <a:solidFill>
                  <a:schemeClr val="tx2"/>
                </a:solidFill>
              </a:defRPr>
            </a:lvl1pPr>
            <a:lvl2pPr marL="246823" indent="0">
              <a:buNone/>
              <a:defRPr b="1"/>
            </a:lvl2pPr>
            <a:lvl3pPr marL="477055" indent="0">
              <a:buNone/>
              <a:defRPr b="1"/>
            </a:lvl3pPr>
            <a:lvl4pPr marL="707285" indent="0">
              <a:buNone/>
              <a:defRPr b="1"/>
            </a:lvl4pPr>
            <a:lvl5pPr marL="937517" indent="0">
              <a:buNone/>
              <a:defRPr b="1"/>
            </a:lvl5pPr>
          </a:lstStyle>
          <a:p>
            <a:pPr lvl="0"/>
            <a:r>
              <a:rPr lang="en-US" dirty="0" smtClean="0"/>
              <a:t>&lt;</a:t>
            </a:r>
            <a:r>
              <a:rPr lang="en-US" dirty="0" err="1" smtClean="0"/>
              <a:t>subtitulo</a:t>
            </a:r>
            <a:r>
              <a:rPr lang="en-US" dirty="0" smtClean="0"/>
              <a:t>&gt;</a:t>
            </a:r>
            <a:endParaRPr lang="en-US" dirty="0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6" hasCustomPrompt="1"/>
          </p:nvPr>
        </p:nvSpPr>
        <p:spPr>
          <a:xfrm>
            <a:off x="611980" y="819634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6823" indent="0">
              <a:buNone/>
              <a:defRPr sz="2700">
                <a:solidFill>
                  <a:schemeClr val="accent3"/>
                </a:solidFill>
              </a:defRPr>
            </a:lvl2pPr>
            <a:lvl3pPr marL="477055" indent="0">
              <a:buNone/>
              <a:defRPr sz="2700">
                <a:solidFill>
                  <a:schemeClr val="accent3"/>
                </a:solidFill>
              </a:defRPr>
            </a:lvl3pPr>
            <a:lvl4pPr marL="707285" indent="0">
              <a:buNone/>
              <a:defRPr sz="2700">
                <a:solidFill>
                  <a:schemeClr val="accent3"/>
                </a:solidFill>
              </a:defRPr>
            </a:lvl4pPr>
            <a:lvl5pPr marL="937517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3203421466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16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Meet the te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Picture Placeholder 13"/>
          <p:cNvSpPr>
            <a:spLocks noGrp="1"/>
          </p:cNvSpPr>
          <p:nvPr>
            <p:ph type="pic" sz="quarter" idx="13"/>
          </p:nvPr>
        </p:nvSpPr>
        <p:spPr>
          <a:xfrm>
            <a:off x="9450035" y="3820031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4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8" name="Picture Placeholder 13"/>
          <p:cNvSpPr>
            <a:spLocks noGrp="1"/>
          </p:cNvSpPr>
          <p:nvPr>
            <p:ph type="pic" sz="quarter" idx="14"/>
          </p:nvPr>
        </p:nvSpPr>
        <p:spPr>
          <a:xfrm>
            <a:off x="5336102" y="3820031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4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9" name="Picture Placeholder 13"/>
          <p:cNvSpPr>
            <a:spLocks noGrp="1"/>
          </p:cNvSpPr>
          <p:nvPr>
            <p:ph type="pic" sz="quarter" idx="15"/>
          </p:nvPr>
        </p:nvSpPr>
        <p:spPr>
          <a:xfrm>
            <a:off x="3253108" y="3820031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4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0" name="Picture Placeholder 13"/>
          <p:cNvSpPr>
            <a:spLocks noGrp="1"/>
          </p:cNvSpPr>
          <p:nvPr>
            <p:ph type="pic" sz="quarter" idx="16"/>
          </p:nvPr>
        </p:nvSpPr>
        <p:spPr>
          <a:xfrm>
            <a:off x="1203273" y="3820031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4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1" name="Picture Placeholder 13"/>
          <p:cNvSpPr>
            <a:spLocks noGrp="1"/>
          </p:cNvSpPr>
          <p:nvPr>
            <p:ph type="pic" sz="quarter" idx="17"/>
          </p:nvPr>
        </p:nvSpPr>
        <p:spPr>
          <a:xfrm>
            <a:off x="7385933" y="3820031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4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2" name="Picture Placeholder 13"/>
          <p:cNvSpPr>
            <a:spLocks noGrp="1"/>
          </p:cNvSpPr>
          <p:nvPr>
            <p:ph type="pic" sz="quarter" idx="18"/>
          </p:nvPr>
        </p:nvSpPr>
        <p:spPr>
          <a:xfrm>
            <a:off x="9450035" y="1290552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4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3" name="Picture Placeholder 13"/>
          <p:cNvSpPr>
            <a:spLocks noGrp="1"/>
          </p:cNvSpPr>
          <p:nvPr>
            <p:ph type="pic" sz="quarter" idx="19"/>
          </p:nvPr>
        </p:nvSpPr>
        <p:spPr>
          <a:xfrm>
            <a:off x="5336102" y="1290552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4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4" name="Picture Placeholder 13"/>
          <p:cNvSpPr>
            <a:spLocks noGrp="1"/>
          </p:cNvSpPr>
          <p:nvPr>
            <p:ph type="pic" sz="quarter" idx="20"/>
          </p:nvPr>
        </p:nvSpPr>
        <p:spPr>
          <a:xfrm>
            <a:off x="3253108" y="1290552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4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5" name="Picture Placeholder 13"/>
          <p:cNvSpPr>
            <a:spLocks noGrp="1"/>
          </p:cNvSpPr>
          <p:nvPr>
            <p:ph type="pic" sz="quarter" idx="21"/>
          </p:nvPr>
        </p:nvSpPr>
        <p:spPr>
          <a:xfrm>
            <a:off x="1203273" y="1290552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4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6" name="Picture Placeholder 13"/>
          <p:cNvSpPr>
            <a:spLocks noGrp="1"/>
          </p:cNvSpPr>
          <p:nvPr>
            <p:ph type="pic" sz="quarter" idx="22"/>
          </p:nvPr>
        </p:nvSpPr>
        <p:spPr>
          <a:xfrm>
            <a:off x="7385933" y="1290552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4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Rodapé 2"/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5" name="Text Placeholder 3"/>
          <p:cNvSpPr>
            <a:spLocks noGrp="1"/>
          </p:cNvSpPr>
          <p:nvPr>
            <p:ph type="body" sz="quarter" idx="25" hasCustomPrompt="1"/>
          </p:nvPr>
        </p:nvSpPr>
        <p:spPr>
          <a:xfrm>
            <a:off x="611980" y="161815"/>
            <a:ext cx="10725159" cy="188783"/>
          </a:xfrm>
        </p:spPr>
        <p:txBody>
          <a:bodyPr anchor="b"/>
          <a:lstStyle>
            <a:lvl1pPr marL="0" indent="0">
              <a:buNone/>
              <a:defRPr b="1">
                <a:solidFill>
                  <a:schemeClr val="tx2"/>
                </a:solidFill>
              </a:defRPr>
            </a:lvl1pPr>
            <a:lvl2pPr marL="246823" indent="0">
              <a:buNone/>
              <a:defRPr b="1"/>
            </a:lvl2pPr>
            <a:lvl3pPr marL="477055" indent="0">
              <a:buNone/>
              <a:defRPr b="1"/>
            </a:lvl3pPr>
            <a:lvl4pPr marL="707285" indent="0">
              <a:buNone/>
              <a:defRPr b="1"/>
            </a:lvl4pPr>
            <a:lvl5pPr marL="937517" indent="0">
              <a:buNone/>
              <a:defRPr b="1"/>
            </a:lvl5pPr>
          </a:lstStyle>
          <a:p>
            <a:pPr lvl="0"/>
            <a:r>
              <a:rPr lang="en-US" dirty="0" smtClean="0"/>
              <a:t>&lt;</a:t>
            </a:r>
            <a:r>
              <a:rPr lang="en-US" dirty="0" err="1" smtClean="0"/>
              <a:t>subtitulo</a:t>
            </a:r>
            <a:r>
              <a:rPr lang="en-US" dirty="0" smtClean="0"/>
              <a:t>&gt;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489046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14:reveal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6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Meet the te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Picture Placeholder 13"/>
          <p:cNvSpPr>
            <a:spLocks noGrp="1"/>
          </p:cNvSpPr>
          <p:nvPr>
            <p:ph type="pic" sz="quarter" idx="13"/>
          </p:nvPr>
        </p:nvSpPr>
        <p:spPr>
          <a:xfrm>
            <a:off x="9450035" y="2758553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4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8" name="Picture Placeholder 13"/>
          <p:cNvSpPr>
            <a:spLocks noGrp="1"/>
          </p:cNvSpPr>
          <p:nvPr>
            <p:ph type="pic" sz="quarter" idx="14"/>
          </p:nvPr>
        </p:nvSpPr>
        <p:spPr>
          <a:xfrm>
            <a:off x="5336102" y="2758553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4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9" name="Picture Placeholder 13"/>
          <p:cNvSpPr>
            <a:spLocks noGrp="1"/>
          </p:cNvSpPr>
          <p:nvPr>
            <p:ph type="pic" sz="quarter" idx="15"/>
          </p:nvPr>
        </p:nvSpPr>
        <p:spPr>
          <a:xfrm>
            <a:off x="3253108" y="2758553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4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0" name="Picture Placeholder 13"/>
          <p:cNvSpPr>
            <a:spLocks noGrp="1"/>
          </p:cNvSpPr>
          <p:nvPr>
            <p:ph type="pic" sz="quarter" idx="16"/>
          </p:nvPr>
        </p:nvSpPr>
        <p:spPr>
          <a:xfrm>
            <a:off x="1203273" y="2758553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4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1" name="Picture Placeholder 13"/>
          <p:cNvSpPr>
            <a:spLocks noGrp="1"/>
          </p:cNvSpPr>
          <p:nvPr>
            <p:ph type="pic" sz="quarter" idx="17"/>
          </p:nvPr>
        </p:nvSpPr>
        <p:spPr>
          <a:xfrm>
            <a:off x="7385933" y="2758553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4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2" name="Picture Placeholder 13"/>
          <p:cNvSpPr>
            <a:spLocks noGrp="1"/>
          </p:cNvSpPr>
          <p:nvPr>
            <p:ph type="pic" sz="quarter" idx="18"/>
          </p:nvPr>
        </p:nvSpPr>
        <p:spPr>
          <a:xfrm>
            <a:off x="9450035" y="820055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4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3" name="Picture Placeholder 13"/>
          <p:cNvSpPr>
            <a:spLocks noGrp="1"/>
          </p:cNvSpPr>
          <p:nvPr>
            <p:ph type="pic" sz="quarter" idx="19"/>
          </p:nvPr>
        </p:nvSpPr>
        <p:spPr>
          <a:xfrm>
            <a:off x="5336102" y="820055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4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4" name="Picture Placeholder 13"/>
          <p:cNvSpPr>
            <a:spLocks noGrp="1"/>
          </p:cNvSpPr>
          <p:nvPr>
            <p:ph type="pic" sz="quarter" idx="20"/>
          </p:nvPr>
        </p:nvSpPr>
        <p:spPr>
          <a:xfrm>
            <a:off x="3253108" y="820055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4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5" name="Picture Placeholder 13"/>
          <p:cNvSpPr>
            <a:spLocks noGrp="1"/>
          </p:cNvSpPr>
          <p:nvPr>
            <p:ph type="pic" sz="quarter" idx="21"/>
          </p:nvPr>
        </p:nvSpPr>
        <p:spPr>
          <a:xfrm>
            <a:off x="1203273" y="820055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4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6" name="Picture Placeholder 13"/>
          <p:cNvSpPr>
            <a:spLocks noGrp="1"/>
          </p:cNvSpPr>
          <p:nvPr>
            <p:ph type="pic" sz="quarter" idx="22"/>
          </p:nvPr>
        </p:nvSpPr>
        <p:spPr>
          <a:xfrm>
            <a:off x="7385933" y="820055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4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Rodapé 2"/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5" name="Text Placeholder 3"/>
          <p:cNvSpPr>
            <a:spLocks noGrp="1"/>
          </p:cNvSpPr>
          <p:nvPr>
            <p:ph type="body" sz="quarter" idx="25" hasCustomPrompt="1"/>
          </p:nvPr>
        </p:nvSpPr>
        <p:spPr>
          <a:xfrm>
            <a:off x="611980" y="161815"/>
            <a:ext cx="10725159" cy="188783"/>
          </a:xfrm>
        </p:spPr>
        <p:txBody>
          <a:bodyPr anchor="b"/>
          <a:lstStyle>
            <a:lvl1pPr marL="0" indent="0">
              <a:buNone/>
              <a:defRPr b="1">
                <a:solidFill>
                  <a:schemeClr val="tx2"/>
                </a:solidFill>
              </a:defRPr>
            </a:lvl1pPr>
            <a:lvl2pPr marL="246823" indent="0">
              <a:buNone/>
              <a:defRPr b="1"/>
            </a:lvl2pPr>
            <a:lvl3pPr marL="477055" indent="0">
              <a:buNone/>
              <a:defRPr b="1"/>
            </a:lvl3pPr>
            <a:lvl4pPr marL="707285" indent="0">
              <a:buNone/>
              <a:defRPr b="1"/>
            </a:lvl4pPr>
            <a:lvl5pPr marL="937517" indent="0">
              <a:buNone/>
              <a:defRPr b="1"/>
            </a:lvl5pPr>
          </a:lstStyle>
          <a:p>
            <a:pPr lvl="0"/>
            <a:r>
              <a:rPr lang="en-US" dirty="0" smtClean="0"/>
              <a:t>&lt;</a:t>
            </a:r>
            <a:r>
              <a:rPr lang="en-US" dirty="0" err="1" smtClean="0"/>
              <a:t>subtitulo</a:t>
            </a:r>
            <a:r>
              <a:rPr lang="en-US" dirty="0" smtClean="0"/>
              <a:t>&gt;</a:t>
            </a:r>
            <a:endParaRPr lang="en-US" dirty="0"/>
          </a:p>
        </p:txBody>
      </p:sp>
      <p:sp>
        <p:nvSpPr>
          <p:cNvPr id="16" name="Picture Placeholder 13"/>
          <p:cNvSpPr>
            <a:spLocks noGrp="1"/>
          </p:cNvSpPr>
          <p:nvPr>
            <p:ph type="pic" sz="quarter" idx="26"/>
          </p:nvPr>
        </p:nvSpPr>
        <p:spPr>
          <a:xfrm>
            <a:off x="9454039" y="4640540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4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7" name="Picture Placeholder 13"/>
          <p:cNvSpPr>
            <a:spLocks noGrp="1"/>
          </p:cNvSpPr>
          <p:nvPr>
            <p:ph type="pic" sz="quarter" idx="27"/>
          </p:nvPr>
        </p:nvSpPr>
        <p:spPr>
          <a:xfrm>
            <a:off x="5340106" y="4640540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4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8" name="Picture Placeholder 13"/>
          <p:cNvSpPr>
            <a:spLocks noGrp="1"/>
          </p:cNvSpPr>
          <p:nvPr>
            <p:ph type="pic" sz="quarter" idx="28"/>
          </p:nvPr>
        </p:nvSpPr>
        <p:spPr>
          <a:xfrm>
            <a:off x="3257112" y="4640540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4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9" name="Picture Placeholder 13"/>
          <p:cNvSpPr>
            <a:spLocks noGrp="1"/>
          </p:cNvSpPr>
          <p:nvPr>
            <p:ph type="pic" sz="quarter" idx="29"/>
          </p:nvPr>
        </p:nvSpPr>
        <p:spPr>
          <a:xfrm>
            <a:off x="1207277" y="4640540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4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0" name="Picture Placeholder 13"/>
          <p:cNvSpPr>
            <a:spLocks noGrp="1"/>
          </p:cNvSpPr>
          <p:nvPr>
            <p:ph type="pic" sz="quarter" idx="30"/>
          </p:nvPr>
        </p:nvSpPr>
        <p:spPr>
          <a:xfrm>
            <a:off x="7389938" y="4640540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4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893618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14:reveal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6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88862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 userDrawn="1"/>
        </p:nvSpPr>
        <p:spPr bwMode="auto">
          <a:xfrm>
            <a:off x="437849" y="131203"/>
            <a:ext cx="88165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pt-BR" sz="800" b="1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WORKING DRAFT</a:t>
            </a:r>
            <a:endParaRPr lang="pt-BR" sz="800" b="1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256936" y="36518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pt-BR" sz="800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 userDrawn="1"/>
        </p:nvSpPr>
        <p:spPr bwMode="auto">
          <a:xfrm>
            <a:off x="437872" y="286776"/>
            <a:ext cx="3069751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 userDrawn="1"/>
        </p:nvSpPr>
        <p:spPr bwMode="auto">
          <a:xfrm>
            <a:off x="437851" y="443936"/>
            <a:ext cx="270106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8" name="McK Title Elements" hidden="1"/>
          <p:cNvGrpSpPr>
            <a:grpSpLocks/>
          </p:cNvGrpSpPr>
          <p:nvPr userDrawn="1"/>
        </p:nvGrpSpPr>
        <p:grpSpPr bwMode="auto">
          <a:xfrm>
            <a:off x="4" y="18"/>
            <a:ext cx="11944879" cy="6723063"/>
            <a:chOff x="0" y="0"/>
            <a:chExt cx="5643" cy="4235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207" y="3361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ocument typ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207" y="3550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at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1" name="McK Disclaimer"/>
            <p:cNvSpPr>
              <a:spLocks noChangeArrowheads="1"/>
            </p:cNvSpPr>
            <p:nvPr/>
          </p:nvSpPr>
          <p:spPr bwMode="auto">
            <a:xfrm>
              <a:off x="207" y="3963"/>
              <a:ext cx="3226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804721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NFIDENTIAL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D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PRIETARY</a:t>
              </a:r>
              <a:endParaRPr lang="pt-BR" sz="80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  <a:p>
              <a:pPr defTabSz="804721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use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his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aterial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without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pecific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ermission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cKinsey &amp;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mpan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is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trictl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hibited</a:t>
              </a:r>
              <a:endParaRPr lang="pt-BR" sz="8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2" name="TitleBottomPlaceholder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3" name="TitleTopPlaceholder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Rectangle 1189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pic>
        <p:nvPicPr>
          <p:cNvPr id="18" name="TitleBottomBarBW" hidden="1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65663" y="6443669"/>
            <a:ext cx="2182379" cy="1920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7" name="Freeform 5"/>
          <p:cNvSpPr>
            <a:spLocks/>
          </p:cNvSpPr>
          <p:nvPr userDrawn="1"/>
        </p:nvSpPr>
        <p:spPr bwMode="auto">
          <a:xfrm flipH="1">
            <a:off x="4236" y="6635773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19" tIns="45710" rIns="91419" bIns="45710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9" name="Freeform 5"/>
          <p:cNvSpPr>
            <a:spLocks/>
          </p:cNvSpPr>
          <p:nvPr userDrawn="1"/>
        </p:nvSpPr>
        <p:spPr bwMode="auto">
          <a:xfrm flipH="1">
            <a:off x="4236" y="3180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19" tIns="45710" rIns="91419" bIns="45710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 userDrawn="1">
            <p:ph type="ctrTitle"/>
          </p:nvPr>
        </p:nvSpPr>
        <p:spPr>
          <a:xfrm>
            <a:off x="437852" y="2238434"/>
            <a:ext cx="6581329" cy="1292662"/>
          </a:xfrm>
          <a:prstGeom prst="rect">
            <a:avLst/>
          </a:prstGeom>
        </p:spPr>
        <p:txBody>
          <a:bodyPr/>
          <a:lstStyle>
            <a:lvl1pPr>
              <a:defRPr sz="4200" b="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dirty="0" smtClean="0"/>
              <a:t>Click </a:t>
            </a:r>
            <a:r>
              <a:rPr lang="pt-BR" noProof="0" dirty="0" err="1" smtClean="0"/>
              <a:t>to</a:t>
            </a:r>
            <a:r>
              <a:rPr lang="pt-BR" noProof="0" dirty="0" smtClean="0"/>
              <a:t> </a:t>
            </a:r>
            <a:r>
              <a:rPr lang="pt-BR" noProof="0" dirty="0" err="1" smtClean="0"/>
              <a:t>edit</a:t>
            </a:r>
            <a:r>
              <a:rPr lang="pt-BR" noProof="0" dirty="0" smtClean="0"/>
              <a:t> Master </a:t>
            </a:r>
            <a:r>
              <a:rPr lang="pt-BR" noProof="0" dirty="0" err="1" smtClean="0"/>
              <a:t>title</a:t>
            </a:r>
            <a:r>
              <a:rPr lang="pt-BR" noProof="0" dirty="0" smtClean="0"/>
              <a:t> </a:t>
            </a:r>
            <a:r>
              <a:rPr lang="pt-BR" noProof="0" dirty="0" err="1" smtClean="0"/>
              <a:t>style</a:t>
            </a:r>
            <a:endParaRPr lang="pt-BR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437852" y="3762850"/>
            <a:ext cx="6450496" cy="482639"/>
          </a:xfrm>
        </p:spPr>
        <p:txBody>
          <a:bodyPr wrap="square">
            <a:spAutoFit/>
          </a:bodyPr>
          <a:lstStyle>
            <a:lvl1pPr>
              <a:defRPr sz="310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smtClean="0"/>
              <a:t>Click to edit Master subtitle style</a:t>
            </a:r>
            <a:endParaRPr lang="pt-BR" noProof="0" dirty="0" smtClean="0"/>
          </a:p>
        </p:txBody>
      </p:sp>
      <p:grpSp>
        <p:nvGrpSpPr>
          <p:cNvPr id="25" name="Group 24"/>
          <p:cNvGrpSpPr/>
          <p:nvPr userDrawn="1"/>
        </p:nvGrpSpPr>
        <p:grpSpPr>
          <a:xfrm>
            <a:off x="8526083" y="2325895"/>
            <a:ext cx="3423031" cy="3656746"/>
            <a:chOff x="5526523" y="2325890"/>
            <a:chExt cx="3423032" cy="3656747"/>
          </a:xfrm>
        </p:grpSpPr>
        <p:sp>
          <p:nvSpPr>
            <p:cNvPr id="26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27" name="Group 26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28" name="Donut 27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29" name="Oval 28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0" name="Oval 29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95559214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02747132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89886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211678" y="230189"/>
            <a:ext cx="10903658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US" noProof="0" dirty="0" smtClean="0"/>
            </a:lvl1pPr>
          </a:lstStyle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  <p:sp>
        <p:nvSpPr>
          <p:cNvPr id="5" name="Slide Number"/>
          <p:cNvSpPr txBox="1">
            <a:spLocks/>
          </p:cNvSpPr>
          <p:nvPr userDrawn="1"/>
        </p:nvSpPr>
        <p:spPr>
          <a:xfrm>
            <a:off x="11394525" y="6426673"/>
            <a:ext cx="278354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pt-BR" smtClean="0">
                <a:solidFill>
                  <a:srgbClr val="000000"/>
                </a:solidFill>
                <a:cs typeface="Arial" panose="020B0604020202020204" pitchFamily="34" charset="0"/>
                <a:sym typeface="Arial" panose="020B0604020202020204" pitchFamily="34" charset="0"/>
              </a:rPr>
              <a:pPr/>
              <a:t>‹nº›</a:t>
            </a:fld>
            <a:endParaRPr lang="pt-BR" dirty="0">
              <a:solidFill>
                <a:srgbClr val="000000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4148120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21502" y="358910"/>
            <a:ext cx="10306110" cy="307777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pt-BR"/>
          </a:p>
        </p:txBody>
      </p:sp>
      <p:sp>
        <p:nvSpPr>
          <p:cNvPr id="3" name="Slide Number"/>
          <p:cNvSpPr txBox="1">
            <a:spLocks/>
          </p:cNvSpPr>
          <p:nvPr userDrawn="1"/>
        </p:nvSpPr>
        <p:spPr>
          <a:xfrm>
            <a:off x="11394525" y="6426673"/>
            <a:ext cx="278354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pt-BR" smtClean="0">
                <a:solidFill>
                  <a:srgbClr val="000000"/>
                </a:solidFill>
                <a:cs typeface="Arial" panose="020B0604020202020204" pitchFamily="34" charset="0"/>
                <a:sym typeface="Arial" panose="020B0604020202020204" pitchFamily="34" charset="0"/>
              </a:rPr>
              <a:pPr/>
              <a:t>‹nº›</a:t>
            </a:fld>
            <a:endParaRPr lang="pt-BR" dirty="0">
              <a:solidFill>
                <a:srgbClr val="000000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86938345"/>
      </p:ext>
    </p:extLst>
  </p:cSld>
  <p:clrMapOvr>
    <a:masterClrMapping/>
  </p:clrMapOvr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1758052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6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lide Number"/>
          <p:cNvSpPr txBox="1">
            <a:spLocks/>
          </p:cNvSpPr>
          <p:nvPr userDrawn="1"/>
        </p:nvSpPr>
        <p:spPr>
          <a:xfrm>
            <a:off x="11394525" y="6426673"/>
            <a:ext cx="278354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pt-BR" smtClean="0">
                <a:solidFill>
                  <a:srgbClr val="000000"/>
                </a:solidFill>
                <a:cs typeface="Arial" panose="020B0604020202020204" pitchFamily="34" charset="0"/>
                <a:sym typeface="Arial" panose="020B0604020202020204" pitchFamily="34" charset="0"/>
              </a:rPr>
              <a:pPr/>
              <a:t>‹nº›</a:t>
            </a:fld>
            <a:endParaRPr lang="pt-BR" dirty="0">
              <a:solidFill>
                <a:srgbClr val="000000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120178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165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422137" y="349328"/>
            <a:ext cx="6749230" cy="254184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704"/>
              </a:lnSpc>
              <a:defRPr sz="4700">
                <a:solidFill>
                  <a:srgbClr val="18C3FF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r>
              <a:rPr lang="en-US" dirty="0" smtClean="0"/>
              <a:t>. LOREM IPSUM DOLOR SIT AMET HAS ID CIBO QUIDAM</a:t>
            </a:r>
            <a:endParaRPr lang="en-US" dirty="0"/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422137" y="3071971"/>
            <a:ext cx="6749230" cy="796308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597333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7333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7333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  <p:sp>
        <p:nvSpPr>
          <p:cNvPr id="9" name="Espaço Reservado para Texto 2"/>
          <p:cNvSpPr>
            <a:spLocks noGrp="1"/>
          </p:cNvSpPr>
          <p:nvPr>
            <p:ph type="body" sz="quarter" idx="19" hasCustomPrompt="1"/>
          </p:nvPr>
        </p:nvSpPr>
        <p:spPr>
          <a:xfrm>
            <a:off x="8649528" y="6259815"/>
            <a:ext cx="3041593" cy="402290"/>
          </a:xfrm>
          <a:prstGeom prst="rect">
            <a:avLst/>
          </a:prstGeom>
        </p:spPr>
        <p:txBody>
          <a:bodyPr/>
          <a:lstStyle>
            <a:lvl1pPr marL="0" marR="0" indent="0" algn="l" defTabSz="597333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300">
                <a:solidFill>
                  <a:schemeClr val="bg2"/>
                </a:solidFill>
                <a:latin typeface="+mn-lt"/>
              </a:defRPr>
            </a:lvl1pPr>
            <a:lvl2pPr marL="597333" indent="0">
              <a:buNone/>
              <a:defRPr/>
            </a:lvl2pPr>
            <a:lvl3pPr marL="1194667" indent="0">
              <a:buNone/>
              <a:defRPr/>
            </a:lvl3pPr>
            <a:lvl4pPr marL="1792002" indent="0">
              <a:buNone/>
              <a:defRPr/>
            </a:lvl4pPr>
            <a:lvl5pPr marL="2389335" indent="0">
              <a:buNone/>
              <a:defRPr/>
            </a:lvl5pPr>
          </a:lstStyle>
          <a:p>
            <a:r>
              <a:rPr lang="en-US" dirty="0" smtClean="0">
                <a:latin typeface="+mn-lt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/>
              <a:t>‹nº›</a:t>
            </a:fld>
            <a:endParaRPr lang="en-US" dirty="0">
              <a:latin typeface="Simplon BP Bold"/>
              <a:cs typeface="Simplon BP Bold"/>
            </a:endParaRPr>
          </a:p>
        </p:txBody>
      </p:sp>
      <p:sp>
        <p:nvSpPr>
          <p:cNvPr id="5" name="Slide Number"/>
          <p:cNvSpPr txBox="1">
            <a:spLocks/>
          </p:cNvSpPr>
          <p:nvPr userDrawn="1"/>
        </p:nvSpPr>
        <p:spPr>
          <a:xfrm>
            <a:off x="11394525" y="6426673"/>
            <a:ext cx="278354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pt-BR" smtClean="0">
                <a:solidFill>
                  <a:srgbClr val="000000"/>
                </a:solidFill>
                <a:cs typeface="Arial" panose="020B0604020202020204" pitchFamily="34" charset="0"/>
                <a:sym typeface="Arial" panose="020B0604020202020204" pitchFamily="34" charset="0"/>
              </a:rPr>
              <a:pPr/>
              <a:t>‹nº›</a:t>
            </a:fld>
            <a:endParaRPr lang="pt-BR" dirty="0">
              <a:solidFill>
                <a:srgbClr val="000000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9501861"/>
      </p:ext>
    </p:extLst>
  </p:cSld>
  <p:clrMapOvr>
    <a:masterClrMapping/>
  </p:clrMapOvr>
</p:sldLayout>
</file>

<file path=ppt/slideLayouts/slideLayout16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  <p:sp>
        <p:nvSpPr>
          <p:cNvPr id="3" name="Slide Number"/>
          <p:cNvSpPr txBox="1">
            <a:spLocks/>
          </p:cNvSpPr>
          <p:nvPr userDrawn="1"/>
        </p:nvSpPr>
        <p:spPr>
          <a:xfrm>
            <a:off x="11394525" y="6426673"/>
            <a:ext cx="278354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pt-BR" smtClean="0">
                <a:solidFill>
                  <a:srgbClr val="000000"/>
                </a:solidFill>
                <a:cs typeface="Arial" panose="020B0604020202020204" pitchFamily="34" charset="0"/>
                <a:sym typeface="Arial" panose="020B0604020202020204" pitchFamily="34" charset="0"/>
              </a:rPr>
              <a:pPr/>
              <a:t>‹nº›</a:t>
            </a:fld>
            <a:endParaRPr lang="pt-BR" dirty="0">
              <a:solidFill>
                <a:srgbClr val="000000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45856655"/>
      </p:ext>
    </p:extLst>
  </p:cSld>
  <p:clrMapOvr>
    <a:masterClrMapping/>
  </p:clrMapOvr>
</p:sldLayout>
</file>

<file path=ppt/slideLayouts/slideLayout165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59" y="1573"/>
          <a:ext cx="1555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90910" name="Slide do think-cell" r:id="rId5" imgW="0" imgH="0" progId="TCLayout.ActiveDocument.1">
                  <p:embed/>
                </p:oleObj>
              </mc:Choice>
              <mc:Fallback>
                <p:oleObj name="Slide do think-cell" r:id="rId5" imgW="0" imgH="0" progId="TCLayout.ActiveDocument.1">
                  <p:embed/>
                  <p:pic>
                    <p:nvPicPr>
                      <p:cNvPr id="0" name="AutoShape 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59" y="1573"/>
                        <a:ext cx="1555" cy="155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>
          <a:xfrm>
            <a:off x="0" y="6162645"/>
            <a:ext cx="11949113" cy="558832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9" tIns="45710" rIns="91419" bIns="45710"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0" y="-58698"/>
            <a:ext cx="11949113" cy="186905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9" tIns="45710" rIns="91419" bIns="45710"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75510" y="228600"/>
            <a:ext cx="11491891" cy="30777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 smtClean="0"/>
              <a:t>Click to edit Master title style</a:t>
            </a:r>
            <a:endParaRPr lang="en-GB" dirty="0"/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 bwMode="gray">
          <a:xfrm>
            <a:off x="11419923" y="6508290"/>
            <a:ext cx="16190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fld id="{42C328C1-A84F-4A39-A664-DBA00541A8C6}" type="slidenum">
              <a:rPr sz="800" smtClean="0">
                <a:solidFill>
                  <a:srgbClr val="00CEFF"/>
                </a:solidFill>
              </a:rPr>
              <a:pPr/>
              <a:t>‹nº›</a:t>
            </a:fld>
            <a:endParaRPr sz="800" dirty="0">
              <a:solidFill>
                <a:srgbClr val="00CEFF"/>
              </a:solidFill>
            </a:endParaRPr>
          </a:p>
        </p:txBody>
      </p:sp>
      <p:sp>
        <p:nvSpPr>
          <p:cNvPr id="10" name="SlideLogoText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10272622" y="6508289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589"/>
            <a:r>
              <a:rPr lang="en-US" sz="800" dirty="0" smtClean="0">
                <a:solidFill>
                  <a:srgbClr val="00CEFF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4046810007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165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  <p:sp>
        <p:nvSpPr>
          <p:cNvPr id="3" name="Slide Number"/>
          <p:cNvSpPr txBox="1">
            <a:spLocks/>
          </p:cNvSpPr>
          <p:nvPr userDrawn="1"/>
        </p:nvSpPr>
        <p:spPr>
          <a:xfrm>
            <a:off x="11394525" y="6426673"/>
            <a:ext cx="278354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pt-BR" smtClean="0">
                <a:solidFill>
                  <a:srgbClr val="000000"/>
                </a:solidFill>
                <a:cs typeface="Arial" panose="020B0604020202020204" pitchFamily="34" charset="0"/>
                <a:sym typeface="Arial" panose="020B0604020202020204" pitchFamily="34" charset="0"/>
              </a:rPr>
              <a:pPr/>
              <a:t>‹nº›</a:t>
            </a:fld>
            <a:endParaRPr lang="pt-BR" dirty="0">
              <a:solidFill>
                <a:srgbClr val="000000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79105609"/>
      </p:ext>
    </p:extLst>
  </p:cSld>
  <p:clrMapOvr>
    <a:masterClrMapping/>
  </p:clrMapOvr>
</p:sldLayout>
</file>

<file path=ppt/slideLayouts/slideLayout165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2119622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65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Oi Indi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611999" y="1383727"/>
            <a:ext cx="5080447" cy="1689238"/>
          </a:xfrm>
        </p:spPr>
        <p:txBody>
          <a:bodyPr/>
          <a:lstStyle>
            <a:lvl1pPr marL="0" indent="0">
              <a:buNone/>
              <a:defRPr/>
            </a:lvl1pPr>
            <a:lvl2pPr marL="246823" indent="0">
              <a:buNone/>
              <a:defRPr/>
            </a:lvl2pPr>
            <a:lvl3pPr marL="477055" indent="0">
              <a:buNone/>
              <a:defRPr/>
            </a:lvl3pPr>
            <a:lvl4pPr marL="707285" indent="0">
              <a:buNone/>
              <a:defRPr/>
            </a:lvl4pPr>
            <a:lvl5pPr marL="937517" indent="0">
              <a:buNone/>
              <a:defRPr/>
            </a:lvl5pPr>
          </a:lstStyle>
          <a:p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,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consectetuer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adipiscing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elit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,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sed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diam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nonummy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nibh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euismod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tincidunt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ut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laoreet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dolore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magna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aliquam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erat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volutpat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.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Ut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wisi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enim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ad minim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veniam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,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quis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nostrud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exerci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tation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ullamcorper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suscipit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lobortis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nisl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ut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aliquip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ex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ea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commodo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consequat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. </a:t>
            </a: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3" hasCustomPrompt="1"/>
          </p:nvPr>
        </p:nvSpPr>
        <p:spPr>
          <a:xfrm>
            <a:off x="6287807" y="1383727"/>
            <a:ext cx="5049330" cy="1689238"/>
          </a:xfrm>
        </p:spPr>
        <p:txBody>
          <a:bodyPr/>
          <a:lstStyle>
            <a:lvl1pPr marL="0" indent="0">
              <a:buNone/>
              <a:defRPr sz="2700"/>
            </a:lvl1pPr>
            <a:lvl2pPr marL="246823" indent="0">
              <a:buNone/>
              <a:defRPr sz="2700"/>
            </a:lvl2pPr>
            <a:lvl3pPr marL="477055" indent="0">
              <a:buNone/>
              <a:defRPr sz="2700"/>
            </a:lvl3pPr>
            <a:lvl4pPr marL="707285" indent="0">
              <a:buNone/>
              <a:defRPr sz="2700"/>
            </a:lvl4pPr>
            <a:lvl5pPr marL="937517" indent="0">
              <a:buNone/>
              <a:defRPr sz="2700"/>
            </a:lvl5pPr>
          </a:lstStyle>
          <a:p>
            <a:pPr lvl="0"/>
            <a:r>
              <a:rPr lang="pt-PT" dirty="0"/>
              <a:t>3. </a:t>
            </a:r>
            <a:r>
              <a:rPr lang="pt-PT" dirty="0" err="1"/>
              <a:t>Impsum</a:t>
            </a:r>
            <a:r>
              <a:rPr lang="pt-PT" dirty="0"/>
              <a:t> </a:t>
            </a:r>
            <a:r>
              <a:rPr lang="pt-PT" dirty="0" err="1"/>
              <a:t>dolor</a:t>
            </a:r>
            <a:r>
              <a:rPr lang="pt-PT" dirty="0"/>
              <a:t>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endParaRPr lang="pt-PT" dirty="0"/>
          </a:p>
          <a:p>
            <a:pPr lvl="0"/>
            <a:r>
              <a:rPr lang="pt-PT" dirty="0"/>
              <a:t>5. </a:t>
            </a:r>
            <a:r>
              <a:rPr lang="pt-PT" dirty="0" err="1"/>
              <a:t>Dolor</a:t>
            </a:r>
            <a:r>
              <a:rPr lang="pt-PT" dirty="0"/>
              <a:t>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endParaRPr lang="pt-PT" dirty="0"/>
          </a:p>
          <a:p>
            <a:pPr lvl="0"/>
            <a:r>
              <a:rPr lang="pt-PT" dirty="0"/>
              <a:t>10. </a:t>
            </a:r>
            <a:r>
              <a:rPr lang="pt-PT" dirty="0" err="1"/>
              <a:t>Lorem</a:t>
            </a:r>
            <a:r>
              <a:rPr lang="pt-PT" dirty="0"/>
              <a:t> </a:t>
            </a:r>
            <a:r>
              <a:rPr lang="pt-PT" dirty="0" err="1"/>
              <a:t>ipsum</a:t>
            </a:r>
            <a:endParaRPr lang="pt-PT" dirty="0"/>
          </a:p>
          <a:p>
            <a:pPr lvl="0"/>
            <a:r>
              <a:rPr lang="pt-PT" dirty="0"/>
              <a:t>15. </a:t>
            </a:r>
            <a:r>
              <a:rPr lang="pt-PT" dirty="0" err="1"/>
              <a:t>Ipsum</a:t>
            </a:r>
            <a:r>
              <a:rPr lang="pt-PT" dirty="0"/>
              <a:t> </a:t>
            </a:r>
            <a:r>
              <a:rPr lang="pt-PT" dirty="0" err="1"/>
              <a:t>dolor</a:t>
            </a:r>
            <a:r>
              <a:rPr lang="pt-PT" dirty="0"/>
              <a:t>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r>
              <a:rPr lang="pt-PT" dirty="0"/>
              <a:t> </a:t>
            </a:r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5"/>
          </p:nvPr>
        </p:nvSpPr>
        <p:spPr>
          <a:xfrm>
            <a:off x="597476" y="6371933"/>
            <a:ext cx="10176095" cy="282263"/>
          </a:xfrm>
          <a:prstGeom prst="rect">
            <a:avLst/>
          </a:prstGeom>
        </p:spPr>
        <p:txBody>
          <a:bodyPr lIns="91430" tIns="45715" rIns="91430" bIns="45715"/>
          <a:lstStyle/>
          <a:p>
            <a:r>
              <a:rPr lang="pt-BR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6"/>
          </p:nvPr>
        </p:nvSpPr>
        <p:spPr>
          <a:xfrm>
            <a:off x="10773552" y="6371933"/>
            <a:ext cx="578105" cy="282263"/>
          </a:xfrm>
          <a:prstGeom prst="rect">
            <a:avLst/>
          </a:prstGeom>
        </p:spPr>
        <p:txBody>
          <a:bodyPr lIns="91430" tIns="45715" rIns="91430" bIns="45715"/>
          <a:lstStyle/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611976" y="5852797"/>
            <a:ext cx="3574719" cy="470497"/>
          </a:xfrm>
          <a:prstGeom prst="rect">
            <a:avLst/>
          </a:prstGeom>
          <a:noFill/>
        </p:spPr>
        <p:txBody>
          <a:bodyPr wrap="none" lIns="47036" tIns="47036" rIns="47036" bIns="47036" rtlCol="0" anchor="ctr" anchorCtr="0">
            <a:noAutofit/>
          </a:bodyPr>
          <a:lstStyle/>
          <a:p>
            <a:pPr defTabSz="597355" fontAlgn="auto">
              <a:lnSpc>
                <a:spcPts val="2352"/>
              </a:lnSpc>
              <a:spcBef>
                <a:spcPts val="0"/>
              </a:spcBef>
              <a:spcAft>
                <a:spcPts val="0"/>
              </a:spcAft>
            </a:pPr>
            <a:r>
              <a:rPr lang="pt-BR" sz="2700" dirty="0">
                <a:solidFill>
                  <a:srgbClr val="9F37FE"/>
                </a:solidFill>
                <a:latin typeface="Simplon BP" charset="0"/>
                <a:ea typeface="Simplon BP" charset="0"/>
                <a:cs typeface="Simplon BP" charset="0"/>
              </a:rPr>
              <a:t>TOTAL DE SLIDES:</a:t>
            </a:r>
            <a:endParaRPr lang="en-US" sz="2700" dirty="0">
              <a:solidFill>
                <a:srgbClr val="9F37FE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13" name="Text Placeholder 16"/>
          <p:cNvSpPr>
            <a:spLocks noGrp="1"/>
          </p:cNvSpPr>
          <p:nvPr>
            <p:ph type="body" sz="quarter" idx="14" hasCustomPrompt="1"/>
          </p:nvPr>
        </p:nvSpPr>
        <p:spPr>
          <a:xfrm>
            <a:off x="3810045" y="5852797"/>
            <a:ext cx="753042" cy="470497"/>
          </a:xfrm>
          <a:noFill/>
        </p:spPr>
        <p:txBody>
          <a:bodyPr wrap="none" lIns="47036" tIns="47036" rIns="47036" bIns="47036" rtlCol="0" anchor="ctr" anchorCtr="0">
            <a:noAutofit/>
          </a:bodyPr>
          <a:lstStyle>
            <a:lvl1pPr marL="0" indent="0">
              <a:buNone/>
              <a:defRPr lang="en-US" sz="2700" dirty="0">
                <a:solidFill>
                  <a:schemeClr val="accent1"/>
                </a:solidFill>
                <a:latin typeface="Simplon BP" charset="0"/>
                <a:ea typeface="Simplon BP" charset="0"/>
                <a:cs typeface="Simplon BP" charset="0"/>
              </a:defRPr>
            </a:lvl1pPr>
          </a:lstStyle>
          <a:p>
            <a:pPr marL="0" lvl="0">
              <a:lnSpc>
                <a:spcPts val="2352"/>
              </a:lnSpc>
              <a:spcAft>
                <a:spcPts val="0"/>
              </a:spcAft>
            </a:pPr>
            <a:r>
              <a:rPr lang="pt-PT" dirty="0"/>
              <a:t>##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06408270"/>
      </p:ext>
    </p:extLst>
  </p:cSld>
  <p:clrMapOvr>
    <a:masterClrMapping/>
  </p:clrMapOvr>
</p:sldLayout>
</file>

<file path=ppt/slideLayouts/slideLayout16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93981" name="Slide do think-cell" r:id="rId4" imgW="360" imgH="360" progId="TCLayout.ActiveDocument.1">
                  <p:embed/>
                </p:oleObj>
              </mc:Choice>
              <mc:Fallback>
                <p:oleObj name="Slide do think-cell" r:id="rId4" imgW="360" imgH="360" progId="TCLayout.ActiveDocument.1">
                  <p:embed/>
                  <p:pic>
                    <p:nvPicPr>
                      <p:cNvPr id="0" name="Picture 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 userDrawn="1"/>
        </p:nvSpPr>
        <p:spPr bwMode="auto">
          <a:xfrm>
            <a:off x="437849" y="131203"/>
            <a:ext cx="88165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pt-BR" sz="800" b="1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WORKING DRAFT</a:t>
            </a:r>
            <a:endParaRPr lang="pt-BR" sz="800" b="1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256936" y="36518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pt-BR" sz="800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 userDrawn="1"/>
        </p:nvSpPr>
        <p:spPr bwMode="auto">
          <a:xfrm>
            <a:off x="437872" y="286776"/>
            <a:ext cx="3069751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 userDrawn="1"/>
        </p:nvSpPr>
        <p:spPr bwMode="auto">
          <a:xfrm>
            <a:off x="437851" y="443936"/>
            <a:ext cx="270106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8" name="McK Title Elements" hidden="1"/>
          <p:cNvGrpSpPr>
            <a:grpSpLocks/>
          </p:cNvGrpSpPr>
          <p:nvPr userDrawn="1"/>
        </p:nvGrpSpPr>
        <p:grpSpPr bwMode="auto">
          <a:xfrm>
            <a:off x="4" y="18"/>
            <a:ext cx="11944879" cy="6723063"/>
            <a:chOff x="0" y="0"/>
            <a:chExt cx="5643" cy="4235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207" y="3361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ocument typ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207" y="3550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at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1" name="McK Disclaimer"/>
            <p:cNvSpPr>
              <a:spLocks noChangeArrowheads="1"/>
            </p:cNvSpPr>
            <p:nvPr/>
          </p:nvSpPr>
          <p:spPr bwMode="auto">
            <a:xfrm>
              <a:off x="207" y="3963"/>
              <a:ext cx="3226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804721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NFIDENTIAL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D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PRIETARY</a:t>
              </a:r>
              <a:endParaRPr lang="pt-BR" sz="80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  <a:p>
              <a:pPr defTabSz="804721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use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his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aterial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without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pecific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ermission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cKinsey &amp;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mpan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is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trictl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hibited</a:t>
              </a:r>
              <a:endParaRPr lang="pt-BR" sz="8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2" name="TitleBottomPlaceholder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3" name="TitleTopPlaceholder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Rectangle 1189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pic>
        <p:nvPicPr>
          <p:cNvPr id="18" name="TitleBottomBarBW" hidden="1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65663" y="6443669"/>
            <a:ext cx="2182379" cy="1920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7" name="Freeform 5"/>
          <p:cNvSpPr>
            <a:spLocks/>
          </p:cNvSpPr>
          <p:nvPr userDrawn="1"/>
        </p:nvSpPr>
        <p:spPr bwMode="auto">
          <a:xfrm flipH="1">
            <a:off x="4236" y="6635773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19" tIns="45710" rIns="91419" bIns="45710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9" name="Freeform 5"/>
          <p:cNvSpPr>
            <a:spLocks/>
          </p:cNvSpPr>
          <p:nvPr userDrawn="1"/>
        </p:nvSpPr>
        <p:spPr bwMode="auto">
          <a:xfrm flipH="1">
            <a:off x="4236" y="3180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19" tIns="45710" rIns="91419" bIns="45710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 userDrawn="1">
            <p:ph type="ctrTitle"/>
          </p:nvPr>
        </p:nvSpPr>
        <p:spPr>
          <a:xfrm>
            <a:off x="437852" y="2238434"/>
            <a:ext cx="6581329" cy="1292662"/>
          </a:xfrm>
          <a:prstGeom prst="rect">
            <a:avLst/>
          </a:prstGeom>
        </p:spPr>
        <p:txBody>
          <a:bodyPr/>
          <a:lstStyle>
            <a:lvl1pPr>
              <a:defRPr sz="4200" b="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dirty="0" smtClean="0"/>
              <a:t>Click </a:t>
            </a:r>
            <a:r>
              <a:rPr lang="pt-BR" noProof="0" dirty="0" err="1" smtClean="0"/>
              <a:t>to</a:t>
            </a:r>
            <a:r>
              <a:rPr lang="pt-BR" noProof="0" dirty="0" smtClean="0"/>
              <a:t> </a:t>
            </a:r>
            <a:r>
              <a:rPr lang="pt-BR" noProof="0" dirty="0" err="1" smtClean="0"/>
              <a:t>edit</a:t>
            </a:r>
            <a:r>
              <a:rPr lang="pt-BR" noProof="0" dirty="0" smtClean="0"/>
              <a:t> Master </a:t>
            </a:r>
            <a:r>
              <a:rPr lang="pt-BR" noProof="0" dirty="0" err="1" smtClean="0"/>
              <a:t>title</a:t>
            </a:r>
            <a:r>
              <a:rPr lang="pt-BR" noProof="0" dirty="0" smtClean="0"/>
              <a:t> </a:t>
            </a:r>
            <a:r>
              <a:rPr lang="pt-BR" noProof="0" dirty="0" err="1" smtClean="0"/>
              <a:t>style</a:t>
            </a:r>
            <a:endParaRPr lang="pt-BR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437852" y="3762850"/>
            <a:ext cx="6450496" cy="482639"/>
          </a:xfrm>
        </p:spPr>
        <p:txBody>
          <a:bodyPr wrap="square">
            <a:spAutoFit/>
          </a:bodyPr>
          <a:lstStyle>
            <a:lvl1pPr>
              <a:defRPr sz="310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smtClean="0"/>
              <a:t>Click to edit Master subtitle style</a:t>
            </a:r>
            <a:endParaRPr lang="pt-BR" noProof="0" dirty="0" smtClean="0"/>
          </a:p>
        </p:txBody>
      </p:sp>
      <p:grpSp>
        <p:nvGrpSpPr>
          <p:cNvPr id="25" name="Group 24"/>
          <p:cNvGrpSpPr/>
          <p:nvPr userDrawn="1"/>
        </p:nvGrpSpPr>
        <p:grpSpPr>
          <a:xfrm>
            <a:off x="8526083" y="2325895"/>
            <a:ext cx="3423031" cy="3656746"/>
            <a:chOff x="5526523" y="2325890"/>
            <a:chExt cx="3423032" cy="3656747"/>
          </a:xfrm>
        </p:grpSpPr>
        <p:sp>
          <p:nvSpPr>
            <p:cNvPr id="26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27" name="Group 26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28" name="Donut 27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29" name="Oval 28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0" name="Oval 29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71128247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69872790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95005" name="Slide do think-cell" r:id="rId4" imgW="360" imgH="360" progId="TCLayout.ActiveDocument.1">
                  <p:embed/>
                </p:oleObj>
              </mc:Choice>
              <mc:Fallback>
                <p:oleObj name="Slide do think-cell" r:id="rId4" imgW="360" imgH="360" progId="TCLayout.ActiveDocument.1">
                  <p:embed/>
                  <p:pic>
                    <p:nvPicPr>
                      <p:cNvPr id="0" name="Picture 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211678" y="230189"/>
            <a:ext cx="10903658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US" noProof="0" dirty="0" smtClean="0"/>
            </a:lvl1pPr>
          </a:lstStyle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  <p:sp>
        <p:nvSpPr>
          <p:cNvPr id="5" name="Slide Number"/>
          <p:cNvSpPr txBox="1">
            <a:spLocks/>
          </p:cNvSpPr>
          <p:nvPr userDrawn="1"/>
        </p:nvSpPr>
        <p:spPr>
          <a:xfrm>
            <a:off x="11394525" y="6426673"/>
            <a:ext cx="278354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pt-BR" smtClean="0">
                <a:solidFill>
                  <a:srgbClr val="000000"/>
                </a:solidFill>
                <a:cs typeface="Arial" panose="020B0604020202020204" pitchFamily="34" charset="0"/>
                <a:sym typeface="Arial" panose="020B0604020202020204" pitchFamily="34" charset="0"/>
              </a:rPr>
              <a:pPr/>
              <a:t>‹nº›</a:t>
            </a:fld>
            <a:endParaRPr lang="pt-BR" dirty="0">
              <a:solidFill>
                <a:srgbClr val="000000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1824901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5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21502" y="358910"/>
            <a:ext cx="10306110" cy="307777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pt-BR"/>
          </a:p>
        </p:txBody>
      </p:sp>
      <p:sp>
        <p:nvSpPr>
          <p:cNvPr id="3" name="Slide Number"/>
          <p:cNvSpPr txBox="1">
            <a:spLocks/>
          </p:cNvSpPr>
          <p:nvPr userDrawn="1"/>
        </p:nvSpPr>
        <p:spPr>
          <a:xfrm>
            <a:off x="11394525" y="6426673"/>
            <a:ext cx="278354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pt-BR" smtClean="0">
                <a:solidFill>
                  <a:srgbClr val="000000"/>
                </a:solidFill>
                <a:cs typeface="Arial" panose="020B0604020202020204" pitchFamily="34" charset="0"/>
                <a:sym typeface="Arial" panose="020B0604020202020204" pitchFamily="34" charset="0"/>
              </a:rPr>
              <a:pPr/>
              <a:t>‹nº›</a:t>
            </a:fld>
            <a:endParaRPr lang="pt-BR" dirty="0">
              <a:solidFill>
                <a:srgbClr val="000000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47590196"/>
      </p:ext>
    </p:extLst>
  </p:cSld>
  <p:clrMapOvr>
    <a:masterClrMapping/>
  </p:clrMapOvr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EA288C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4484521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66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lide Number"/>
          <p:cNvSpPr txBox="1">
            <a:spLocks/>
          </p:cNvSpPr>
          <p:nvPr userDrawn="1"/>
        </p:nvSpPr>
        <p:spPr>
          <a:xfrm>
            <a:off x="11394525" y="6426673"/>
            <a:ext cx="278354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pt-BR" smtClean="0">
                <a:solidFill>
                  <a:srgbClr val="000000"/>
                </a:solidFill>
                <a:cs typeface="Arial" panose="020B0604020202020204" pitchFamily="34" charset="0"/>
                <a:sym typeface="Arial" panose="020B0604020202020204" pitchFamily="34" charset="0"/>
              </a:rPr>
              <a:pPr/>
              <a:t>‹nº›</a:t>
            </a:fld>
            <a:endParaRPr lang="pt-BR" dirty="0">
              <a:solidFill>
                <a:srgbClr val="000000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651246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166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422137" y="349328"/>
            <a:ext cx="6749230" cy="254184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704"/>
              </a:lnSpc>
              <a:defRPr sz="4700">
                <a:solidFill>
                  <a:srgbClr val="18C3FF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r>
              <a:rPr lang="en-US" dirty="0" smtClean="0"/>
              <a:t>. LOREM IPSUM DOLOR SIT AMET HAS ID CIBO QUIDAM</a:t>
            </a:r>
            <a:endParaRPr lang="en-US" dirty="0"/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422137" y="3071971"/>
            <a:ext cx="6749230" cy="796308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597333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7333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7333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  <p:sp>
        <p:nvSpPr>
          <p:cNvPr id="9" name="Espaço Reservado para Texto 2"/>
          <p:cNvSpPr>
            <a:spLocks noGrp="1"/>
          </p:cNvSpPr>
          <p:nvPr>
            <p:ph type="body" sz="quarter" idx="19" hasCustomPrompt="1"/>
          </p:nvPr>
        </p:nvSpPr>
        <p:spPr>
          <a:xfrm>
            <a:off x="8649528" y="6259815"/>
            <a:ext cx="3041593" cy="402290"/>
          </a:xfrm>
          <a:prstGeom prst="rect">
            <a:avLst/>
          </a:prstGeom>
        </p:spPr>
        <p:txBody>
          <a:bodyPr/>
          <a:lstStyle>
            <a:lvl1pPr marL="0" marR="0" indent="0" algn="l" defTabSz="597333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300">
                <a:solidFill>
                  <a:schemeClr val="bg2"/>
                </a:solidFill>
                <a:latin typeface="+mn-lt"/>
              </a:defRPr>
            </a:lvl1pPr>
            <a:lvl2pPr marL="597333" indent="0">
              <a:buNone/>
              <a:defRPr/>
            </a:lvl2pPr>
            <a:lvl3pPr marL="1194667" indent="0">
              <a:buNone/>
              <a:defRPr/>
            </a:lvl3pPr>
            <a:lvl4pPr marL="1792002" indent="0">
              <a:buNone/>
              <a:defRPr/>
            </a:lvl4pPr>
            <a:lvl5pPr marL="2389335" indent="0">
              <a:buNone/>
              <a:defRPr/>
            </a:lvl5pPr>
          </a:lstStyle>
          <a:p>
            <a:r>
              <a:rPr lang="en-US" dirty="0" smtClean="0">
                <a:latin typeface="+mn-lt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/>
              <a:t>‹nº›</a:t>
            </a:fld>
            <a:endParaRPr lang="en-US" dirty="0">
              <a:latin typeface="Simplon BP Bold"/>
              <a:cs typeface="Simplon BP Bold"/>
            </a:endParaRPr>
          </a:p>
        </p:txBody>
      </p:sp>
      <p:sp>
        <p:nvSpPr>
          <p:cNvPr id="5" name="Slide Number"/>
          <p:cNvSpPr txBox="1">
            <a:spLocks/>
          </p:cNvSpPr>
          <p:nvPr userDrawn="1"/>
        </p:nvSpPr>
        <p:spPr>
          <a:xfrm>
            <a:off x="11394525" y="6426673"/>
            <a:ext cx="278354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pt-BR" smtClean="0">
                <a:solidFill>
                  <a:srgbClr val="000000"/>
                </a:solidFill>
                <a:cs typeface="Arial" panose="020B0604020202020204" pitchFamily="34" charset="0"/>
                <a:sym typeface="Arial" panose="020B0604020202020204" pitchFamily="34" charset="0"/>
              </a:rPr>
              <a:pPr/>
              <a:t>‹nº›</a:t>
            </a:fld>
            <a:endParaRPr lang="pt-BR" dirty="0">
              <a:solidFill>
                <a:srgbClr val="000000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18356737"/>
      </p:ext>
    </p:extLst>
  </p:cSld>
  <p:clrMapOvr>
    <a:masterClrMapping/>
  </p:clrMapOvr>
</p:sldLayout>
</file>

<file path=ppt/slideLayouts/slideLayout16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  <p:sp>
        <p:nvSpPr>
          <p:cNvPr id="3" name="Slide Number"/>
          <p:cNvSpPr txBox="1">
            <a:spLocks/>
          </p:cNvSpPr>
          <p:nvPr userDrawn="1"/>
        </p:nvSpPr>
        <p:spPr>
          <a:xfrm>
            <a:off x="11394525" y="6426673"/>
            <a:ext cx="278354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pt-BR" smtClean="0">
                <a:solidFill>
                  <a:srgbClr val="000000"/>
                </a:solidFill>
                <a:cs typeface="Arial" panose="020B0604020202020204" pitchFamily="34" charset="0"/>
                <a:sym typeface="Arial" panose="020B0604020202020204" pitchFamily="34" charset="0"/>
              </a:rPr>
              <a:pPr/>
              <a:t>‹nº›</a:t>
            </a:fld>
            <a:endParaRPr lang="pt-BR" dirty="0">
              <a:solidFill>
                <a:srgbClr val="000000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88235023"/>
      </p:ext>
    </p:extLst>
  </p:cSld>
  <p:clrMapOvr>
    <a:masterClrMapping/>
  </p:clrMapOvr>
</p:sldLayout>
</file>

<file path=ppt/slideLayouts/slideLayout166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59" y="1573"/>
          <a:ext cx="1555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96029" name="Slide do think-cell" r:id="rId5" imgW="360" imgH="360" progId="TCLayout.ActiveDocument.1">
                  <p:embed/>
                </p:oleObj>
              </mc:Choice>
              <mc:Fallback>
                <p:oleObj name="Slide do think-cell" r:id="rId5" imgW="360" imgH="360" progId="TCLayout.ActiveDocument.1">
                  <p:embed/>
                  <p:pic>
                    <p:nvPicPr>
                      <p:cNvPr id="0" name="Picture 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59" y="1573"/>
                        <a:ext cx="1555" cy="155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>
          <a:xfrm>
            <a:off x="0" y="6162645"/>
            <a:ext cx="11949113" cy="558832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9" tIns="45710" rIns="91419" bIns="45710"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0" y="-58698"/>
            <a:ext cx="11949113" cy="186905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9" tIns="45710" rIns="91419" bIns="45710"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75510" y="228600"/>
            <a:ext cx="11491891" cy="30777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 smtClean="0"/>
              <a:t>Click to edit Master title style</a:t>
            </a:r>
            <a:endParaRPr lang="en-GB" dirty="0"/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 bwMode="gray">
          <a:xfrm>
            <a:off x="11419923" y="6508290"/>
            <a:ext cx="16190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fld id="{42C328C1-A84F-4A39-A664-DBA00541A8C6}" type="slidenum">
              <a:rPr sz="800" smtClean="0">
                <a:solidFill>
                  <a:srgbClr val="00CEFF"/>
                </a:solidFill>
              </a:rPr>
              <a:pPr/>
              <a:t>‹nº›</a:t>
            </a:fld>
            <a:endParaRPr sz="800" dirty="0">
              <a:solidFill>
                <a:srgbClr val="00CEFF"/>
              </a:solidFill>
            </a:endParaRPr>
          </a:p>
        </p:txBody>
      </p:sp>
      <p:sp>
        <p:nvSpPr>
          <p:cNvPr id="10" name="SlideLogoText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10272622" y="6508289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589"/>
            <a:r>
              <a:rPr lang="en-US" sz="800" dirty="0" smtClean="0">
                <a:solidFill>
                  <a:srgbClr val="00CEFF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1085796491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166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  <p:sp>
        <p:nvSpPr>
          <p:cNvPr id="3" name="Slide Number"/>
          <p:cNvSpPr txBox="1">
            <a:spLocks/>
          </p:cNvSpPr>
          <p:nvPr userDrawn="1"/>
        </p:nvSpPr>
        <p:spPr>
          <a:xfrm>
            <a:off x="11394525" y="6426673"/>
            <a:ext cx="278354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pt-BR" smtClean="0">
                <a:solidFill>
                  <a:srgbClr val="000000"/>
                </a:solidFill>
                <a:cs typeface="Arial" panose="020B0604020202020204" pitchFamily="34" charset="0"/>
                <a:sym typeface="Arial" panose="020B0604020202020204" pitchFamily="34" charset="0"/>
              </a:rPr>
              <a:pPr/>
              <a:t>‹nº›</a:t>
            </a:fld>
            <a:endParaRPr lang="pt-BR" dirty="0">
              <a:solidFill>
                <a:srgbClr val="000000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36823783"/>
      </p:ext>
    </p:extLst>
  </p:cSld>
  <p:clrMapOvr>
    <a:masterClrMapping/>
  </p:clrMapOvr>
</p:sldLayout>
</file>

<file path=ppt/slideLayouts/slideLayout166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Oi Capa">
    <p:bg>
      <p:bgPr>
        <a:blipFill dpi="0" rotWithShape="1">
          <a:blip r:embed="rId2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3561172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66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Oi Indi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611999" y="1383727"/>
            <a:ext cx="5080447" cy="1689238"/>
          </a:xfrm>
        </p:spPr>
        <p:txBody>
          <a:bodyPr/>
          <a:lstStyle>
            <a:lvl1pPr marL="0" indent="0">
              <a:buNone/>
              <a:defRPr/>
            </a:lvl1pPr>
            <a:lvl2pPr marL="246823" indent="0">
              <a:buNone/>
              <a:defRPr/>
            </a:lvl2pPr>
            <a:lvl3pPr marL="477055" indent="0">
              <a:buNone/>
              <a:defRPr/>
            </a:lvl3pPr>
            <a:lvl4pPr marL="707285" indent="0">
              <a:buNone/>
              <a:defRPr/>
            </a:lvl4pPr>
            <a:lvl5pPr marL="937517" indent="0">
              <a:buNone/>
              <a:defRPr/>
            </a:lvl5pPr>
          </a:lstStyle>
          <a:p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,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consectetuer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adipiscing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elit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,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sed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diam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nonummy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nibh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euismod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tincidunt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ut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laoreet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dolore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magna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aliquam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erat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volutpat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.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Ut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wisi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enim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ad minim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veniam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,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quis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nostrud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exerci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tation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ullamcorper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suscipit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lobortis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nisl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ut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aliquip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ex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ea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commodo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consequat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. </a:t>
            </a: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3" hasCustomPrompt="1"/>
          </p:nvPr>
        </p:nvSpPr>
        <p:spPr>
          <a:xfrm>
            <a:off x="6287807" y="1383727"/>
            <a:ext cx="5049330" cy="1689238"/>
          </a:xfrm>
        </p:spPr>
        <p:txBody>
          <a:bodyPr/>
          <a:lstStyle>
            <a:lvl1pPr marL="0" indent="0">
              <a:buNone/>
              <a:defRPr sz="2700"/>
            </a:lvl1pPr>
            <a:lvl2pPr marL="246823" indent="0">
              <a:buNone/>
              <a:defRPr sz="2700"/>
            </a:lvl2pPr>
            <a:lvl3pPr marL="477055" indent="0">
              <a:buNone/>
              <a:defRPr sz="2700"/>
            </a:lvl3pPr>
            <a:lvl4pPr marL="707285" indent="0">
              <a:buNone/>
              <a:defRPr sz="2700"/>
            </a:lvl4pPr>
            <a:lvl5pPr marL="937517" indent="0">
              <a:buNone/>
              <a:defRPr sz="2700"/>
            </a:lvl5pPr>
          </a:lstStyle>
          <a:p>
            <a:pPr lvl="0"/>
            <a:r>
              <a:rPr lang="pt-PT" dirty="0"/>
              <a:t>3. </a:t>
            </a:r>
            <a:r>
              <a:rPr lang="pt-PT" dirty="0" err="1"/>
              <a:t>Impsum</a:t>
            </a:r>
            <a:r>
              <a:rPr lang="pt-PT" dirty="0"/>
              <a:t> </a:t>
            </a:r>
            <a:r>
              <a:rPr lang="pt-PT" dirty="0" err="1"/>
              <a:t>dolor</a:t>
            </a:r>
            <a:r>
              <a:rPr lang="pt-PT" dirty="0"/>
              <a:t>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endParaRPr lang="pt-PT" dirty="0"/>
          </a:p>
          <a:p>
            <a:pPr lvl="0"/>
            <a:r>
              <a:rPr lang="pt-PT" dirty="0"/>
              <a:t>5. </a:t>
            </a:r>
            <a:r>
              <a:rPr lang="pt-PT" dirty="0" err="1"/>
              <a:t>Dolor</a:t>
            </a:r>
            <a:r>
              <a:rPr lang="pt-PT" dirty="0"/>
              <a:t>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endParaRPr lang="pt-PT" dirty="0"/>
          </a:p>
          <a:p>
            <a:pPr lvl="0"/>
            <a:r>
              <a:rPr lang="pt-PT" dirty="0"/>
              <a:t>10. </a:t>
            </a:r>
            <a:r>
              <a:rPr lang="pt-PT" dirty="0" err="1"/>
              <a:t>Lorem</a:t>
            </a:r>
            <a:r>
              <a:rPr lang="pt-PT" dirty="0"/>
              <a:t> </a:t>
            </a:r>
            <a:r>
              <a:rPr lang="pt-PT" dirty="0" err="1"/>
              <a:t>ipsum</a:t>
            </a:r>
            <a:endParaRPr lang="pt-PT" dirty="0"/>
          </a:p>
          <a:p>
            <a:pPr lvl="0"/>
            <a:r>
              <a:rPr lang="pt-PT" dirty="0"/>
              <a:t>15. </a:t>
            </a:r>
            <a:r>
              <a:rPr lang="pt-PT" dirty="0" err="1"/>
              <a:t>Ipsum</a:t>
            </a:r>
            <a:r>
              <a:rPr lang="pt-PT" dirty="0"/>
              <a:t> </a:t>
            </a:r>
            <a:r>
              <a:rPr lang="pt-PT" dirty="0" err="1"/>
              <a:t>dolor</a:t>
            </a:r>
            <a:r>
              <a:rPr lang="pt-PT" dirty="0"/>
              <a:t>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r>
              <a:rPr lang="pt-PT" dirty="0"/>
              <a:t> </a:t>
            </a:r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5"/>
          </p:nvPr>
        </p:nvSpPr>
        <p:spPr>
          <a:xfrm>
            <a:off x="597476" y="6371933"/>
            <a:ext cx="10176095" cy="282263"/>
          </a:xfrm>
          <a:prstGeom prst="rect">
            <a:avLst/>
          </a:prstGeom>
        </p:spPr>
        <p:txBody>
          <a:bodyPr lIns="91430" tIns="45715" rIns="91430" bIns="45715"/>
          <a:lstStyle/>
          <a:p>
            <a:r>
              <a:rPr lang="pt-BR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6"/>
          </p:nvPr>
        </p:nvSpPr>
        <p:spPr>
          <a:xfrm>
            <a:off x="10773552" y="6371933"/>
            <a:ext cx="578105" cy="282263"/>
          </a:xfrm>
          <a:prstGeom prst="rect">
            <a:avLst/>
          </a:prstGeom>
        </p:spPr>
        <p:txBody>
          <a:bodyPr lIns="91430" tIns="45715" rIns="91430" bIns="45715"/>
          <a:lstStyle/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611976" y="5852797"/>
            <a:ext cx="3574719" cy="470497"/>
          </a:xfrm>
          <a:prstGeom prst="rect">
            <a:avLst/>
          </a:prstGeom>
          <a:noFill/>
        </p:spPr>
        <p:txBody>
          <a:bodyPr wrap="none" lIns="47036" tIns="47036" rIns="47036" bIns="47036" rtlCol="0" anchor="ctr" anchorCtr="0">
            <a:noAutofit/>
          </a:bodyPr>
          <a:lstStyle/>
          <a:p>
            <a:pPr defTabSz="597355" fontAlgn="auto">
              <a:lnSpc>
                <a:spcPts val="2352"/>
              </a:lnSpc>
              <a:spcBef>
                <a:spcPts val="0"/>
              </a:spcBef>
              <a:spcAft>
                <a:spcPts val="0"/>
              </a:spcAft>
            </a:pPr>
            <a:r>
              <a:rPr lang="pt-BR" sz="2700" dirty="0">
                <a:solidFill>
                  <a:srgbClr val="9F37FE"/>
                </a:solidFill>
                <a:latin typeface="Simplon BP" charset="0"/>
                <a:ea typeface="Simplon BP" charset="0"/>
                <a:cs typeface="Simplon BP" charset="0"/>
              </a:rPr>
              <a:t>TOTAL DE SLIDES:</a:t>
            </a:r>
            <a:endParaRPr lang="en-US" sz="2700" dirty="0">
              <a:solidFill>
                <a:srgbClr val="9F37FE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13" name="Text Placeholder 16"/>
          <p:cNvSpPr>
            <a:spLocks noGrp="1"/>
          </p:cNvSpPr>
          <p:nvPr>
            <p:ph type="body" sz="quarter" idx="14" hasCustomPrompt="1"/>
          </p:nvPr>
        </p:nvSpPr>
        <p:spPr>
          <a:xfrm>
            <a:off x="3810045" y="5852797"/>
            <a:ext cx="753042" cy="470497"/>
          </a:xfrm>
          <a:noFill/>
        </p:spPr>
        <p:txBody>
          <a:bodyPr wrap="none" lIns="47036" tIns="47036" rIns="47036" bIns="47036" rtlCol="0" anchor="ctr" anchorCtr="0">
            <a:noAutofit/>
          </a:bodyPr>
          <a:lstStyle>
            <a:lvl1pPr marL="0" indent="0">
              <a:buNone/>
              <a:defRPr lang="en-US" sz="2700" dirty="0">
                <a:solidFill>
                  <a:schemeClr val="accent1"/>
                </a:solidFill>
                <a:latin typeface="Simplon BP" charset="0"/>
                <a:ea typeface="Simplon BP" charset="0"/>
                <a:cs typeface="Simplon BP" charset="0"/>
              </a:defRPr>
            </a:lvl1pPr>
          </a:lstStyle>
          <a:p>
            <a:pPr marL="0" lvl="0">
              <a:lnSpc>
                <a:spcPts val="2352"/>
              </a:lnSpc>
              <a:spcAft>
                <a:spcPts val="0"/>
              </a:spcAft>
            </a:pPr>
            <a:r>
              <a:rPr lang="pt-PT" dirty="0"/>
              <a:t>##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61860543"/>
      </p:ext>
    </p:extLst>
  </p:cSld>
  <p:clrMapOvr>
    <a:masterClrMapping/>
  </p:clrMapOvr>
</p:sldLayout>
</file>

<file path=ppt/slideLayouts/slideLayout166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1978" y="358895"/>
            <a:ext cx="10725159" cy="1784245"/>
          </a:xfrm>
        </p:spPr>
        <p:txBody>
          <a:bodyPr lIns="36000" tIns="36000" rIns="36000" bIns="36000">
            <a:spAutoFit/>
          </a:bodyPr>
          <a:lstStyle>
            <a:lvl1pPr>
              <a:lnSpc>
                <a:spcPct val="100000"/>
              </a:lnSpc>
              <a:defRPr>
                <a:solidFill>
                  <a:srgbClr val="EA288C"/>
                </a:solidFill>
              </a:defRPr>
            </a:lvl1pPr>
          </a:lstStyle>
          <a:p>
            <a:r>
              <a:rPr lang="pt-BR" dirty="0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9622980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6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i Indi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1978" y="358894"/>
            <a:ext cx="5080447" cy="798856"/>
          </a:xfrm>
        </p:spPr>
        <p:txBody>
          <a:bodyPr lIns="36000" tIns="36000" rIns="36000" bIns="36000" anchor="ctr">
            <a:noAutofit/>
          </a:bodyPr>
          <a:lstStyle>
            <a:lvl1pPr>
              <a:lnSpc>
                <a:spcPct val="100000"/>
              </a:lnSpc>
              <a:defRPr>
                <a:solidFill>
                  <a:srgbClr val="EA288C"/>
                </a:solidFill>
              </a:defRPr>
            </a:lvl1pPr>
          </a:lstStyle>
          <a:p>
            <a:r>
              <a:rPr lang="pt-PT" dirty="0" smtClean="0"/>
              <a:t>Índice</a:t>
            </a:r>
            <a:endParaRPr lang="en-US" dirty="0"/>
          </a:p>
        </p:txBody>
      </p:sp>
      <p:sp>
        <p:nvSpPr>
          <p:cNvPr id="10" name="Title 22"/>
          <p:cNvSpPr txBox="1">
            <a:spLocks/>
          </p:cNvSpPr>
          <p:nvPr userDrawn="1"/>
        </p:nvSpPr>
        <p:spPr>
          <a:xfrm>
            <a:off x="6287747" y="358894"/>
            <a:ext cx="5049390" cy="517302"/>
          </a:xfrm>
          <a:prstGeom prst="rect">
            <a:avLst/>
          </a:prstGeom>
          <a:noFill/>
          <a:ln>
            <a:noFill/>
          </a:ln>
        </p:spPr>
        <p:txBody>
          <a:bodyPr lIns="47044" tIns="47044" rIns="47044" bIns="47044" anchor="t" anchorCtr="0">
            <a:spAutoFit/>
          </a:bodyPr>
          <a:lstStyle>
            <a:lvl1pPr algn="l" defTabSz="457200" rtl="0" eaLnBrk="1" latinLnBrk="0" hangingPunct="1">
              <a:lnSpc>
                <a:spcPts val="6800"/>
              </a:lnSpc>
              <a:spcBef>
                <a:spcPts val="3300"/>
              </a:spcBef>
              <a:buNone/>
              <a:defRPr sz="6600" b="0" i="1" kern="1200" baseline="0">
                <a:solidFill>
                  <a:schemeClr val="tx1"/>
                </a:solidFill>
                <a:latin typeface="Georgia"/>
                <a:ea typeface="+mj-ea"/>
                <a:cs typeface="Georgia"/>
              </a:defRPr>
            </a:lvl1pPr>
          </a:lstStyle>
          <a:p>
            <a:pPr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pt-BR" sz="2744" i="0" dirty="0" smtClean="0">
                <a:solidFill>
                  <a:srgbClr val="EA288C"/>
                </a:solidFill>
                <a:latin typeface="Simplon BP Bold"/>
                <a:cs typeface="Simplon BP Bold"/>
              </a:rPr>
              <a:t>SUMÁRIO EXECUTIVO</a:t>
            </a:r>
            <a:endParaRPr lang="en-US" sz="2744" i="0" dirty="0">
              <a:solidFill>
                <a:srgbClr val="EA288C"/>
              </a:solidFill>
              <a:latin typeface="Simplon BP Bold"/>
              <a:cs typeface="Simplon BP Bold"/>
            </a:endParaRP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611978" y="1383712"/>
            <a:ext cx="5080447" cy="4156583"/>
          </a:xfrm>
        </p:spPr>
        <p:txBody>
          <a:bodyPr/>
          <a:lstStyle>
            <a:lvl1pPr marL="0" indent="0">
              <a:buNone/>
              <a:defRPr/>
            </a:lvl1pPr>
            <a:lvl2pPr marL="246870" indent="0">
              <a:buNone/>
              <a:defRPr/>
            </a:lvl2pPr>
            <a:lvl3pPr marL="477145" indent="0">
              <a:buNone/>
              <a:defRPr/>
            </a:lvl3pPr>
            <a:lvl4pPr marL="707419" indent="0">
              <a:buNone/>
              <a:defRPr/>
            </a:lvl4pPr>
            <a:lvl5pPr marL="937694" indent="0">
              <a:buNone/>
              <a:defRPr/>
            </a:lvl5pPr>
          </a:lstStyle>
          <a:p>
            <a:r>
              <a:rPr lang="en-US" sz="183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183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3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183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183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183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, </a:t>
            </a:r>
            <a:r>
              <a:rPr lang="en-US" sz="183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consectetuer</a:t>
            </a:r>
            <a:r>
              <a:rPr lang="en-US" sz="183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3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dipiscing</a:t>
            </a:r>
            <a:r>
              <a:rPr lang="en-US" sz="183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3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lit</a:t>
            </a:r>
            <a:r>
              <a:rPr lang="en-US" sz="183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, </a:t>
            </a:r>
            <a:r>
              <a:rPr lang="en-US" sz="183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sed</a:t>
            </a:r>
            <a:r>
              <a:rPr lang="en-US" sz="183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3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diam</a:t>
            </a:r>
            <a:r>
              <a:rPr lang="en-US" sz="183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3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nonummy</a:t>
            </a:r>
            <a:r>
              <a:rPr lang="en-US" sz="183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3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nibh</a:t>
            </a:r>
            <a:r>
              <a:rPr lang="en-US" sz="183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3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uismod</a:t>
            </a:r>
            <a:r>
              <a:rPr lang="en-US" sz="183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3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tincidunt</a:t>
            </a:r>
            <a:r>
              <a:rPr lang="en-US" sz="183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3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ut</a:t>
            </a:r>
            <a:r>
              <a:rPr lang="en-US" sz="183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3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aoreet</a:t>
            </a:r>
            <a:r>
              <a:rPr lang="en-US" sz="183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3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dolore</a:t>
            </a:r>
            <a:r>
              <a:rPr lang="en-US" sz="183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magna </a:t>
            </a:r>
            <a:r>
              <a:rPr lang="en-US" sz="183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liquam</a:t>
            </a:r>
            <a:r>
              <a:rPr lang="en-US" sz="183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3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rat</a:t>
            </a:r>
            <a:r>
              <a:rPr lang="en-US" sz="183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3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volutpat</a:t>
            </a:r>
            <a:r>
              <a:rPr lang="en-US" sz="183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. </a:t>
            </a:r>
            <a:r>
              <a:rPr lang="en-US" sz="183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Ut</a:t>
            </a:r>
            <a:r>
              <a:rPr lang="en-US" sz="183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3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wisi</a:t>
            </a:r>
            <a:r>
              <a:rPr lang="en-US" sz="183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3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nim</a:t>
            </a:r>
            <a:r>
              <a:rPr lang="en-US" sz="183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ad minim </a:t>
            </a:r>
            <a:r>
              <a:rPr lang="en-US" sz="183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veniam</a:t>
            </a:r>
            <a:r>
              <a:rPr lang="en-US" sz="183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, </a:t>
            </a:r>
            <a:r>
              <a:rPr lang="en-US" sz="183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quis</a:t>
            </a:r>
            <a:r>
              <a:rPr lang="en-US" sz="183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3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nostrud</a:t>
            </a:r>
            <a:r>
              <a:rPr lang="en-US" sz="183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3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xerci</a:t>
            </a:r>
            <a:r>
              <a:rPr lang="en-US" sz="183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3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tation</a:t>
            </a:r>
            <a:r>
              <a:rPr lang="en-US" sz="183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3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ullamcorper</a:t>
            </a:r>
            <a:r>
              <a:rPr lang="en-US" sz="183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3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suscipit</a:t>
            </a:r>
            <a:r>
              <a:rPr lang="en-US" sz="183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3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bortis</a:t>
            </a:r>
            <a:r>
              <a:rPr lang="en-US" sz="183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3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nisl</a:t>
            </a:r>
            <a:r>
              <a:rPr lang="en-US" sz="183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3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ut</a:t>
            </a:r>
            <a:r>
              <a:rPr lang="en-US" sz="183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3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liquip</a:t>
            </a:r>
            <a:r>
              <a:rPr lang="en-US" sz="183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ex </a:t>
            </a:r>
            <a:r>
              <a:rPr lang="en-US" sz="183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a</a:t>
            </a:r>
            <a:r>
              <a:rPr lang="en-US" sz="183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3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commodo</a:t>
            </a:r>
            <a:r>
              <a:rPr lang="en-US" sz="183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3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consequat</a:t>
            </a:r>
            <a:r>
              <a:rPr lang="en-US" sz="183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. </a:t>
            </a:r>
            <a:endParaRPr lang="en-US" sz="183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3" hasCustomPrompt="1"/>
          </p:nvPr>
        </p:nvSpPr>
        <p:spPr>
          <a:xfrm>
            <a:off x="6287807" y="1383712"/>
            <a:ext cx="5049330" cy="4156583"/>
          </a:xfrm>
        </p:spPr>
        <p:txBody>
          <a:bodyPr/>
          <a:lstStyle>
            <a:lvl1pPr marL="0" indent="0">
              <a:buNone/>
              <a:defRPr sz="2744"/>
            </a:lvl1pPr>
            <a:lvl2pPr marL="246870" indent="0">
              <a:buNone/>
              <a:defRPr sz="2744"/>
            </a:lvl2pPr>
            <a:lvl3pPr marL="477145" indent="0">
              <a:buNone/>
              <a:defRPr sz="2744"/>
            </a:lvl3pPr>
            <a:lvl4pPr marL="707419" indent="0">
              <a:buNone/>
              <a:defRPr sz="2744"/>
            </a:lvl4pPr>
            <a:lvl5pPr marL="937694" indent="0">
              <a:buNone/>
              <a:defRPr sz="2744"/>
            </a:lvl5pPr>
          </a:lstStyle>
          <a:p>
            <a:pPr lvl="0"/>
            <a:r>
              <a:rPr lang="pt-PT" dirty="0" smtClean="0"/>
              <a:t>3. </a:t>
            </a:r>
            <a:r>
              <a:rPr lang="pt-PT" dirty="0" err="1" smtClean="0"/>
              <a:t>Impsu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endParaRPr lang="pt-PT" dirty="0" smtClean="0"/>
          </a:p>
          <a:p>
            <a:pPr lvl="0"/>
            <a:r>
              <a:rPr lang="pt-PT" dirty="0" smtClean="0"/>
              <a:t>5.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endParaRPr lang="pt-PT" dirty="0" smtClean="0"/>
          </a:p>
          <a:p>
            <a:pPr lvl="0"/>
            <a:r>
              <a:rPr lang="pt-PT" dirty="0" smtClean="0"/>
              <a:t>10. </a:t>
            </a:r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endParaRPr lang="pt-PT" dirty="0" smtClean="0"/>
          </a:p>
          <a:p>
            <a:pPr lvl="0"/>
            <a:r>
              <a:rPr lang="pt-PT" dirty="0" smtClean="0"/>
              <a:t>15. </a:t>
            </a:r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1" name="TextBox 10"/>
          <p:cNvSpPr txBox="1"/>
          <p:nvPr userDrawn="1"/>
        </p:nvSpPr>
        <p:spPr>
          <a:xfrm>
            <a:off x="611977" y="5852781"/>
            <a:ext cx="3198068" cy="470497"/>
          </a:xfrm>
          <a:prstGeom prst="rect">
            <a:avLst/>
          </a:prstGeom>
          <a:noFill/>
        </p:spPr>
        <p:txBody>
          <a:bodyPr wrap="none" lIns="47044" tIns="47044" rIns="47044" bIns="47044" rtlCol="0" anchor="ctr" anchorCtr="0">
            <a:noAutofit/>
          </a:bodyPr>
          <a:lstStyle/>
          <a:p>
            <a:pPr defTabSz="597469" fontAlgn="auto">
              <a:lnSpc>
                <a:spcPts val="2352"/>
              </a:lnSpc>
              <a:spcBef>
                <a:spcPts val="0"/>
              </a:spcBef>
              <a:spcAft>
                <a:spcPts val="0"/>
              </a:spcAft>
            </a:pPr>
            <a:r>
              <a:rPr lang="pt-BR" sz="2744" dirty="0" smtClean="0">
                <a:solidFill>
                  <a:srgbClr val="EA288C"/>
                </a:solidFill>
                <a:latin typeface="Simplon BP" charset="0"/>
                <a:ea typeface="Simplon BP" charset="0"/>
                <a:cs typeface="Simplon BP" charset="0"/>
              </a:rPr>
              <a:t>TOTAL DE SLIDES:</a:t>
            </a:r>
            <a:endParaRPr lang="en-US" sz="2744" dirty="0" smtClean="0">
              <a:solidFill>
                <a:srgbClr val="EA288C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13" name="Text Placeholder 16"/>
          <p:cNvSpPr>
            <a:spLocks noGrp="1"/>
          </p:cNvSpPr>
          <p:nvPr>
            <p:ph type="body" sz="quarter" idx="14" hasCustomPrompt="1"/>
          </p:nvPr>
        </p:nvSpPr>
        <p:spPr>
          <a:xfrm>
            <a:off x="3904143" y="5897789"/>
            <a:ext cx="463836" cy="380480"/>
          </a:xfrm>
          <a:noFill/>
        </p:spPr>
        <p:txBody>
          <a:bodyPr wrap="none" lIns="36000" tIns="36000" rIns="36000" bIns="36000" rtlCol="0" anchor="ctr" anchorCtr="0">
            <a:spAutoFit/>
          </a:bodyPr>
          <a:lstStyle>
            <a:lvl1pPr marL="0" indent="0">
              <a:lnSpc>
                <a:spcPct val="100000"/>
              </a:lnSpc>
              <a:buNone/>
              <a:defRPr lang="en-US" sz="2744" dirty="0">
                <a:solidFill>
                  <a:srgbClr val="EA288C"/>
                </a:solidFill>
                <a:latin typeface="Simplon BP" charset="0"/>
                <a:ea typeface="Simplon BP" charset="0"/>
                <a:cs typeface="Simplon BP" charset="0"/>
              </a:defRPr>
            </a:lvl1pPr>
          </a:lstStyle>
          <a:p>
            <a:pPr marL="0" lvl="0">
              <a:lnSpc>
                <a:spcPts val="2352"/>
              </a:lnSpc>
              <a:spcAft>
                <a:spcPts val="0"/>
              </a:spcAft>
            </a:pPr>
            <a:r>
              <a:rPr lang="pt-PT" dirty="0" smtClean="0"/>
              <a:t>##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73344101"/>
      </p:ext>
    </p:extLst>
  </p:cSld>
  <p:clrMapOvr>
    <a:masterClrMapping/>
  </p:clrMapOvr>
</p:sldLayout>
</file>

<file path=ppt/slideLayouts/slideLayout16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I Titulo Corpo later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1978" y="358894"/>
            <a:ext cx="5069337" cy="6014060"/>
          </a:xfrm>
        </p:spPr>
        <p:txBody>
          <a:bodyPr lIns="36000" tIns="36000" rIns="36000" bIns="36000"/>
          <a:lstStyle>
            <a:lvl1pPr marL="0" marR="0" indent="0" algn="l" defTabSz="597469" rtl="0" eaLnBrk="1" fontAlgn="auto" latinLnBrk="0" hangingPunct="1">
              <a:lnSpc>
                <a:spcPts val="5489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>
                <a:solidFill>
                  <a:srgbClr val="EA288C"/>
                </a:solidFill>
              </a:defRPr>
            </a:lvl1pPr>
          </a:lstStyle>
          <a:p>
            <a:r>
              <a:rPr lang="pt-PT" dirty="0" smtClean="0"/>
              <a:t>Título </a:t>
            </a:r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DOLOR SIT AMET CONSECTETOR LOREM IPSUM INSERIR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256689" y="358894"/>
            <a:ext cx="5080447" cy="601406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950614" y="6396289"/>
            <a:ext cx="2728838" cy="233516"/>
          </a:xfrm>
          <a:prstGeom prst="rect">
            <a:avLst/>
          </a:prstGeom>
        </p:spPr>
        <p:txBody>
          <a:bodyPr vert="horz" lIns="36000" tIns="36000" rIns="36000" bIns="36000" rtlCol="0" anchor="ctr">
            <a:spAutoFit/>
          </a:bodyPr>
          <a:lstStyle>
            <a:lvl1pPr algn="r">
              <a:defRPr sz="1045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69908" y="6396289"/>
            <a:ext cx="578105" cy="233516"/>
          </a:xfrm>
          <a:prstGeom prst="rect">
            <a:avLst/>
          </a:prstGeom>
        </p:spPr>
        <p:txBody>
          <a:bodyPr vert="horz" lIns="36000" tIns="36000" rIns="36000" bIns="36000" rtlCol="0" anchor="ctr">
            <a:spAutoFit/>
          </a:bodyPr>
          <a:lstStyle>
            <a:lvl1pPr algn="r">
              <a:defRPr sz="1045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5344033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6D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147887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6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I Titulo Corpo Lateral Destaq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1978" y="358894"/>
            <a:ext cx="5069337" cy="6014060"/>
          </a:xfrm>
        </p:spPr>
        <p:txBody>
          <a:bodyPr vert="horz" lIns="36000" tIns="36000" rIns="36000" bIns="36000" rtlCol="0" anchor="t">
            <a:noAutofit/>
          </a:bodyPr>
          <a:lstStyle>
            <a:lvl1pPr>
              <a:defRPr lang="pt-PT" dirty="0" smtClean="0">
                <a:solidFill>
                  <a:srgbClr val="EA288C"/>
                </a:solidFill>
              </a:defRPr>
            </a:lvl1pPr>
          </a:lstStyle>
          <a:p>
            <a:pPr marL="0" marR="0" lvl="0" indent="0" fontAlgn="auto">
              <a:buClrTx/>
              <a:buSzTx/>
              <a:buFontTx/>
              <a:tabLst/>
            </a:pPr>
            <a:r>
              <a:rPr lang="pt-PT" dirty="0" smtClean="0"/>
              <a:t>Título </a:t>
            </a:r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DOLOR SIT AMET CONSECTETOR LOREM IPSUM INSERIR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2" hasCustomPrompt="1"/>
          </p:nvPr>
        </p:nvSpPr>
        <p:spPr>
          <a:xfrm>
            <a:off x="6256688" y="358894"/>
            <a:ext cx="5094969" cy="6014060"/>
          </a:xfrm>
        </p:spPr>
        <p:txBody>
          <a:bodyPr/>
          <a:lstStyle>
            <a:lvl1pPr marL="304959" indent="-304959">
              <a:buFont typeface="Arial" charset="0"/>
              <a:buChar char="•"/>
              <a:tabLst/>
              <a:defRPr sz="2744">
                <a:solidFill>
                  <a:schemeClr val="tx1"/>
                </a:solidFill>
              </a:defRPr>
            </a:lvl1pPr>
            <a:lvl2pPr>
              <a:defRPr sz="2744"/>
            </a:lvl2pPr>
            <a:lvl3pPr>
              <a:defRPr sz="2744"/>
            </a:lvl3pPr>
            <a:lvl4pPr>
              <a:defRPr sz="2744"/>
            </a:lvl4pPr>
            <a:lvl5pPr>
              <a:defRPr sz="2744"/>
            </a:lvl5pPr>
          </a:lstStyle>
          <a:p>
            <a:pPr lvl="0"/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 </a:t>
            </a:r>
            <a:r>
              <a:rPr lang="pt-PT" dirty="0" err="1" smtClean="0"/>
              <a:t>ips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 </a:t>
            </a:r>
            <a:r>
              <a:rPr lang="pt-PT" dirty="0" err="1" smtClean="0"/>
              <a:t>lorem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lorem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Amet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.</a:t>
            </a:r>
          </a:p>
          <a:p>
            <a:pPr lvl="0"/>
            <a:endParaRPr lang="pt-PT" dirty="0" smtClean="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950614" y="6396289"/>
            <a:ext cx="2728838" cy="233516"/>
          </a:xfrm>
          <a:prstGeom prst="rect">
            <a:avLst/>
          </a:prstGeom>
        </p:spPr>
        <p:txBody>
          <a:bodyPr vert="horz" lIns="36000" tIns="36000" rIns="36000" bIns="36000" rtlCol="0" anchor="ctr">
            <a:spAutoFit/>
          </a:bodyPr>
          <a:lstStyle>
            <a:lvl1pPr algn="r">
              <a:defRPr sz="1045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69908" y="6396289"/>
            <a:ext cx="578105" cy="233516"/>
          </a:xfrm>
          <a:prstGeom prst="rect">
            <a:avLst/>
          </a:prstGeom>
        </p:spPr>
        <p:txBody>
          <a:bodyPr vert="horz" lIns="36000" tIns="36000" rIns="36000" bIns="36000" rtlCol="0" anchor="ctr">
            <a:spAutoFit/>
          </a:bodyPr>
          <a:lstStyle>
            <a:lvl1pPr algn="r">
              <a:defRPr sz="1045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5206094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2744">
          <p15:clr>
            <a:srgbClr val="FBAE40"/>
          </p15:clr>
        </p15:guide>
        <p15:guide id="2" pos="3016">
          <p15:clr>
            <a:srgbClr val="FBAE40"/>
          </p15:clr>
        </p15:guide>
      </p15:sldGuideLst>
    </p:ext>
  </p:extLst>
</p:sldLayout>
</file>

<file path=ppt/slideLayouts/slideLayout16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1977" y="1854630"/>
            <a:ext cx="10725159" cy="4423187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950614" y="6396289"/>
            <a:ext cx="2728838" cy="233516"/>
          </a:xfrm>
          <a:prstGeom prst="rect">
            <a:avLst/>
          </a:prstGeom>
        </p:spPr>
        <p:txBody>
          <a:bodyPr vert="horz" lIns="36000" tIns="36000" rIns="36000" bIns="36000" rtlCol="0" anchor="ctr">
            <a:spAutoFit/>
          </a:bodyPr>
          <a:lstStyle>
            <a:lvl1pPr algn="r">
              <a:defRPr sz="1045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69908" y="6396289"/>
            <a:ext cx="578105" cy="233516"/>
          </a:xfrm>
          <a:prstGeom prst="rect">
            <a:avLst/>
          </a:prstGeom>
        </p:spPr>
        <p:txBody>
          <a:bodyPr vert="horz" lIns="36000" tIns="36000" rIns="36000" bIns="36000" rtlCol="0" anchor="ctr">
            <a:spAutoFit/>
          </a:bodyPr>
          <a:lstStyle>
            <a:lvl1pPr algn="r">
              <a:defRPr sz="1045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>
          <a:xfrm>
            <a:off x="611978" y="358894"/>
            <a:ext cx="10725159" cy="798856"/>
          </a:xfrm>
        </p:spPr>
        <p:txBody>
          <a:bodyPr lIns="36000" tIns="36000" rIns="36000" bIns="36000" anchor="ctr">
            <a:noAutofit/>
          </a:bodyPr>
          <a:lstStyle>
            <a:lvl1pPr>
              <a:lnSpc>
                <a:spcPct val="100000"/>
              </a:lnSpc>
              <a:defRPr>
                <a:solidFill>
                  <a:srgbClr val="EA288C"/>
                </a:solidFill>
              </a:defRPr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611978" y="1290131"/>
            <a:ext cx="10725159" cy="446933"/>
          </a:xfrm>
        </p:spPr>
        <p:txBody>
          <a:bodyPr lIns="36000" tIns="36000" rIns="36000" bIns="36000" anchor="t">
            <a:noAutofit/>
          </a:bodyPr>
          <a:lstStyle>
            <a:lvl1pPr marL="0" indent="0">
              <a:lnSpc>
                <a:spcPts val="2744"/>
              </a:lnSpc>
              <a:buNone/>
              <a:defRPr sz="2614">
                <a:solidFill>
                  <a:srgbClr val="4D4D4D"/>
                </a:solidFill>
              </a:defRPr>
            </a:lvl1pPr>
            <a:lvl2pPr marL="246870" indent="0">
              <a:buNone/>
              <a:defRPr sz="2744">
                <a:solidFill>
                  <a:schemeClr val="accent3"/>
                </a:solidFill>
              </a:defRPr>
            </a:lvl2pPr>
            <a:lvl3pPr marL="477145" indent="0">
              <a:buNone/>
              <a:defRPr sz="2744">
                <a:solidFill>
                  <a:schemeClr val="accent3"/>
                </a:solidFill>
              </a:defRPr>
            </a:lvl3pPr>
            <a:lvl4pPr marL="707419" indent="0">
              <a:buNone/>
              <a:defRPr sz="2744">
                <a:solidFill>
                  <a:schemeClr val="accent3"/>
                </a:solidFill>
              </a:defRPr>
            </a:lvl4pPr>
            <a:lvl5pPr marL="937694" indent="0">
              <a:buNone/>
              <a:defRPr sz="2744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44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44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44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44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44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44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44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44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44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041781085"/>
      </p:ext>
    </p:extLst>
  </p:cSld>
  <p:clrMapOvr>
    <a:masterClrMapping/>
  </p:clrMapOvr>
</p:sldLayout>
</file>

<file path=ppt/slideLayouts/slideLayout16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79" y="1854630"/>
            <a:ext cx="5080446" cy="4423187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854630"/>
            <a:ext cx="5080448" cy="4423188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950614" y="6396289"/>
            <a:ext cx="2728838" cy="233516"/>
          </a:xfrm>
          <a:prstGeom prst="rect">
            <a:avLst/>
          </a:prstGeom>
        </p:spPr>
        <p:txBody>
          <a:bodyPr vert="horz" lIns="36000" tIns="36000" rIns="36000" bIns="36000" rtlCol="0" anchor="ctr">
            <a:spAutoFit/>
          </a:bodyPr>
          <a:lstStyle>
            <a:lvl1pPr algn="r">
              <a:defRPr sz="1045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5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69908" y="6396289"/>
            <a:ext cx="578105" cy="233516"/>
          </a:xfrm>
          <a:prstGeom prst="rect">
            <a:avLst/>
          </a:prstGeom>
        </p:spPr>
        <p:txBody>
          <a:bodyPr vert="horz" lIns="36000" tIns="36000" rIns="36000" bIns="36000" rtlCol="0" anchor="ctr">
            <a:spAutoFit/>
          </a:bodyPr>
          <a:lstStyle>
            <a:lvl1pPr algn="r">
              <a:defRPr sz="1045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611978" y="358894"/>
            <a:ext cx="10725159" cy="798856"/>
          </a:xfrm>
        </p:spPr>
        <p:txBody>
          <a:bodyPr lIns="36000" tIns="36000" rIns="36000" bIns="36000" anchor="ctr">
            <a:noAutofit/>
          </a:bodyPr>
          <a:lstStyle>
            <a:lvl1pPr>
              <a:lnSpc>
                <a:spcPct val="100000"/>
              </a:lnSpc>
              <a:defRPr>
                <a:solidFill>
                  <a:srgbClr val="EA288C"/>
                </a:solidFill>
              </a:defRPr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7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1978" y="1290131"/>
            <a:ext cx="10725159" cy="446933"/>
          </a:xfrm>
        </p:spPr>
        <p:txBody>
          <a:bodyPr lIns="36000" tIns="36000" rIns="36000" bIns="36000" anchor="t">
            <a:noAutofit/>
          </a:bodyPr>
          <a:lstStyle>
            <a:lvl1pPr marL="0" indent="0">
              <a:lnSpc>
                <a:spcPts val="2744"/>
              </a:lnSpc>
              <a:buNone/>
              <a:defRPr sz="2614">
                <a:solidFill>
                  <a:srgbClr val="4D4D4D"/>
                </a:solidFill>
              </a:defRPr>
            </a:lvl1pPr>
            <a:lvl2pPr marL="246870" indent="0">
              <a:buNone/>
              <a:defRPr sz="2744">
                <a:solidFill>
                  <a:schemeClr val="accent3"/>
                </a:solidFill>
              </a:defRPr>
            </a:lvl2pPr>
            <a:lvl3pPr marL="477145" indent="0">
              <a:buNone/>
              <a:defRPr sz="2744">
                <a:solidFill>
                  <a:schemeClr val="accent3"/>
                </a:solidFill>
              </a:defRPr>
            </a:lvl3pPr>
            <a:lvl4pPr marL="707419" indent="0">
              <a:buNone/>
              <a:defRPr sz="2744">
                <a:solidFill>
                  <a:schemeClr val="accent3"/>
                </a:solidFill>
              </a:defRPr>
            </a:lvl4pPr>
            <a:lvl5pPr marL="937694" indent="0">
              <a:buNone/>
              <a:defRPr sz="2744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44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44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44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44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44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44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44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44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44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302800688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16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1978" y="358895"/>
            <a:ext cx="10725159" cy="494998"/>
          </a:xfrm>
        </p:spPr>
        <p:txBody>
          <a:bodyPr lIns="36000" tIns="36000" rIns="36000" bIns="36000">
            <a:spAutoFit/>
          </a:bodyPr>
          <a:lstStyle>
            <a:lvl1pPr>
              <a:lnSpc>
                <a:spcPct val="100000"/>
              </a:lnSpc>
              <a:defRPr sz="2744">
                <a:solidFill>
                  <a:srgbClr val="EA288C"/>
                </a:solidFill>
              </a:defRPr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1977" y="1384651"/>
            <a:ext cx="10725159" cy="4893166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1978" y="938628"/>
            <a:ext cx="10725159" cy="269304"/>
          </a:xfrm>
        </p:spPr>
        <p:txBody>
          <a:bodyPr>
            <a:spAutoFit/>
          </a:bodyPr>
          <a:lstStyle>
            <a:lvl1pPr marL="0" indent="0">
              <a:lnSpc>
                <a:spcPts val="2744"/>
              </a:lnSpc>
              <a:buNone/>
              <a:defRPr sz="1568">
                <a:solidFill>
                  <a:srgbClr val="4D4D4D"/>
                </a:solidFill>
              </a:defRPr>
            </a:lvl1pPr>
            <a:lvl2pPr marL="246870" indent="0">
              <a:buNone/>
              <a:defRPr sz="2744">
                <a:solidFill>
                  <a:schemeClr val="accent3"/>
                </a:solidFill>
              </a:defRPr>
            </a:lvl2pPr>
            <a:lvl3pPr marL="477145" indent="0">
              <a:buNone/>
              <a:defRPr sz="2744">
                <a:solidFill>
                  <a:schemeClr val="accent3"/>
                </a:solidFill>
              </a:defRPr>
            </a:lvl3pPr>
            <a:lvl4pPr marL="707419" indent="0">
              <a:buNone/>
              <a:defRPr sz="2744">
                <a:solidFill>
                  <a:schemeClr val="accent3"/>
                </a:solidFill>
              </a:defRPr>
            </a:lvl4pPr>
            <a:lvl5pPr marL="937694" indent="0">
              <a:buNone/>
              <a:defRPr sz="2744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44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44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44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44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44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44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44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44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44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950614" y="6396289"/>
            <a:ext cx="2728838" cy="233516"/>
          </a:xfrm>
          <a:prstGeom prst="rect">
            <a:avLst/>
          </a:prstGeom>
        </p:spPr>
        <p:txBody>
          <a:bodyPr vert="horz" lIns="36000" tIns="36000" rIns="36000" bIns="36000" rtlCol="0" anchor="ctr">
            <a:spAutoFit/>
          </a:bodyPr>
          <a:lstStyle>
            <a:lvl1pPr algn="r">
              <a:defRPr sz="1045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69908" y="6396289"/>
            <a:ext cx="578105" cy="233516"/>
          </a:xfrm>
          <a:prstGeom prst="rect">
            <a:avLst/>
          </a:prstGeom>
        </p:spPr>
        <p:txBody>
          <a:bodyPr vert="horz" lIns="36000" tIns="36000" rIns="36000" bIns="36000" rtlCol="0" anchor="ctr">
            <a:spAutoFit/>
          </a:bodyPr>
          <a:lstStyle>
            <a:lvl1pPr algn="r">
              <a:defRPr sz="1045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48219238"/>
      </p:ext>
    </p:extLst>
  </p:cSld>
  <p:clrMapOvr>
    <a:masterClrMapping/>
  </p:clrMapOvr>
</p:sldLayout>
</file>

<file path=ppt/slideLayouts/slideLayout16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orytelling: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79" y="1384651"/>
            <a:ext cx="5080446" cy="4893166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950614" y="6396289"/>
            <a:ext cx="2728838" cy="233516"/>
          </a:xfrm>
          <a:prstGeom prst="rect">
            <a:avLst/>
          </a:prstGeom>
        </p:spPr>
        <p:txBody>
          <a:bodyPr vert="horz" lIns="36000" tIns="36000" rIns="36000" bIns="36000" rtlCol="0" anchor="ctr">
            <a:spAutoFit/>
          </a:bodyPr>
          <a:lstStyle>
            <a:lvl1pPr algn="r">
              <a:defRPr sz="1045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5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69908" y="6396289"/>
            <a:ext cx="578105" cy="233516"/>
          </a:xfrm>
          <a:prstGeom prst="rect">
            <a:avLst/>
          </a:prstGeom>
        </p:spPr>
        <p:txBody>
          <a:bodyPr vert="horz" lIns="36000" tIns="36000" rIns="36000" bIns="36000" rtlCol="0" anchor="ctr">
            <a:spAutoFit/>
          </a:bodyPr>
          <a:lstStyle>
            <a:lvl1pPr algn="r">
              <a:defRPr sz="1045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611978" y="358895"/>
            <a:ext cx="10725159" cy="494998"/>
          </a:xfrm>
        </p:spPr>
        <p:txBody>
          <a:bodyPr lIns="36000" tIns="36000" rIns="36000" bIns="36000">
            <a:spAutoFit/>
          </a:bodyPr>
          <a:lstStyle>
            <a:lvl1pPr>
              <a:lnSpc>
                <a:spcPct val="100000"/>
              </a:lnSpc>
              <a:defRPr sz="2744">
                <a:solidFill>
                  <a:srgbClr val="EA288C"/>
                </a:solidFill>
              </a:defRPr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7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1978" y="938628"/>
            <a:ext cx="10725159" cy="269304"/>
          </a:xfrm>
        </p:spPr>
        <p:txBody>
          <a:bodyPr>
            <a:spAutoFit/>
          </a:bodyPr>
          <a:lstStyle>
            <a:lvl1pPr marL="0" indent="0">
              <a:lnSpc>
                <a:spcPts val="2744"/>
              </a:lnSpc>
              <a:buNone/>
              <a:defRPr sz="1568">
                <a:solidFill>
                  <a:srgbClr val="4D4D4D"/>
                </a:solidFill>
              </a:defRPr>
            </a:lvl1pPr>
            <a:lvl2pPr marL="246870" indent="0">
              <a:buNone/>
              <a:defRPr sz="2744">
                <a:solidFill>
                  <a:schemeClr val="accent3"/>
                </a:solidFill>
              </a:defRPr>
            </a:lvl2pPr>
            <a:lvl3pPr marL="477145" indent="0">
              <a:buNone/>
              <a:defRPr sz="2744">
                <a:solidFill>
                  <a:schemeClr val="accent3"/>
                </a:solidFill>
              </a:defRPr>
            </a:lvl3pPr>
            <a:lvl4pPr marL="707419" indent="0">
              <a:buNone/>
              <a:defRPr sz="2744">
                <a:solidFill>
                  <a:schemeClr val="accent3"/>
                </a:solidFill>
              </a:defRPr>
            </a:lvl4pPr>
            <a:lvl5pPr marL="937694" indent="0">
              <a:buNone/>
              <a:defRPr sz="2744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44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44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44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44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44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44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44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44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44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384653"/>
            <a:ext cx="5080448" cy="4893166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0288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16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i Indi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pt-PT" dirty="0" smtClean="0"/>
              <a:t>Índice</a:t>
            </a:r>
            <a:endParaRPr lang="en-US" dirty="0"/>
          </a:p>
        </p:txBody>
      </p:sp>
      <p:sp>
        <p:nvSpPr>
          <p:cNvPr id="10" name="Title 22"/>
          <p:cNvSpPr txBox="1">
            <a:spLocks/>
          </p:cNvSpPr>
          <p:nvPr userDrawn="1"/>
        </p:nvSpPr>
        <p:spPr>
          <a:xfrm>
            <a:off x="6287747" y="358896"/>
            <a:ext cx="5049390" cy="607312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 anchorCtr="0"/>
          <a:lstStyle>
            <a:lvl1pPr algn="l" defTabSz="457200" rtl="0" eaLnBrk="1" latinLnBrk="0" hangingPunct="1">
              <a:lnSpc>
                <a:spcPts val="6800"/>
              </a:lnSpc>
              <a:spcBef>
                <a:spcPts val="3300"/>
              </a:spcBef>
              <a:buNone/>
              <a:defRPr sz="6600" b="0" i="1" kern="1200" baseline="0">
                <a:solidFill>
                  <a:schemeClr val="tx1"/>
                </a:solidFill>
                <a:latin typeface="Georgia"/>
                <a:ea typeface="+mj-ea"/>
                <a:cs typeface="Georgia"/>
              </a:defRPr>
            </a:lvl1pPr>
          </a:lstStyle>
          <a:p>
            <a:pPr fontAlgn="auto">
              <a:lnSpc>
                <a:spcPts val="5489"/>
              </a:lnSpc>
              <a:spcBef>
                <a:spcPts val="0"/>
              </a:spcBef>
              <a:spcAft>
                <a:spcPts val="0"/>
              </a:spcAft>
            </a:pPr>
            <a:r>
              <a:rPr lang="pt-BR" sz="2744" i="0" dirty="0" smtClean="0">
                <a:solidFill>
                  <a:srgbClr val="9F37FE"/>
                </a:solidFill>
                <a:latin typeface="Simplon BP Bold"/>
                <a:cs typeface="Simplon BP Bold"/>
              </a:rPr>
              <a:t>SUMÁRIO EXECUTIVO</a:t>
            </a:r>
            <a:endParaRPr lang="en-US" sz="2744" i="0" dirty="0">
              <a:solidFill>
                <a:srgbClr val="9F37FE"/>
              </a:solidFill>
              <a:latin typeface="Simplon BP Bold"/>
              <a:cs typeface="Simplon BP Bold"/>
            </a:endParaRP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611978" y="1383712"/>
            <a:ext cx="5080447" cy="4156583"/>
          </a:xfrm>
        </p:spPr>
        <p:txBody>
          <a:bodyPr/>
          <a:lstStyle>
            <a:lvl1pPr marL="0" indent="0">
              <a:buNone/>
              <a:defRPr/>
            </a:lvl1pPr>
            <a:lvl2pPr marL="246870" indent="0">
              <a:buNone/>
              <a:defRPr/>
            </a:lvl2pPr>
            <a:lvl3pPr marL="477145" indent="0">
              <a:buNone/>
              <a:defRPr/>
            </a:lvl3pPr>
            <a:lvl4pPr marL="707419" indent="0">
              <a:buNone/>
              <a:defRPr/>
            </a:lvl4pPr>
            <a:lvl5pPr marL="937694" indent="0">
              <a:buNone/>
              <a:defRPr/>
            </a:lvl5pPr>
          </a:lstStyle>
          <a:p>
            <a:r>
              <a:rPr lang="en-US" sz="183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183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3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183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183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183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, </a:t>
            </a:r>
            <a:r>
              <a:rPr lang="en-US" sz="183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consectetuer</a:t>
            </a:r>
            <a:r>
              <a:rPr lang="en-US" sz="183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3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dipiscing</a:t>
            </a:r>
            <a:r>
              <a:rPr lang="en-US" sz="183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3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lit</a:t>
            </a:r>
            <a:r>
              <a:rPr lang="en-US" sz="183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, </a:t>
            </a:r>
            <a:r>
              <a:rPr lang="en-US" sz="183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sed</a:t>
            </a:r>
            <a:r>
              <a:rPr lang="en-US" sz="183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3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diam</a:t>
            </a:r>
            <a:r>
              <a:rPr lang="en-US" sz="183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3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nonummy</a:t>
            </a:r>
            <a:r>
              <a:rPr lang="en-US" sz="183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3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nibh</a:t>
            </a:r>
            <a:r>
              <a:rPr lang="en-US" sz="183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3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uismod</a:t>
            </a:r>
            <a:r>
              <a:rPr lang="en-US" sz="183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3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tincidunt</a:t>
            </a:r>
            <a:r>
              <a:rPr lang="en-US" sz="183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3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ut</a:t>
            </a:r>
            <a:r>
              <a:rPr lang="en-US" sz="183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3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aoreet</a:t>
            </a:r>
            <a:r>
              <a:rPr lang="en-US" sz="183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3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dolore</a:t>
            </a:r>
            <a:r>
              <a:rPr lang="en-US" sz="183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magna </a:t>
            </a:r>
            <a:r>
              <a:rPr lang="en-US" sz="183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liquam</a:t>
            </a:r>
            <a:r>
              <a:rPr lang="en-US" sz="183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3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rat</a:t>
            </a:r>
            <a:r>
              <a:rPr lang="en-US" sz="183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3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volutpat</a:t>
            </a:r>
            <a:r>
              <a:rPr lang="en-US" sz="183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. </a:t>
            </a:r>
            <a:r>
              <a:rPr lang="en-US" sz="183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Ut</a:t>
            </a:r>
            <a:r>
              <a:rPr lang="en-US" sz="183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3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wisi</a:t>
            </a:r>
            <a:r>
              <a:rPr lang="en-US" sz="183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3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nim</a:t>
            </a:r>
            <a:r>
              <a:rPr lang="en-US" sz="183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ad minim </a:t>
            </a:r>
            <a:r>
              <a:rPr lang="en-US" sz="183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veniam</a:t>
            </a:r>
            <a:r>
              <a:rPr lang="en-US" sz="183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, </a:t>
            </a:r>
            <a:r>
              <a:rPr lang="en-US" sz="183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quis</a:t>
            </a:r>
            <a:r>
              <a:rPr lang="en-US" sz="183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3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nostrud</a:t>
            </a:r>
            <a:r>
              <a:rPr lang="en-US" sz="183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3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xerci</a:t>
            </a:r>
            <a:r>
              <a:rPr lang="en-US" sz="183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3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tation</a:t>
            </a:r>
            <a:r>
              <a:rPr lang="en-US" sz="183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3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ullamcorper</a:t>
            </a:r>
            <a:r>
              <a:rPr lang="en-US" sz="183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3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suscipit</a:t>
            </a:r>
            <a:r>
              <a:rPr lang="en-US" sz="183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3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bortis</a:t>
            </a:r>
            <a:r>
              <a:rPr lang="en-US" sz="183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3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nisl</a:t>
            </a:r>
            <a:r>
              <a:rPr lang="en-US" sz="183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3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ut</a:t>
            </a:r>
            <a:r>
              <a:rPr lang="en-US" sz="183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3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liquip</a:t>
            </a:r>
            <a:r>
              <a:rPr lang="en-US" sz="183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ex </a:t>
            </a:r>
            <a:r>
              <a:rPr lang="en-US" sz="183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a</a:t>
            </a:r>
            <a:r>
              <a:rPr lang="en-US" sz="183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3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commodo</a:t>
            </a:r>
            <a:r>
              <a:rPr lang="en-US" sz="183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3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consequat</a:t>
            </a:r>
            <a:r>
              <a:rPr lang="en-US" sz="183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. </a:t>
            </a:r>
            <a:endParaRPr lang="en-US" sz="183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3" hasCustomPrompt="1"/>
          </p:nvPr>
        </p:nvSpPr>
        <p:spPr>
          <a:xfrm>
            <a:off x="6287807" y="1383712"/>
            <a:ext cx="5049330" cy="4156583"/>
          </a:xfrm>
        </p:spPr>
        <p:txBody>
          <a:bodyPr/>
          <a:lstStyle>
            <a:lvl1pPr marL="0" indent="0">
              <a:buNone/>
              <a:defRPr sz="2744"/>
            </a:lvl1pPr>
            <a:lvl2pPr marL="246870" indent="0">
              <a:buNone/>
              <a:defRPr sz="2744"/>
            </a:lvl2pPr>
            <a:lvl3pPr marL="477145" indent="0">
              <a:buNone/>
              <a:defRPr sz="2744"/>
            </a:lvl3pPr>
            <a:lvl4pPr marL="707419" indent="0">
              <a:buNone/>
              <a:defRPr sz="2744"/>
            </a:lvl4pPr>
            <a:lvl5pPr marL="937694" indent="0">
              <a:buNone/>
              <a:defRPr sz="2744"/>
            </a:lvl5pPr>
          </a:lstStyle>
          <a:p>
            <a:pPr lvl="0"/>
            <a:r>
              <a:rPr lang="pt-PT" dirty="0" smtClean="0"/>
              <a:t>3. </a:t>
            </a:r>
            <a:r>
              <a:rPr lang="pt-PT" dirty="0" err="1" smtClean="0"/>
              <a:t>Impsu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endParaRPr lang="pt-PT" dirty="0" smtClean="0"/>
          </a:p>
          <a:p>
            <a:pPr lvl="0"/>
            <a:r>
              <a:rPr lang="pt-PT" dirty="0" smtClean="0"/>
              <a:t>5.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endParaRPr lang="pt-PT" dirty="0" smtClean="0"/>
          </a:p>
          <a:p>
            <a:pPr lvl="0"/>
            <a:r>
              <a:rPr lang="pt-PT" dirty="0" smtClean="0"/>
              <a:t>10. </a:t>
            </a:r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endParaRPr lang="pt-PT" dirty="0" smtClean="0"/>
          </a:p>
          <a:p>
            <a:pPr lvl="0"/>
            <a:r>
              <a:rPr lang="pt-PT" dirty="0" smtClean="0"/>
              <a:t>15. </a:t>
            </a:r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5"/>
          </p:nvPr>
        </p:nvSpPr>
        <p:spPr>
          <a:xfrm>
            <a:off x="597455" y="6371917"/>
            <a:ext cx="10176095" cy="282263"/>
          </a:xfrm>
          <a:prstGeom prst="rect">
            <a:avLst/>
          </a:prstGeom>
        </p:spPr>
        <p:txBody>
          <a:bodyPr/>
          <a:lstStyle/>
          <a:p>
            <a:r>
              <a:rPr lang="pt-BR" smtClean="0">
                <a:solidFill>
                  <a:srgbClr val="5F5F5F"/>
                </a:solidFill>
              </a:rPr>
              <a:t>&lt;PROJETO XPTO&gt;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6"/>
          </p:nvPr>
        </p:nvSpPr>
        <p:spPr>
          <a:xfrm>
            <a:off x="10773552" y="6371917"/>
            <a:ext cx="578105" cy="282263"/>
          </a:xfrm>
          <a:prstGeom prst="rect">
            <a:avLst/>
          </a:prstGeom>
        </p:spPr>
        <p:txBody>
          <a:bodyPr/>
          <a:lstStyle/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611976" y="5852781"/>
            <a:ext cx="3574719" cy="470497"/>
          </a:xfrm>
          <a:prstGeom prst="rect">
            <a:avLst/>
          </a:prstGeom>
          <a:noFill/>
        </p:spPr>
        <p:txBody>
          <a:bodyPr wrap="none" lIns="47044" tIns="47044" rIns="47044" bIns="47044" rtlCol="0" anchor="ctr" anchorCtr="0">
            <a:noAutofit/>
          </a:bodyPr>
          <a:lstStyle/>
          <a:p>
            <a:pPr defTabSz="597469" fontAlgn="auto">
              <a:lnSpc>
                <a:spcPts val="2352"/>
              </a:lnSpc>
              <a:spcBef>
                <a:spcPts val="0"/>
              </a:spcBef>
              <a:spcAft>
                <a:spcPts val="0"/>
              </a:spcAft>
            </a:pPr>
            <a:r>
              <a:rPr lang="pt-BR" sz="2744" dirty="0" smtClean="0">
                <a:solidFill>
                  <a:srgbClr val="9F37FE"/>
                </a:solidFill>
                <a:latin typeface="Simplon BP" charset="0"/>
                <a:ea typeface="Simplon BP" charset="0"/>
                <a:cs typeface="Simplon BP" charset="0"/>
              </a:rPr>
              <a:t>TOTAL DE SLIDES:</a:t>
            </a:r>
            <a:endParaRPr lang="en-US" sz="2744" dirty="0" smtClean="0">
              <a:solidFill>
                <a:srgbClr val="9F37FE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13" name="Text Placeholder 16"/>
          <p:cNvSpPr>
            <a:spLocks noGrp="1"/>
          </p:cNvSpPr>
          <p:nvPr>
            <p:ph type="body" sz="quarter" idx="14" hasCustomPrompt="1"/>
          </p:nvPr>
        </p:nvSpPr>
        <p:spPr>
          <a:xfrm>
            <a:off x="3810045" y="5852781"/>
            <a:ext cx="753042" cy="470497"/>
          </a:xfrm>
          <a:noFill/>
        </p:spPr>
        <p:txBody>
          <a:bodyPr wrap="none" lIns="36000" tIns="36000" rIns="36000" bIns="36000" rtlCol="0" anchor="ctr" anchorCtr="0">
            <a:noAutofit/>
          </a:bodyPr>
          <a:lstStyle>
            <a:lvl1pPr marL="0" indent="0">
              <a:buNone/>
              <a:defRPr lang="en-US" sz="2744" dirty="0">
                <a:solidFill>
                  <a:schemeClr val="accent1"/>
                </a:solidFill>
                <a:latin typeface="Simplon BP" charset="0"/>
                <a:ea typeface="Simplon BP" charset="0"/>
                <a:cs typeface="Simplon BP" charset="0"/>
              </a:defRPr>
            </a:lvl1pPr>
          </a:lstStyle>
          <a:p>
            <a:pPr marL="0" lvl="0">
              <a:lnSpc>
                <a:spcPts val="2352"/>
              </a:lnSpc>
              <a:spcAft>
                <a:spcPts val="0"/>
              </a:spcAft>
            </a:pPr>
            <a:r>
              <a:rPr lang="pt-PT" dirty="0" smtClean="0"/>
              <a:t>##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4332282"/>
      </p:ext>
    </p:extLst>
  </p:cSld>
  <p:clrMapOvr>
    <a:masterClrMapping/>
  </p:clrMapOvr>
</p:sldLayout>
</file>

<file path=ppt/slideLayouts/slideLayout16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I Titulo Corpo later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1978" y="358894"/>
            <a:ext cx="5069337" cy="6014060"/>
          </a:xfrm>
        </p:spPr>
        <p:txBody>
          <a:bodyPr/>
          <a:lstStyle>
            <a:lvl1pPr marL="0" marR="0" indent="0" algn="l" defTabSz="597469" rtl="0" eaLnBrk="1" fontAlgn="auto" latinLnBrk="0" hangingPunct="1">
              <a:lnSpc>
                <a:spcPts val="5489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r>
              <a:rPr lang="pt-PT" dirty="0" smtClean="0"/>
              <a:t>Título </a:t>
            </a:r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DOLOR SIT AMET CONSECTETOR LOREM IPSUM INSERIR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256689" y="358894"/>
            <a:ext cx="5080447" cy="601406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597455" y="6371917"/>
            <a:ext cx="10176095" cy="282263"/>
          </a:xfrm>
          <a:prstGeom prst="rect">
            <a:avLst/>
          </a:prstGeom>
        </p:spPr>
        <p:txBody>
          <a:bodyPr/>
          <a:lstStyle/>
          <a:p>
            <a:r>
              <a:rPr lang="pt-BR" smtClean="0">
                <a:solidFill>
                  <a:srgbClr val="5F5F5F"/>
                </a:solidFill>
              </a:rPr>
              <a:t>&lt;PROJETO XPTO&gt;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0773552" y="6371917"/>
            <a:ext cx="578105" cy="282263"/>
          </a:xfrm>
          <a:prstGeom prst="rect">
            <a:avLst/>
          </a:prstGeom>
        </p:spPr>
        <p:txBody>
          <a:bodyPr/>
          <a:lstStyle/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4709204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16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I Titulo Corpo Lateral Destaq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1978" y="358894"/>
            <a:ext cx="5069337" cy="6014060"/>
          </a:xfrm>
        </p:spPr>
        <p:txBody>
          <a:bodyPr/>
          <a:lstStyle>
            <a:lvl1pPr marL="0" marR="0" indent="0" algn="l" defTabSz="597469" rtl="0" eaLnBrk="1" fontAlgn="auto" latinLnBrk="0" hangingPunct="1">
              <a:lnSpc>
                <a:spcPts val="5489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r>
              <a:rPr lang="pt-PT" dirty="0" smtClean="0"/>
              <a:t>Título </a:t>
            </a:r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DOLOR SIT AMET CONSECTETOR LOREM IPSUM INSERIR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3"/>
          </p:nvPr>
        </p:nvSpPr>
        <p:spPr>
          <a:xfrm>
            <a:off x="597455" y="6371917"/>
            <a:ext cx="10176095" cy="282263"/>
          </a:xfrm>
          <a:prstGeom prst="rect">
            <a:avLst/>
          </a:prstGeom>
        </p:spPr>
        <p:txBody>
          <a:bodyPr/>
          <a:lstStyle/>
          <a:p>
            <a:r>
              <a:rPr lang="pt-BR" smtClean="0">
                <a:solidFill>
                  <a:srgbClr val="5F5F5F"/>
                </a:solidFill>
              </a:rPr>
              <a:t>&lt;PROJETO XPTO&gt;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4"/>
          </p:nvPr>
        </p:nvSpPr>
        <p:spPr>
          <a:xfrm>
            <a:off x="10773552" y="6371917"/>
            <a:ext cx="578105" cy="282263"/>
          </a:xfrm>
          <a:prstGeom prst="rect">
            <a:avLst/>
          </a:prstGeom>
        </p:spPr>
        <p:txBody>
          <a:bodyPr/>
          <a:lstStyle/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2" hasCustomPrompt="1"/>
          </p:nvPr>
        </p:nvSpPr>
        <p:spPr>
          <a:xfrm>
            <a:off x="6256688" y="358894"/>
            <a:ext cx="5094969" cy="6014060"/>
          </a:xfrm>
        </p:spPr>
        <p:txBody>
          <a:bodyPr/>
          <a:lstStyle>
            <a:lvl1pPr marL="304959" indent="-304959">
              <a:buFont typeface="Arial" charset="0"/>
              <a:buChar char="•"/>
              <a:tabLst/>
              <a:defRPr sz="2744">
                <a:solidFill>
                  <a:schemeClr val="tx1"/>
                </a:solidFill>
              </a:defRPr>
            </a:lvl1pPr>
            <a:lvl2pPr>
              <a:defRPr sz="2744"/>
            </a:lvl2pPr>
            <a:lvl3pPr>
              <a:defRPr sz="2744"/>
            </a:lvl3pPr>
            <a:lvl4pPr>
              <a:defRPr sz="2744"/>
            </a:lvl4pPr>
            <a:lvl5pPr>
              <a:defRPr sz="2744"/>
            </a:lvl5pPr>
          </a:lstStyle>
          <a:p>
            <a:pPr lvl="0"/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 </a:t>
            </a:r>
            <a:r>
              <a:rPr lang="pt-PT" dirty="0" err="1" smtClean="0"/>
              <a:t>ips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 </a:t>
            </a:r>
            <a:r>
              <a:rPr lang="pt-PT" dirty="0" err="1" smtClean="0"/>
              <a:t>lorem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lorem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Amet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.</a:t>
            </a:r>
          </a:p>
          <a:p>
            <a:pPr lvl="0"/>
            <a:endParaRPr lang="pt-PT" dirty="0" smtClean="0"/>
          </a:p>
        </p:txBody>
      </p:sp>
    </p:spTree>
    <p:extLst>
      <p:ext uri="{BB962C8B-B14F-4D97-AF65-F5344CB8AC3E}">
        <p14:creationId xmlns:p14="http://schemas.microsoft.com/office/powerpoint/2010/main" val="1006864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2744">
          <p15:clr>
            <a:srgbClr val="FBAE40"/>
          </p15:clr>
        </p15:guide>
        <p15:guide id="2" pos="3016">
          <p15:clr>
            <a:srgbClr val="FBAE40"/>
          </p15:clr>
        </p15:guide>
      </p15:sldGuideLst>
    </p:ext>
  </p:extLst>
</p:sldLayout>
</file>

<file path=ppt/slideLayouts/slideLayout16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30952591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>
          <a:xfrm>
            <a:off x="11510937" y="6359616"/>
            <a:ext cx="399872" cy="159950"/>
          </a:xfrm>
          <a:prstGeom prst="rect">
            <a:avLst/>
          </a:prstGeom>
        </p:spPr>
        <p:txBody>
          <a:bodyPr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fld id="{B2531E6E-6E7D-4785-BFDF-BAABB6C6AA33}" type="slidenum">
              <a:rPr lang="pt-BR" sz="1764" smtClean="0">
                <a:solidFill>
                  <a:prstClr val="black"/>
                </a:solidFill>
                <a:latin typeface="Arial"/>
              </a:rPr>
              <a:pPr algn="ctr" fontAlgn="auto">
                <a:spcBef>
                  <a:spcPts val="0"/>
                </a:spcBef>
                <a:spcAft>
                  <a:spcPts val="0"/>
                </a:spcAft>
              </a:pPr>
              <a:t>‹nº›</a:t>
            </a:fld>
            <a:endParaRPr lang="pt-BR" sz="1764" dirty="0">
              <a:solidFill>
                <a:prstClr val="black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57773251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A02B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6013543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6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ó image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31"/>
          </p:nvPr>
        </p:nvSpPr>
        <p:spPr>
          <a:xfrm>
            <a:off x="11510937" y="6359616"/>
            <a:ext cx="399872" cy="159950"/>
          </a:xfrm>
          <a:prstGeom prst="rect">
            <a:avLst/>
          </a:prstGeom>
          <a:noFill/>
        </p:spPr>
        <p:txBody>
          <a:bodyPr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fld id="{B2531E6E-6E7D-4785-BFDF-BAABB6C6AA33}" type="slidenum">
              <a:rPr lang="pt-BR" sz="1764" smtClean="0">
                <a:solidFill>
                  <a:prstClr val="black"/>
                </a:solidFill>
                <a:latin typeface="Arial"/>
              </a:rPr>
              <a:pPr algn="ctr" fontAlgn="auto">
                <a:spcBef>
                  <a:spcPts val="0"/>
                </a:spcBef>
                <a:spcAft>
                  <a:spcPts val="0"/>
                </a:spcAft>
              </a:pPr>
              <a:t>‹nº›</a:t>
            </a:fld>
            <a:endParaRPr lang="pt-BR" sz="1764" dirty="0">
              <a:solidFill>
                <a:prstClr val="black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50453603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8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896184" y="2088049"/>
            <a:ext cx="10156746" cy="1440761"/>
          </a:xfrm>
          <a:prstGeom prst="rect">
            <a:avLst/>
          </a:prstGeom>
        </p:spPr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1792368" y="3808836"/>
            <a:ext cx="8364379" cy="171771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481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9620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4430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79240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40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6886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3671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5848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pt-BR" smtClean="0"/>
              <a:t>Clique para editar o estilo do subtítulo mestre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>
          <a:xfrm>
            <a:off x="597456" y="6229837"/>
            <a:ext cx="2788126" cy="357856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fld id="{B8DDAB74-211A-435F-A620-CEA7292BE3F8}" type="datetimeFigureOut">
              <a:rPr lang="pt-BR" sz="1764" smtClean="0">
                <a:solidFill>
                  <a:prstClr val="black"/>
                </a:solidFill>
                <a:latin typeface="Arial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11/01/2018</a:t>
            </a:fld>
            <a:endParaRPr lang="pt-BR" sz="1764">
              <a:solidFill>
                <a:prstClr val="black"/>
              </a:solidFill>
              <a:latin typeface="Arial"/>
            </a:endParaRPr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>
          <a:xfrm>
            <a:off x="4082614" y="6229837"/>
            <a:ext cx="3783886" cy="357856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pt-BR" sz="1764">
              <a:solidFill>
                <a:prstClr val="black"/>
              </a:solidFill>
              <a:latin typeface="Arial"/>
            </a:endParaRPr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>
          <a:xfrm>
            <a:off x="8563531" y="6229837"/>
            <a:ext cx="2788126" cy="357856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fld id="{6DCF64D1-12D7-4969-ADF6-A6C86AF9196C}" type="slidenum">
              <a:rPr lang="pt-BR" sz="1764" smtClean="0">
                <a:solidFill>
                  <a:prstClr val="black"/>
                </a:solidFill>
                <a:latin typeface="Arial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nº›</a:t>
            </a:fld>
            <a:endParaRPr lang="pt-BR" sz="1764">
              <a:solidFill>
                <a:prstClr val="black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98529588"/>
      </p:ext>
    </p:extLst>
  </p:cSld>
  <p:clrMapOvr>
    <a:masterClrMapping/>
  </p:clrMapOvr>
</p:sldLayout>
</file>

<file path=ppt/slideLayouts/slideLayout168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176174" y="136951"/>
            <a:ext cx="11525915" cy="341869"/>
          </a:xfrm>
          <a:prstGeom prst="rect">
            <a:avLst/>
          </a:prstGeom>
        </p:spPr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75531616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5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422136" y="2848724"/>
            <a:ext cx="5577332" cy="1562433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448102" rtl="0" eaLnBrk="1" fontAlgn="auto" latinLnBrk="0" hangingPunct="1">
              <a:lnSpc>
                <a:spcPts val="1372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372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448102" rtl="0" eaLnBrk="1" fontAlgn="auto" latinLnBrk="0" hangingPunct="1">
              <a:lnSpc>
                <a:spcPts val="1372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448102" rtl="0" eaLnBrk="1" fontAlgn="auto" latinLnBrk="0" hangingPunct="1">
              <a:lnSpc>
                <a:spcPts val="1372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448102" rtl="0" eaLnBrk="1" fontAlgn="auto" latinLnBrk="0" hangingPunct="1">
              <a:lnSpc>
                <a:spcPts val="1372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  <p:sp>
        <p:nvSpPr>
          <p:cNvPr id="10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422135" y="1790576"/>
            <a:ext cx="4970423" cy="73342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448102" rtl="0" eaLnBrk="1" fontAlgn="auto" latinLnBrk="0" hangingPunct="1">
              <a:lnSpc>
                <a:spcPts val="1764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764" cap="all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44810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smtClean="0"/>
              <a:t>has </a:t>
            </a:r>
            <a:br>
              <a:rPr lang="en-US" dirty="0" smtClean="0"/>
            </a:br>
            <a:r>
              <a:rPr lang="en-US" dirty="0" smtClean="0"/>
              <a:t>id </a:t>
            </a:r>
            <a:r>
              <a:rPr lang="en-US" dirty="0" err="1" smtClean="0"/>
              <a:t>cibo</a:t>
            </a:r>
            <a:r>
              <a:rPr lang="en-US" dirty="0" smtClean="0"/>
              <a:t> </a:t>
            </a:r>
            <a:r>
              <a:rPr lang="en-US" dirty="0" err="1" smtClean="0"/>
              <a:t>quidam</a:t>
            </a:r>
            <a:r>
              <a:rPr lang="en-US" dirty="0" smtClean="0"/>
              <a:t> </a:t>
            </a:r>
            <a:r>
              <a:rPr lang="en-US" dirty="0" err="1" smtClean="0"/>
              <a:t>facilis</a:t>
            </a:r>
            <a:endParaRPr lang="en-US" dirty="0"/>
          </a:p>
        </p:txBody>
      </p: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422140" y="349341"/>
            <a:ext cx="4970420" cy="123378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3528"/>
              </a:lnSpc>
              <a:defRPr sz="3528">
                <a:solidFill>
                  <a:srgbClr val="4D4D4D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</a:t>
            </a:r>
            <a:br>
              <a:rPr lang="en-US" dirty="0" smtClean="0"/>
            </a:br>
            <a:r>
              <a:rPr lang="en-US" dirty="0" smtClean="0"/>
              <a:t>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endParaRPr lang="en-US" dirty="0"/>
          </a:p>
        </p:txBody>
      </p:sp>
      <p:sp>
        <p:nvSpPr>
          <p:cNvPr id="13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641174" y="6108535"/>
            <a:ext cx="2789882" cy="357856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980" baseline="0">
                <a:solidFill>
                  <a:srgbClr val="4D4D4D"/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mtClean="0">
                <a:latin typeface="Simplon BP Regular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nº›</a:t>
            </a:fld>
            <a:endParaRPr lang="en-US" dirty="0">
              <a:latin typeface="Simplon BP Bold"/>
              <a:cs typeface="Simplon BP Bold"/>
            </a:endParaRPr>
          </a:p>
        </p:txBody>
      </p:sp>
    </p:spTree>
    <p:extLst>
      <p:ext uri="{BB962C8B-B14F-4D97-AF65-F5344CB8AC3E}">
        <p14:creationId xmlns:p14="http://schemas.microsoft.com/office/powerpoint/2010/main" val="907029010"/>
      </p:ext>
    </p:extLst>
  </p:cSld>
  <p:clrMapOvr>
    <a:masterClrMapping/>
  </p:clrMapOvr>
</p:sldLayout>
</file>

<file path=ppt/slideLayouts/slideLayout16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1980" y="358898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1979" y="1854633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7457" y="6371917"/>
            <a:ext cx="10176096" cy="28226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68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3552" y="6371917"/>
            <a:ext cx="578105" cy="28226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68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1980" y="819637"/>
            <a:ext cx="10725159" cy="470918"/>
          </a:xfrm>
        </p:spPr>
        <p:txBody>
          <a:bodyPr/>
          <a:lstStyle>
            <a:lvl1pPr marL="0" indent="0">
              <a:lnSpc>
                <a:spcPts val="2058"/>
              </a:lnSpc>
              <a:buNone/>
              <a:defRPr sz="2614">
                <a:solidFill>
                  <a:srgbClr val="4D4D4D"/>
                </a:solidFill>
              </a:defRPr>
            </a:lvl1pPr>
            <a:lvl2pPr marL="246864" indent="0">
              <a:buNone/>
              <a:defRPr sz="2744">
                <a:solidFill>
                  <a:schemeClr val="accent3"/>
                </a:solidFill>
              </a:defRPr>
            </a:lvl2pPr>
            <a:lvl3pPr marL="477133" indent="0">
              <a:buNone/>
              <a:defRPr sz="2744">
                <a:solidFill>
                  <a:schemeClr val="accent3"/>
                </a:solidFill>
              </a:defRPr>
            </a:lvl3pPr>
            <a:lvl4pPr marL="707402" indent="0">
              <a:buNone/>
              <a:defRPr sz="2744">
                <a:solidFill>
                  <a:schemeClr val="accent3"/>
                </a:solidFill>
              </a:defRPr>
            </a:lvl4pPr>
            <a:lvl5pPr marL="937670" indent="0">
              <a:buNone/>
              <a:defRPr sz="2744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44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44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44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44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44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44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44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44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44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85274130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077" y="2076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8318" name="think-cell Slide" r:id="rId4" imgW="470" imgH="469" progId="TCLayout.ActiveDocument.1">
                  <p:embed/>
                </p:oleObj>
              </mc:Choice>
              <mc:Fallback>
                <p:oleObj name="think-cell Slide" r:id="rId4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077" y="2076"/>
                        <a:ext cx="2074" cy="20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1980" y="358898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7457" y="6371917"/>
            <a:ext cx="10176096" cy="28226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68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3552" y="6371917"/>
            <a:ext cx="578105" cy="28226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68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1980" y="819637"/>
            <a:ext cx="10725159" cy="470918"/>
          </a:xfrm>
        </p:spPr>
        <p:txBody>
          <a:bodyPr/>
          <a:lstStyle>
            <a:lvl1pPr marL="0" indent="0">
              <a:lnSpc>
                <a:spcPts val="2058"/>
              </a:lnSpc>
              <a:buNone/>
              <a:defRPr sz="2614">
                <a:solidFill>
                  <a:srgbClr val="4D4D4D"/>
                </a:solidFill>
              </a:defRPr>
            </a:lvl1pPr>
            <a:lvl2pPr marL="246864" indent="0">
              <a:buNone/>
              <a:defRPr sz="2744">
                <a:solidFill>
                  <a:schemeClr val="accent3"/>
                </a:solidFill>
              </a:defRPr>
            </a:lvl2pPr>
            <a:lvl3pPr marL="477133" indent="0">
              <a:buNone/>
              <a:defRPr sz="2744">
                <a:solidFill>
                  <a:schemeClr val="accent3"/>
                </a:solidFill>
              </a:defRPr>
            </a:lvl3pPr>
            <a:lvl4pPr marL="707402" indent="0">
              <a:buNone/>
              <a:defRPr sz="2744">
                <a:solidFill>
                  <a:schemeClr val="accent3"/>
                </a:solidFill>
              </a:defRPr>
            </a:lvl4pPr>
            <a:lvl5pPr marL="937670" indent="0">
              <a:buNone/>
              <a:defRPr sz="2744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44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44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44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44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44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44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44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44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44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59181224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1980" y="358898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1979" y="1854633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7457" y="6371917"/>
            <a:ext cx="10176096" cy="28226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68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3552" y="6371917"/>
            <a:ext cx="578105" cy="28226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68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1980" y="1290134"/>
            <a:ext cx="10725159" cy="470918"/>
          </a:xfrm>
        </p:spPr>
        <p:txBody>
          <a:bodyPr/>
          <a:lstStyle>
            <a:lvl1pPr marL="0" indent="0">
              <a:lnSpc>
                <a:spcPts val="2058"/>
              </a:lnSpc>
              <a:buNone/>
              <a:defRPr sz="2614">
                <a:solidFill>
                  <a:srgbClr val="4D4D4D"/>
                </a:solidFill>
              </a:defRPr>
            </a:lvl1pPr>
            <a:lvl2pPr marL="246864" indent="0">
              <a:buNone/>
              <a:defRPr sz="2744">
                <a:solidFill>
                  <a:schemeClr val="accent3"/>
                </a:solidFill>
              </a:defRPr>
            </a:lvl2pPr>
            <a:lvl3pPr marL="477133" indent="0">
              <a:buNone/>
              <a:defRPr sz="2744">
                <a:solidFill>
                  <a:schemeClr val="accent3"/>
                </a:solidFill>
              </a:defRPr>
            </a:lvl3pPr>
            <a:lvl4pPr marL="707402" indent="0">
              <a:buNone/>
              <a:defRPr sz="2744">
                <a:solidFill>
                  <a:schemeClr val="accent3"/>
                </a:solidFill>
              </a:defRPr>
            </a:lvl4pPr>
            <a:lvl5pPr marL="937670" indent="0">
              <a:buNone/>
              <a:defRPr sz="2744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44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44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44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44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44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44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44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44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44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9117570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1979" y="1854633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7457" y="6371917"/>
            <a:ext cx="10176096" cy="28226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68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3552" y="6371917"/>
            <a:ext cx="578105" cy="28226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68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7301209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7457" y="6371917"/>
            <a:ext cx="10176096" cy="28226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68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3552" y="6371917"/>
            <a:ext cx="578105" cy="28226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68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1897409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orytelling: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81" y="1854633"/>
            <a:ext cx="5080446" cy="451832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90" y="1854630"/>
            <a:ext cx="5080448" cy="451832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7457" y="6371917"/>
            <a:ext cx="10176096" cy="28226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68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3552" y="6371917"/>
            <a:ext cx="578105" cy="28226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68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1980" y="1290134"/>
            <a:ext cx="10725159" cy="470918"/>
          </a:xfrm>
        </p:spPr>
        <p:txBody>
          <a:bodyPr/>
          <a:lstStyle>
            <a:lvl1pPr marL="0" indent="0">
              <a:lnSpc>
                <a:spcPts val="2058"/>
              </a:lnSpc>
              <a:buNone/>
              <a:defRPr sz="2614">
                <a:solidFill>
                  <a:srgbClr val="4D4D4D"/>
                </a:solidFill>
              </a:defRPr>
            </a:lvl1pPr>
            <a:lvl2pPr marL="246864" indent="0">
              <a:buNone/>
              <a:defRPr sz="2744">
                <a:solidFill>
                  <a:schemeClr val="accent3"/>
                </a:solidFill>
              </a:defRPr>
            </a:lvl2pPr>
            <a:lvl3pPr marL="477133" indent="0">
              <a:buNone/>
              <a:defRPr sz="2744">
                <a:solidFill>
                  <a:schemeClr val="accent3"/>
                </a:solidFill>
              </a:defRPr>
            </a:lvl3pPr>
            <a:lvl4pPr marL="707402" indent="0">
              <a:buNone/>
              <a:defRPr sz="2744">
                <a:solidFill>
                  <a:schemeClr val="accent3"/>
                </a:solidFill>
              </a:defRPr>
            </a:lvl4pPr>
            <a:lvl5pPr marL="937670" indent="0">
              <a:buNone/>
              <a:defRPr sz="2744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44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44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44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44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44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44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44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44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44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012560145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20" y="358938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20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20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933" indent="0">
              <a:buNone/>
              <a:defRPr sz="2700">
                <a:solidFill>
                  <a:schemeClr val="accent3"/>
                </a:solidFill>
              </a:defRPr>
            </a:lvl2pPr>
            <a:lvl3pPr marL="475329" indent="0">
              <a:buNone/>
              <a:defRPr sz="2700">
                <a:solidFill>
                  <a:schemeClr val="accent3"/>
                </a:solidFill>
              </a:defRPr>
            </a:lvl3pPr>
            <a:lvl4pPr marL="704729" indent="0">
              <a:buNone/>
              <a:defRPr sz="2700">
                <a:solidFill>
                  <a:schemeClr val="accent3"/>
                </a:solidFill>
              </a:defRPr>
            </a:lvl4pPr>
            <a:lvl5pPr marL="934136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026534220"/>
      </p:ext>
    </p:extLst>
  </p:cSld>
  <p:clrMapOvr>
    <a:masterClrMapping/>
  </p:clrMapOvr>
</p:sldLayout>
</file>

<file path=ppt/slideLayouts/slideLayout1690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>
          <a:xfrm>
            <a:off x="597456" y="6229815"/>
            <a:ext cx="2788126" cy="357856"/>
          </a:xfrm>
          <a:prstGeom prst="rect">
            <a:avLst/>
          </a:prstGeom>
        </p:spPr>
        <p:txBody>
          <a:bodyPr/>
          <a:lstStyle/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fld id="{AD660E49-5EA6-43CA-9815-5A42AECD7A65}" type="datetimeFigureOut">
              <a:rPr lang="pt-BR" sz="1764" smtClean="0">
                <a:solidFill>
                  <a:srgbClr val="000000"/>
                </a:solidFill>
                <a:latin typeface="Arial"/>
              </a:rPr>
              <a:pPr defTabSz="597454" fontAlgn="auto">
                <a:spcBef>
                  <a:spcPts val="0"/>
                </a:spcBef>
                <a:spcAft>
                  <a:spcPts val="0"/>
                </a:spcAft>
              </a:pPr>
              <a:t>11/01/2018</a:t>
            </a:fld>
            <a:endParaRPr lang="pt-BR" sz="1764">
              <a:solidFill>
                <a:srgbClr val="000000"/>
              </a:solidFill>
              <a:latin typeface="Arial"/>
            </a:endParaRPr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>
              <a:solidFill>
                <a:srgbClr val="5F5F5F"/>
              </a:solidFill>
            </a:endParaRPr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00685F-95E8-41FF-A775-34B603A9E882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2899750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9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ó image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077" y="2076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934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077" y="2076"/>
                        <a:ext cx="2074" cy="20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 Placeholder 1"/>
          <p:cNvSpPr>
            <a:spLocks noGrp="1"/>
          </p:cNvSpPr>
          <p:nvPr>
            <p:ph type="sldNum" sz="quarter" idx="12"/>
          </p:nvPr>
        </p:nvSpPr>
        <p:spPr>
          <a:xfrm>
            <a:off x="11212667" y="6443492"/>
            <a:ext cx="698142" cy="212963"/>
          </a:xfrm>
          <a:prstGeom prst="rect">
            <a:avLst/>
          </a:prstGeom>
        </p:spPr>
        <p:txBody>
          <a:bodyPr anchor="ctr"/>
          <a:lstStyle>
            <a:lvl1pPr>
              <a:defRPr sz="1438">
                <a:latin typeface="Simplon BP Regular" pitchFamily="2" charset="0"/>
              </a:defRPr>
            </a:lvl1pPr>
          </a:lstStyle>
          <a:p>
            <a:pPr algn="ctr"/>
            <a:fld id="{B2531E6E-6E7D-4785-BFDF-BAABB6C6AA33}" type="slidenum">
              <a:rPr lang="pt-BR" smtClean="0">
                <a:solidFill>
                  <a:prstClr val="black"/>
                </a:solidFill>
              </a:rPr>
              <a:pPr algn="ctr"/>
              <a:t>‹nº›</a:t>
            </a:fld>
            <a:endParaRPr lang="pt-BR" dirty="0">
              <a:solidFill>
                <a:prstClr val="black"/>
              </a:solidFill>
            </a:endParaRPr>
          </a:p>
        </p:txBody>
      </p:sp>
      <p:pic>
        <p:nvPicPr>
          <p:cNvPr id="6" name="Picture 736" descr="http://interativa/data/interativa/arquivos/assinatura_email/logos/OIOI.0004.008.AF.160105.Logomarca_RGB_Laranja_2G.png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71319" y="16623"/>
            <a:ext cx="1066146" cy="7530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itle 2"/>
          <p:cNvSpPr>
            <a:spLocks noGrp="1"/>
          </p:cNvSpPr>
          <p:nvPr>
            <p:ph type="title"/>
          </p:nvPr>
        </p:nvSpPr>
        <p:spPr>
          <a:xfrm>
            <a:off x="82981" y="81556"/>
            <a:ext cx="10983529" cy="564533"/>
          </a:xfrm>
          <a:prstGeom prst="rect">
            <a:avLst/>
          </a:prstGeom>
        </p:spPr>
        <p:txBody>
          <a:bodyPr lIns="0" tIns="0" rIns="0" bIns="0" anchor="ctr" anchorCtr="0"/>
          <a:lstStyle>
            <a:lvl1pPr>
              <a:defRPr sz="2614" b="0" i="0">
                <a:solidFill>
                  <a:srgbClr val="00AAAD"/>
                </a:solidFill>
                <a:latin typeface="Simplon Oi Headline" pitchFamily="50" charset="0"/>
              </a:defRPr>
            </a:lvl1pPr>
          </a:lstStyle>
          <a:p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5315292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9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Section Header">
    <p:bg>
      <p:bgPr>
        <a:gradFill flip="none" rotWithShape="1">
          <a:gsLst>
            <a:gs pos="0">
              <a:srgbClr val="00CEFF">
                <a:alpha val="30000"/>
              </a:srgbClr>
            </a:gs>
            <a:gs pos="80000">
              <a:schemeClr val="bg1"/>
            </a:gs>
          </a:gsLst>
          <a:lin ang="189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422139" y="349328"/>
            <a:ext cx="4970420" cy="173850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704"/>
              </a:lnSpc>
              <a:defRPr sz="4704">
                <a:solidFill>
                  <a:srgbClr val="A02BFF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</a:t>
            </a:r>
            <a:br>
              <a:rPr lang="en-US" dirty="0" smtClean="0"/>
            </a:br>
            <a:r>
              <a:rPr lang="en-US" dirty="0" smtClean="0"/>
              <a:t>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endParaRPr lang="en-US" dirty="0"/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17" hasCustomPrompt="1"/>
          </p:nvPr>
        </p:nvSpPr>
        <p:spPr>
          <a:xfrm>
            <a:off x="422135" y="2398568"/>
            <a:ext cx="4970423" cy="96217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597454" rtl="0" eaLnBrk="1" fontAlgn="auto" latinLnBrk="0" hangingPunct="1">
              <a:lnSpc>
                <a:spcPts val="2352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352" cap="all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74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smtClean="0"/>
              <a:t>has </a:t>
            </a:r>
            <a:br>
              <a:rPr lang="en-US" dirty="0" smtClean="0"/>
            </a:br>
            <a:r>
              <a:rPr lang="en-US" dirty="0" smtClean="0"/>
              <a:t>id </a:t>
            </a:r>
            <a:r>
              <a:rPr lang="en-US" dirty="0" err="1" smtClean="0"/>
              <a:t>cibo</a:t>
            </a:r>
            <a:r>
              <a:rPr lang="en-US" dirty="0" smtClean="0"/>
              <a:t> </a:t>
            </a:r>
            <a:r>
              <a:rPr lang="en-US" dirty="0" err="1" smtClean="0"/>
              <a:t>quidam</a:t>
            </a:r>
            <a:r>
              <a:rPr lang="en-US" dirty="0" smtClean="0"/>
              <a:t> </a:t>
            </a:r>
            <a:r>
              <a:rPr lang="en-US" dirty="0" err="1" smtClean="0"/>
              <a:t>facilis</a:t>
            </a:r>
            <a:endParaRPr lang="en-US" dirty="0" smtClean="0"/>
          </a:p>
        </p:txBody>
      </p:sp>
      <p:pic>
        <p:nvPicPr>
          <p:cNvPr id="12" name="Picture 11" descr="BolhaExpandida2_roxa-01.png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9" r="81018"/>
          <a:stretch/>
        </p:blipFill>
        <p:spPr>
          <a:xfrm>
            <a:off x="1" y="-33668"/>
            <a:ext cx="1659456" cy="6755143"/>
          </a:xfrm>
          <a:prstGeom prst="rect">
            <a:avLst/>
          </a:prstGeom>
        </p:spPr>
      </p:pic>
      <p:pic>
        <p:nvPicPr>
          <p:cNvPr id="14" name="Picture 13" descr="BolhaExpandida2_roxa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98493" y="414905"/>
            <a:ext cx="5118203" cy="54887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710922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9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Rodapé 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3" name="Espaço Reservado para Número de Slide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pic>
        <p:nvPicPr>
          <p:cNvPr id="4" name="Picture 736" descr="http://interativa/data/interativa/arquivos/assinatura_email/logos/OIOI.0004.008.AF.160105.Logomarca_RGB_Laranja_2G.pn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71319" y="16623"/>
            <a:ext cx="1066146" cy="7530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3863572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9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a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077" y="2076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70366" name="think-cell Slide" r:id="rId4" imgW="444" imgH="446" progId="TCLayout.ActiveDocument.1">
                  <p:embed/>
                </p:oleObj>
              </mc:Choice>
              <mc:Fallback>
                <p:oleObj name="think-cell Slide" r:id="rId4" imgW="444" imgH="44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077" y="2076"/>
                        <a:ext cx="2074" cy="20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736" descr="http://interativa/data/interativa/arquivos/assinatura_email/logos/OIOI.0004.008.AF.160105.Logomarca_RGB_Laranja_2G.png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71319" y="16623"/>
            <a:ext cx="1066146" cy="7530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6841644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9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077" y="2076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71390" name="think-cell Slide" r:id="rId4" imgW="444" imgH="446" progId="TCLayout.ActiveDocument.1">
                  <p:embed/>
                </p:oleObj>
              </mc:Choice>
              <mc:Fallback>
                <p:oleObj name="think-cell Slide" r:id="rId4" imgW="444" imgH="44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077" y="2076"/>
                        <a:ext cx="2074" cy="20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736" descr="http://interativa/data/interativa/arquivos/assinatura_email/logos/OIOI.0004.008.AF.160105.Logomarca_RGB_Laranja_2G.png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71319" y="16623"/>
            <a:ext cx="1066146" cy="7530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874783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9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úd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076" y="2076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72414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76" y="2076"/>
                        <a:ext cx="2074" cy="20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Espaço Reservado para Texto 11"/>
          <p:cNvSpPr>
            <a:spLocks noGrp="1"/>
          </p:cNvSpPr>
          <p:nvPr>
            <p:ph type="body" sz="quarter" idx="10" hasCustomPrompt="1"/>
          </p:nvPr>
        </p:nvSpPr>
        <p:spPr>
          <a:xfrm>
            <a:off x="234583" y="88079"/>
            <a:ext cx="11171391" cy="60783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t" anchorCtr="0"/>
          <a:lstStyle>
            <a:lvl1pPr>
              <a:defRPr lang="pt-BR" sz="4182" b="0" i="0" dirty="0" smtClean="0">
                <a:solidFill>
                  <a:srgbClr val="FF6D00"/>
                </a:solidFill>
                <a:latin typeface="Simplon Oi Headline"/>
                <a:ea typeface="+mj-ea"/>
                <a:cs typeface="Simplon Oi Headline"/>
              </a:defRPr>
            </a:lvl1pPr>
            <a:lvl2pPr>
              <a:defRPr lang="pt-BR" sz="2352" dirty="0" smtClean="0">
                <a:latin typeface="+mn-lt"/>
                <a:cs typeface="+mn-cs"/>
              </a:defRPr>
            </a:lvl2pPr>
            <a:lvl3pPr>
              <a:defRPr lang="pt-BR" sz="2352" dirty="0" smtClean="0">
                <a:latin typeface="+mn-lt"/>
                <a:cs typeface="+mn-cs"/>
              </a:defRPr>
            </a:lvl3pPr>
            <a:lvl4pPr>
              <a:defRPr lang="pt-BR" sz="2352" dirty="0" smtClean="0">
                <a:latin typeface="+mn-lt"/>
                <a:cs typeface="+mn-cs"/>
              </a:defRPr>
            </a:lvl4pPr>
            <a:lvl5pPr>
              <a:defRPr lang="pt-BR" sz="2352" dirty="0">
                <a:latin typeface="+mn-lt"/>
                <a:cs typeface="+mn-cs"/>
              </a:defRPr>
            </a:lvl5pPr>
          </a:lstStyle>
          <a:p>
            <a:pPr lvl="0" defTabSz="597454">
              <a:lnSpc>
                <a:spcPts val="5489"/>
              </a:lnSpc>
              <a:spcBef>
                <a:spcPts val="0"/>
              </a:spcBef>
            </a:pPr>
            <a:r>
              <a:rPr lang="pt-BR" dirty="0" smtClean="0"/>
              <a:t>TÍTULO</a:t>
            </a:r>
            <a:endParaRPr lang="pt-BR" dirty="0"/>
          </a:p>
        </p:txBody>
      </p:sp>
      <p:sp>
        <p:nvSpPr>
          <p:cNvPr id="20" name="Espaço Reservado para Texto 19"/>
          <p:cNvSpPr>
            <a:spLocks noGrp="1"/>
          </p:cNvSpPr>
          <p:nvPr>
            <p:ph type="body" sz="quarter" idx="11"/>
          </p:nvPr>
        </p:nvSpPr>
        <p:spPr>
          <a:xfrm>
            <a:off x="233591" y="726336"/>
            <a:ext cx="11175796" cy="351925"/>
          </a:xfrm>
          <a:prstGeom prst="rect">
            <a:avLst/>
          </a:prstGeom>
        </p:spPr>
        <p:txBody>
          <a:bodyPr wrap="square" lIns="0">
            <a:spAutoFit/>
          </a:bodyPr>
          <a:lstStyle>
            <a:lvl1pPr>
              <a:defRPr lang="pt-BR" sz="2091" smtClean="0">
                <a:solidFill>
                  <a:srgbClr val="4D4D4D"/>
                </a:solidFill>
                <a:latin typeface="Simplon BP Regular"/>
                <a:cs typeface="Simplon BP Regular"/>
              </a:defRPr>
            </a:lvl1pPr>
            <a:lvl2pPr>
              <a:defRPr lang="pt-BR" sz="2352" smtClean="0">
                <a:latin typeface="+mn-lt"/>
                <a:cs typeface="+mn-cs"/>
              </a:defRPr>
            </a:lvl2pPr>
            <a:lvl3pPr>
              <a:defRPr lang="pt-BR" sz="2352" smtClean="0">
                <a:latin typeface="+mn-lt"/>
                <a:cs typeface="+mn-cs"/>
              </a:defRPr>
            </a:lvl3pPr>
            <a:lvl4pPr>
              <a:defRPr lang="pt-BR" sz="2352" smtClean="0">
                <a:latin typeface="+mn-lt"/>
                <a:cs typeface="+mn-cs"/>
              </a:defRPr>
            </a:lvl4pPr>
            <a:lvl5pPr>
              <a:defRPr lang="pt-BR" sz="2352">
                <a:latin typeface="+mn-lt"/>
                <a:cs typeface="+mn-cs"/>
              </a:defRPr>
            </a:lvl5pPr>
          </a:lstStyle>
          <a:p>
            <a:pPr lvl="0" defTabSz="1194909">
              <a:lnSpc>
                <a:spcPts val="2744"/>
              </a:lnSpc>
            </a:pPr>
            <a:r>
              <a:rPr lang="pt-BR" dirty="0" smtClean="0"/>
              <a:t>Clique para editar o texto mestre</a:t>
            </a:r>
            <a:endParaRPr lang="pt-BR" dirty="0"/>
          </a:p>
        </p:txBody>
      </p:sp>
      <p:sp>
        <p:nvSpPr>
          <p:cNvPr id="47" name="Espaço Reservado para Texto 15"/>
          <p:cNvSpPr>
            <a:spLocks noGrp="1"/>
          </p:cNvSpPr>
          <p:nvPr>
            <p:ph type="body" sz="quarter" idx="12" hasCustomPrompt="1"/>
          </p:nvPr>
        </p:nvSpPr>
        <p:spPr>
          <a:xfrm>
            <a:off x="234582" y="1478756"/>
            <a:ext cx="11175634" cy="263465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>
            <a:lvl1pPr>
              <a:defRPr lang="pt-BR" sz="1699" baseline="0" smtClean="0">
                <a:solidFill>
                  <a:srgbClr val="464646"/>
                </a:solidFill>
                <a:latin typeface="Simplon BP Regular"/>
                <a:cs typeface="Simplon BP Regular"/>
              </a:defRPr>
            </a:lvl1pPr>
            <a:lvl2pPr>
              <a:defRPr lang="pt-BR" sz="2352" smtClean="0">
                <a:latin typeface="+mn-lt"/>
                <a:cs typeface="+mn-cs"/>
              </a:defRPr>
            </a:lvl2pPr>
            <a:lvl3pPr>
              <a:defRPr lang="pt-BR" sz="2352" smtClean="0">
                <a:latin typeface="+mn-lt"/>
                <a:cs typeface="+mn-cs"/>
              </a:defRPr>
            </a:lvl3pPr>
            <a:lvl4pPr>
              <a:defRPr lang="pt-BR" sz="2352" smtClean="0">
                <a:latin typeface="+mn-lt"/>
                <a:cs typeface="+mn-cs"/>
              </a:defRPr>
            </a:lvl4pPr>
            <a:lvl5pPr>
              <a:defRPr lang="pt-BR" sz="2352">
                <a:latin typeface="+mn-lt"/>
                <a:cs typeface="+mn-cs"/>
              </a:defRPr>
            </a:lvl5pPr>
          </a:lstStyle>
          <a:p>
            <a:pPr lvl="0" defTabSz="1194909"/>
            <a:r>
              <a:rPr lang="pt-BR" dirty="0" err="1" smtClean="0"/>
              <a:t>Lorem</a:t>
            </a:r>
            <a:r>
              <a:rPr lang="pt-BR" dirty="0" smtClean="0"/>
              <a:t> ipsum </a:t>
            </a:r>
            <a:r>
              <a:rPr lang="pt-BR" dirty="0" err="1" smtClean="0"/>
              <a:t>dolor</a:t>
            </a:r>
            <a:r>
              <a:rPr lang="pt-BR" dirty="0" smtClean="0"/>
              <a:t> </a:t>
            </a:r>
            <a:r>
              <a:rPr lang="pt-BR" dirty="0" err="1" smtClean="0"/>
              <a:t>sit</a:t>
            </a:r>
            <a:r>
              <a:rPr lang="pt-BR" dirty="0" smtClean="0"/>
              <a:t> </a:t>
            </a:r>
            <a:r>
              <a:rPr lang="pt-BR" dirty="0" err="1" smtClean="0"/>
              <a:t>amet</a:t>
            </a:r>
            <a:r>
              <a:rPr lang="pt-BR" dirty="0" smtClean="0"/>
              <a:t>, </a:t>
            </a:r>
            <a:r>
              <a:rPr lang="pt-BR" dirty="0" err="1" smtClean="0"/>
              <a:t>consectetuer</a:t>
            </a:r>
            <a:r>
              <a:rPr lang="pt-BR" dirty="0" smtClean="0"/>
              <a:t> </a:t>
            </a:r>
            <a:r>
              <a:rPr lang="pt-BR" dirty="0" err="1" smtClean="0"/>
              <a:t>adipiscing</a:t>
            </a:r>
            <a:r>
              <a:rPr lang="pt-BR" dirty="0" smtClean="0"/>
              <a:t> </a:t>
            </a:r>
            <a:r>
              <a:rPr lang="pt-BR" dirty="0" err="1" smtClean="0"/>
              <a:t>elit</a:t>
            </a:r>
            <a:r>
              <a:rPr lang="pt-BR" dirty="0" smtClean="0"/>
              <a:t>, </a:t>
            </a:r>
            <a:r>
              <a:rPr lang="pt-BR" dirty="0" err="1" smtClean="0"/>
              <a:t>sed</a:t>
            </a:r>
            <a:r>
              <a:rPr lang="pt-BR" dirty="0" smtClean="0"/>
              <a:t> </a:t>
            </a:r>
            <a:r>
              <a:rPr lang="pt-BR" dirty="0" err="1" smtClean="0"/>
              <a:t>diam</a:t>
            </a:r>
            <a:r>
              <a:rPr lang="pt-BR" dirty="0" smtClean="0"/>
              <a:t> </a:t>
            </a:r>
            <a:r>
              <a:rPr lang="pt-BR" dirty="0" err="1" smtClean="0"/>
              <a:t>nonummy</a:t>
            </a:r>
            <a:r>
              <a:rPr lang="pt-BR" dirty="0" smtClean="0"/>
              <a:t> </a:t>
            </a:r>
            <a:r>
              <a:rPr lang="pt-BR" dirty="0" err="1" smtClean="0"/>
              <a:t>nibh</a:t>
            </a:r>
            <a:r>
              <a:rPr lang="pt-BR" dirty="0" smtClean="0"/>
              <a:t> </a:t>
            </a:r>
            <a:r>
              <a:rPr lang="pt-BR" dirty="0" err="1" smtClean="0"/>
              <a:t>euismod</a:t>
            </a:r>
            <a:r>
              <a:rPr lang="pt-BR" dirty="0" smtClean="0"/>
              <a:t> </a:t>
            </a:r>
            <a:r>
              <a:rPr lang="pt-BR" dirty="0" err="1" smtClean="0"/>
              <a:t>tincidunt</a:t>
            </a:r>
            <a:r>
              <a:rPr lang="pt-BR" dirty="0" smtClean="0"/>
              <a:t> ut </a:t>
            </a:r>
            <a:r>
              <a:rPr lang="pt-BR" dirty="0" err="1" smtClean="0"/>
              <a:t>laoreet</a:t>
            </a:r>
            <a:r>
              <a:rPr lang="pt-BR" dirty="0" smtClean="0"/>
              <a:t> </a:t>
            </a:r>
            <a:r>
              <a:rPr lang="pt-BR" dirty="0" err="1" smtClean="0"/>
              <a:t>dolore</a:t>
            </a:r>
            <a:r>
              <a:rPr lang="pt-BR" dirty="0" smtClean="0"/>
              <a:t> magna </a:t>
            </a:r>
            <a:r>
              <a:rPr lang="pt-BR" dirty="0" err="1" smtClean="0"/>
              <a:t>aliquam</a:t>
            </a:r>
            <a:r>
              <a:rPr lang="pt-BR" dirty="0" smtClean="0"/>
              <a:t> erat </a:t>
            </a:r>
            <a:r>
              <a:rPr lang="pt-BR" dirty="0" err="1" smtClean="0"/>
              <a:t>volutpat</a:t>
            </a:r>
            <a:r>
              <a:rPr lang="pt-BR" dirty="0" smtClean="0"/>
              <a:t>. Ut </a:t>
            </a:r>
            <a:r>
              <a:rPr lang="pt-BR" dirty="0" err="1" smtClean="0"/>
              <a:t>wisi</a:t>
            </a:r>
            <a:r>
              <a:rPr lang="pt-BR" dirty="0" smtClean="0"/>
              <a:t> </a:t>
            </a:r>
            <a:r>
              <a:rPr lang="pt-BR" dirty="0" err="1" smtClean="0"/>
              <a:t>enim</a:t>
            </a:r>
            <a:r>
              <a:rPr lang="pt-BR" dirty="0" smtClean="0"/>
              <a:t> ad </a:t>
            </a:r>
            <a:r>
              <a:rPr lang="pt-BR" dirty="0" err="1" smtClean="0"/>
              <a:t>minim</a:t>
            </a:r>
            <a:r>
              <a:rPr lang="pt-BR" dirty="0" smtClean="0"/>
              <a:t> </a:t>
            </a:r>
            <a:r>
              <a:rPr lang="pt-BR" dirty="0" err="1" smtClean="0"/>
              <a:t>veniam</a:t>
            </a:r>
            <a:r>
              <a:rPr lang="pt-BR" dirty="0" smtClean="0"/>
              <a:t>, quis </a:t>
            </a:r>
            <a:r>
              <a:rPr lang="pt-BR" dirty="0" err="1" smtClean="0"/>
              <a:t>nostrud</a:t>
            </a:r>
            <a:r>
              <a:rPr lang="pt-BR" dirty="0" smtClean="0"/>
              <a:t> exerci </a:t>
            </a:r>
            <a:r>
              <a:rPr lang="pt-BR" dirty="0" err="1" smtClean="0"/>
              <a:t>tation</a:t>
            </a:r>
            <a:r>
              <a:rPr lang="pt-BR" dirty="0" smtClean="0"/>
              <a:t> </a:t>
            </a:r>
            <a:r>
              <a:rPr lang="pt-BR" dirty="0" err="1" smtClean="0"/>
              <a:t>ullamcorper</a:t>
            </a:r>
            <a:r>
              <a:rPr lang="pt-BR" dirty="0" smtClean="0"/>
              <a:t> </a:t>
            </a:r>
            <a:r>
              <a:rPr lang="pt-BR" dirty="0" err="1" smtClean="0"/>
              <a:t>suscipit</a:t>
            </a:r>
            <a:r>
              <a:rPr lang="pt-BR" dirty="0" smtClean="0"/>
              <a:t> </a:t>
            </a:r>
            <a:r>
              <a:rPr lang="pt-BR" dirty="0" err="1" smtClean="0"/>
              <a:t>lobortis</a:t>
            </a:r>
            <a:r>
              <a:rPr lang="pt-BR" dirty="0" smtClean="0"/>
              <a:t> </a:t>
            </a:r>
            <a:r>
              <a:rPr lang="pt-BR" dirty="0" err="1" smtClean="0"/>
              <a:t>nisl</a:t>
            </a:r>
            <a:r>
              <a:rPr lang="pt-BR" dirty="0" smtClean="0"/>
              <a:t> ut </a:t>
            </a:r>
            <a:r>
              <a:rPr lang="pt-BR" dirty="0" err="1" smtClean="0"/>
              <a:t>aliquip</a:t>
            </a:r>
            <a:r>
              <a:rPr lang="pt-BR" dirty="0" smtClean="0"/>
              <a:t> </a:t>
            </a:r>
            <a:r>
              <a:rPr lang="pt-BR" dirty="0" err="1" smtClean="0"/>
              <a:t>ex</a:t>
            </a:r>
            <a:r>
              <a:rPr lang="pt-BR" dirty="0" smtClean="0"/>
              <a:t> </a:t>
            </a:r>
            <a:r>
              <a:rPr lang="pt-BR" dirty="0" err="1" smtClean="0"/>
              <a:t>ea</a:t>
            </a:r>
            <a:r>
              <a:rPr lang="pt-BR" dirty="0" smtClean="0"/>
              <a:t> </a:t>
            </a:r>
            <a:r>
              <a:rPr lang="pt-BR" dirty="0" err="1" smtClean="0"/>
              <a:t>commodo</a:t>
            </a:r>
            <a:r>
              <a:rPr lang="pt-BR" dirty="0" smtClean="0"/>
              <a:t> </a:t>
            </a:r>
            <a:r>
              <a:rPr lang="pt-BR" dirty="0" err="1" smtClean="0"/>
              <a:t>consequat</a:t>
            </a:r>
            <a:r>
              <a:rPr lang="pt-BR" dirty="0" smtClean="0"/>
              <a:t>. </a:t>
            </a:r>
          </a:p>
        </p:txBody>
      </p:sp>
      <p:sp>
        <p:nvSpPr>
          <p:cNvPr id="48" name="Slide Number Placeholder 1"/>
          <p:cNvSpPr txBox="1">
            <a:spLocks/>
          </p:cNvSpPr>
          <p:nvPr userDrawn="1"/>
        </p:nvSpPr>
        <p:spPr bwMode="auto">
          <a:xfrm>
            <a:off x="11320709" y="6407649"/>
            <a:ext cx="601604" cy="3588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defPPr>
              <a:defRPr lang="en-US"/>
            </a:defPPr>
            <a:lvl1pPr marL="0" algn="l" defTabSz="457200" rtl="0" eaLnBrk="0" latinLnBrk="0" hangingPunct="0">
              <a:defRPr sz="1800" kern="1200">
                <a:solidFill>
                  <a:schemeClr val="tx1"/>
                </a:solidFill>
                <a:latin typeface="Calibri" charset="0"/>
                <a:ea typeface="ＭＳ Ｐゴシック" charset="0"/>
                <a:cs typeface="Arial" charset="0"/>
              </a:defRPr>
            </a:lvl1pPr>
            <a:lvl2pPr marL="742950" indent="-285750" algn="l" defTabSz="457200" rtl="0" eaLnBrk="0" latinLnBrk="0" hangingPunct="0"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2pPr>
            <a:lvl3pPr marL="1143000" indent="-228600" algn="l" defTabSz="457200" rtl="0" eaLnBrk="0" latinLnBrk="0" hangingPunct="0"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3pPr>
            <a:lvl4pPr marL="1600200" indent="-228600" algn="l" defTabSz="457200" rtl="0" eaLnBrk="0" latinLnBrk="0" hangingPunct="0"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4pPr>
            <a:lvl5pPr marL="2057400" indent="-228600" algn="l" defTabSz="457200" rtl="0" eaLnBrk="0" latinLnBrk="0" hangingPunct="0"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5pPr>
            <a:lvl6pPr marL="2514600" indent="-228600" algn="l" defTabSz="4572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6pPr>
            <a:lvl7pPr marL="2971800" indent="-228600" algn="l" defTabSz="4572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7pPr>
            <a:lvl8pPr marL="3429000" indent="-228600" algn="l" defTabSz="4572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8pPr>
            <a:lvl9pPr marL="3886200" indent="-228600" algn="l" defTabSz="4572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9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fld id="{9543D946-5134-1748-A050-11636790511E}" type="slidenum">
              <a:rPr lang="en-US" sz="1306" smtClean="0">
                <a:solidFill>
                  <a:srgbClr val="4D4D4D"/>
                </a:solidFill>
                <a:latin typeface="Simplon BP Regular"/>
                <a:cs typeface="Simplon BP Regular"/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t>‹nº›</a:t>
            </a:fld>
            <a:endParaRPr lang="en-US" sz="1306" dirty="0">
              <a:solidFill>
                <a:srgbClr val="4D4D4D"/>
              </a:solidFill>
              <a:latin typeface="Simplon BP Regular"/>
              <a:cs typeface="Simplon BP Regular"/>
            </a:endParaRPr>
          </a:p>
        </p:txBody>
      </p:sp>
      <p:sp>
        <p:nvSpPr>
          <p:cNvPr id="49" name="Footer Placeholder 2"/>
          <p:cNvSpPr txBox="1">
            <a:spLocks/>
          </p:cNvSpPr>
          <p:nvPr userDrawn="1"/>
        </p:nvSpPr>
        <p:spPr>
          <a:xfrm>
            <a:off x="7469405" y="6411805"/>
            <a:ext cx="3782544" cy="356819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457200" rtl="0" eaLnBrk="0" latinLnBrk="0" hangingPunct="0">
              <a:defRPr sz="1800" kern="1200">
                <a:solidFill>
                  <a:schemeClr val="tx1"/>
                </a:solidFill>
                <a:latin typeface="Calibri" charset="0"/>
                <a:ea typeface="ＭＳ Ｐゴシック" charset="0"/>
                <a:cs typeface="Arial" charset="0"/>
              </a:defRPr>
            </a:lvl1pPr>
            <a:lvl2pPr marL="742950" indent="-285750" algn="l" defTabSz="457200" rtl="0" eaLnBrk="0" latinLnBrk="0" hangingPunct="0"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2pPr>
            <a:lvl3pPr marL="1143000" indent="-228600" algn="l" defTabSz="457200" rtl="0" eaLnBrk="0" latinLnBrk="0" hangingPunct="0"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3pPr>
            <a:lvl4pPr marL="1600200" indent="-228600" algn="l" defTabSz="457200" rtl="0" eaLnBrk="0" latinLnBrk="0" hangingPunct="0"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4pPr>
            <a:lvl5pPr marL="2057400" indent="-228600" algn="l" defTabSz="457200" rtl="0" eaLnBrk="0" latinLnBrk="0" hangingPunct="0"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5pPr>
            <a:lvl6pPr marL="2514600" indent="-228600" algn="l" defTabSz="4572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6pPr>
            <a:lvl7pPr marL="2971800" indent="-228600" algn="l" defTabSz="4572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7pPr>
            <a:lvl8pPr marL="3429000" indent="-228600" algn="l" defTabSz="4572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8pPr>
            <a:lvl9pPr marL="3886200" indent="-228600" algn="l" defTabSz="4572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9pPr>
          </a:lstStyle>
          <a:p>
            <a:pPr algn="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sz="1306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MATERIAL CONFIDENCIAL  |  SLIDE Nº</a:t>
            </a:r>
            <a:endParaRPr lang="en-US" sz="1306" dirty="0">
              <a:solidFill>
                <a:srgbClr val="4D4D4D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82179374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9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077" y="2076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73438" name="think-cell Slide" r:id="rId4" imgW="444" imgH="446" progId="TCLayout.ActiveDocument.1">
                  <p:embed/>
                </p:oleObj>
              </mc:Choice>
              <mc:Fallback>
                <p:oleObj name="think-cell Slide" r:id="rId4" imgW="444" imgH="44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077" y="2076"/>
                        <a:ext cx="2074" cy="20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Box 1"/>
          <p:cNvSpPr txBox="1"/>
          <p:nvPr userDrawn="1"/>
        </p:nvSpPr>
        <p:spPr>
          <a:xfrm>
            <a:off x="9689505" y="3762877"/>
            <a:ext cx="1194911" cy="896197"/>
          </a:xfrm>
          <a:prstGeom prst="rect">
            <a:avLst/>
          </a:prstGeom>
        </p:spPr>
        <p:txBody>
          <a:bodyPr vert="horz" wrap="none" lIns="119491" tIns="59746" rIns="119491" bIns="59746" rtlCol="0" anchor="ctr">
            <a:noAutofit/>
          </a:bodyPr>
          <a:lstStyle/>
          <a:p>
            <a:pPr marL="373408" indent="-373408" defTabSz="597454" fontAlgn="auto">
              <a:spcBef>
                <a:spcPts val="0"/>
              </a:spcBef>
              <a:spcAft>
                <a:spcPts val="0"/>
              </a:spcAft>
              <a:buFont typeface="Arial"/>
              <a:buChar char="•"/>
            </a:pPr>
            <a:endParaRPr lang="en-US" sz="2744">
              <a:solidFill>
                <a:srgbClr val="4D4D4D"/>
              </a:solidFill>
              <a:latin typeface="Simplon BP"/>
            </a:endParaRPr>
          </a:p>
        </p:txBody>
      </p:sp>
      <p:sp>
        <p:nvSpPr>
          <p:cNvPr id="13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422136" y="2848724"/>
            <a:ext cx="5577332" cy="1562433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597454" rtl="0" eaLnBrk="1" fontAlgn="auto" latinLnBrk="0" hangingPunct="1">
              <a:lnSpc>
                <a:spcPts val="183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3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7454" rtl="0" eaLnBrk="1" fontAlgn="auto" latinLnBrk="0" hangingPunct="1">
              <a:lnSpc>
                <a:spcPts val="183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7454" rtl="0" eaLnBrk="1" fontAlgn="auto" latinLnBrk="0" hangingPunct="1">
              <a:lnSpc>
                <a:spcPts val="183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7454" rtl="0" eaLnBrk="1" fontAlgn="auto" latinLnBrk="0" hangingPunct="1">
              <a:lnSpc>
                <a:spcPts val="183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  <p:sp>
        <p:nvSpPr>
          <p:cNvPr id="14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422135" y="1790557"/>
            <a:ext cx="4970423" cy="73342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597454" rtl="0" eaLnBrk="1" fontAlgn="auto" latinLnBrk="0" hangingPunct="1">
              <a:lnSpc>
                <a:spcPts val="2352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352" cap="all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74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smtClean="0"/>
              <a:t>has </a:t>
            </a:r>
            <a:br>
              <a:rPr lang="en-US" dirty="0" smtClean="0"/>
            </a:br>
            <a:r>
              <a:rPr lang="en-US" dirty="0" smtClean="0"/>
              <a:t>id </a:t>
            </a:r>
            <a:r>
              <a:rPr lang="en-US" dirty="0" err="1" smtClean="0"/>
              <a:t>cibo</a:t>
            </a:r>
            <a:r>
              <a:rPr lang="en-US" dirty="0" smtClean="0"/>
              <a:t> </a:t>
            </a:r>
            <a:r>
              <a:rPr lang="en-US" dirty="0" err="1" smtClean="0"/>
              <a:t>quidam</a:t>
            </a:r>
            <a:r>
              <a:rPr lang="en-US" dirty="0" smtClean="0"/>
              <a:t> </a:t>
            </a:r>
            <a:r>
              <a:rPr lang="en-US" dirty="0" err="1" smtClean="0"/>
              <a:t>facilis</a:t>
            </a:r>
            <a:endParaRPr lang="en-US" dirty="0"/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422138" y="349328"/>
            <a:ext cx="5783254" cy="123378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704"/>
              </a:lnSpc>
              <a:defRPr sz="3659">
                <a:solidFill>
                  <a:srgbClr val="EA288C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endParaRPr lang="en-US" dirty="0"/>
          </a:p>
        </p:txBody>
      </p:sp>
      <p:sp>
        <p:nvSpPr>
          <p:cNvPr id="18" name="Espaço Reservado para Texto 2"/>
          <p:cNvSpPr>
            <a:spLocks noGrp="1"/>
          </p:cNvSpPr>
          <p:nvPr>
            <p:ph type="body" sz="quarter" idx="20" hasCustomPrompt="1"/>
          </p:nvPr>
        </p:nvSpPr>
        <p:spPr>
          <a:xfrm>
            <a:off x="8649529" y="6259799"/>
            <a:ext cx="3041593" cy="296055"/>
          </a:xfrm>
          <a:prstGeom prst="rect">
            <a:avLst/>
          </a:prstGeom>
        </p:spPr>
        <p:txBody>
          <a:bodyPr/>
          <a:lstStyle>
            <a:lvl1pPr marL="0" marR="0" indent="0" algn="l" defTabSz="597454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306">
                <a:solidFill>
                  <a:schemeClr val="bg2"/>
                </a:solidFill>
                <a:latin typeface="+mn-lt"/>
              </a:defRPr>
            </a:lvl1pPr>
            <a:lvl2pPr marL="597454" indent="0">
              <a:buNone/>
              <a:defRPr/>
            </a:lvl2pPr>
            <a:lvl3pPr marL="1194909" indent="0">
              <a:buNone/>
              <a:defRPr/>
            </a:lvl3pPr>
            <a:lvl4pPr marL="1792362" indent="0">
              <a:buNone/>
              <a:defRPr/>
            </a:lvl4pPr>
            <a:lvl5pPr marL="2389816" indent="0">
              <a:buNone/>
              <a:defRPr/>
            </a:lvl5pPr>
          </a:lstStyle>
          <a:p>
            <a:r>
              <a:rPr lang="en-US" dirty="0" smtClean="0">
                <a:latin typeface="+mn-lt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/>
              <a:t>‹nº›</a:t>
            </a:fld>
            <a:endParaRPr lang="en-US" dirty="0">
              <a:latin typeface="Simplon BP Bold"/>
              <a:cs typeface="Simplon BP Bold"/>
            </a:endParaRPr>
          </a:p>
        </p:txBody>
      </p:sp>
      <p:pic>
        <p:nvPicPr>
          <p:cNvPr id="9" name="Picture 736" descr="http://interativa/data/interativa/arquivos/assinatura_email/logos/OIOI.0004.008.AF.160105.Logomarca_RGB_Laranja_2G.png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71319" y="16623"/>
            <a:ext cx="1066146" cy="7530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37311081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9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Oi Capa">
    <p:bg>
      <p:bgPr>
        <a:blipFill dpi="0" rotWithShape="1">
          <a:blip r:embed="rId2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A02BFF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79216567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6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1980" y="358898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1979" y="1854633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7457" y="6371917"/>
            <a:ext cx="10176096" cy="28226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68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3552" y="6371917"/>
            <a:ext cx="578105" cy="28226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68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1980" y="819637"/>
            <a:ext cx="10725159" cy="470918"/>
          </a:xfrm>
        </p:spPr>
        <p:txBody>
          <a:bodyPr/>
          <a:lstStyle>
            <a:lvl1pPr marL="0" indent="0">
              <a:lnSpc>
                <a:spcPts val="2058"/>
              </a:lnSpc>
              <a:buNone/>
              <a:defRPr sz="2614">
                <a:solidFill>
                  <a:srgbClr val="4D4D4D"/>
                </a:solidFill>
              </a:defRPr>
            </a:lvl1pPr>
            <a:lvl2pPr marL="246864" indent="0">
              <a:buNone/>
              <a:defRPr sz="2744">
                <a:solidFill>
                  <a:schemeClr val="accent3"/>
                </a:solidFill>
              </a:defRPr>
            </a:lvl2pPr>
            <a:lvl3pPr marL="477133" indent="0">
              <a:buNone/>
              <a:defRPr sz="2744">
                <a:solidFill>
                  <a:schemeClr val="accent3"/>
                </a:solidFill>
              </a:defRPr>
            </a:lvl3pPr>
            <a:lvl4pPr marL="707402" indent="0">
              <a:buNone/>
              <a:defRPr sz="2744">
                <a:solidFill>
                  <a:schemeClr val="accent3"/>
                </a:solidFill>
              </a:defRPr>
            </a:lvl4pPr>
            <a:lvl5pPr marL="937670" indent="0">
              <a:buNone/>
              <a:defRPr sz="2744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44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44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44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44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44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44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44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44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44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395011508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422137" y="349431"/>
            <a:ext cx="6749230" cy="254184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703"/>
              </a:lnSpc>
              <a:defRPr sz="4700">
                <a:solidFill>
                  <a:srgbClr val="18C3FF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r>
              <a:rPr lang="en-US" dirty="0" smtClean="0"/>
              <a:t>. LOREM IPSUM DOLOR SIT AMET HAS ID CIBO QUIDAM</a:t>
            </a:r>
            <a:endParaRPr lang="en-US" dirty="0"/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422137" y="3071971"/>
            <a:ext cx="6749230" cy="796308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591926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1926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1926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70198289"/>
      </p:ext>
    </p:extLst>
  </p:cSld>
  <p:clrMapOvr>
    <a:masterClrMapping/>
  </p:clrMapOvr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20" y="1854632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2904550"/>
      </p:ext>
    </p:extLst>
  </p:cSld>
  <p:clrMapOvr>
    <a:masterClrMapping/>
  </p:clrMapOvr>
</p:sldLayout>
</file>

<file path=ppt/slideLayouts/slideLayout17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077" y="2076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75486" name="think-cell Slide" r:id="rId4" imgW="470" imgH="469" progId="TCLayout.ActiveDocument.1">
                  <p:embed/>
                </p:oleObj>
              </mc:Choice>
              <mc:Fallback>
                <p:oleObj name="think-cell Slide" r:id="rId4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077" y="2076"/>
                        <a:ext cx="2074" cy="20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1980" y="358898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7457" y="6371917"/>
            <a:ext cx="10176096" cy="28226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68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3552" y="6371917"/>
            <a:ext cx="578105" cy="28226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68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1980" y="819637"/>
            <a:ext cx="10725159" cy="470918"/>
          </a:xfrm>
        </p:spPr>
        <p:txBody>
          <a:bodyPr/>
          <a:lstStyle>
            <a:lvl1pPr marL="0" indent="0">
              <a:lnSpc>
                <a:spcPts val="2058"/>
              </a:lnSpc>
              <a:buNone/>
              <a:defRPr sz="2614">
                <a:solidFill>
                  <a:srgbClr val="4D4D4D"/>
                </a:solidFill>
              </a:defRPr>
            </a:lvl1pPr>
            <a:lvl2pPr marL="246864" indent="0">
              <a:buNone/>
              <a:defRPr sz="2744">
                <a:solidFill>
                  <a:schemeClr val="accent3"/>
                </a:solidFill>
              </a:defRPr>
            </a:lvl2pPr>
            <a:lvl3pPr marL="477133" indent="0">
              <a:buNone/>
              <a:defRPr sz="2744">
                <a:solidFill>
                  <a:schemeClr val="accent3"/>
                </a:solidFill>
              </a:defRPr>
            </a:lvl3pPr>
            <a:lvl4pPr marL="707402" indent="0">
              <a:buNone/>
              <a:defRPr sz="2744">
                <a:solidFill>
                  <a:schemeClr val="accent3"/>
                </a:solidFill>
              </a:defRPr>
            </a:lvl4pPr>
            <a:lvl5pPr marL="937670" indent="0">
              <a:buNone/>
              <a:defRPr sz="2744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44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44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44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44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44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44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44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44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44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4003753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1980" y="358898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1979" y="1854633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7457" y="6371917"/>
            <a:ext cx="10176096" cy="28226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68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3552" y="6371917"/>
            <a:ext cx="578105" cy="28226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68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1980" y="1290134"/>
            <a:ext cx="10725159" cy="470918"/>
          </a:xfrm>
        </p:spPr>
        <p:txBody>
          <a:bodyPr/>
          <a:lstStyle>
            <a:lvl1pPr marL="0" indent="0">
              <a:lnSpc>
                <a:spcPts val="2058"/>
              </a:lnSpc>
              <a:buNone/>
              <a:defRPr sz="2614">
                <a:solidFill>
                  <a:srgbClr val="4D4D4D"/>
                </a:solidFill>
              </a:defRPr>
            </a:lvl1pPr>
            <a:lvl2pPr marL="246864" indent="0">
              <a:buNone/>
              <a:defRPr sz="2744">
                <a:solidFill>
                  <a:schemeClr val="accent3"/>
                </a:solidFill>
              </a:defRPr>
            </a:lvl2pPr>
            <a:lvl3pPr marL="477133" indent="0">
              <a:buNone/>
              <a:defRPr sz="2744">
                <a:solidFill>
                  <a:schemeClr val="accent3"/>
                </a:solidFill>
              </a:defRPr>
            </a:lvl3pPr>
            <a:lvl4pPr marL="707402" indent="0">
              <a:buNone/>
              <a:defRPr sz="2744">
                <a:solidFill>
                  <a:schemeClr val="accent3"/>
                </a:solidFill>
              </a:defRPr>
            </a:lvl4pPr>
            <a:lvl5pPr marL="937670" indent="0">
              <a:buNone/>
              <a:defRPr sz="2744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44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44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44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44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44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44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44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44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44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94004299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1979" y="1854633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7457" y="6371917"/>
            <a:ext cx="10176096" cy="28226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68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3552" y="6371917"/>
            <a:ext cx="578105" cy="28226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68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3434223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7457" y="6371917"/>
            <a:ext cx="10176096" cy="28226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68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3552" y="6371917"/>
            <a:ext cx="578105" cy="28226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68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2030119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orytelling: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81" y="1854633"/>
            <a:ext cx="5080446" cy="451832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90" y="1854630"/>
            <a:ext cx="5080448" cy="451832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7457" y="6371917"/>
            <a:ext cx="10176096" cy="28226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68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3552" y="6371917"/>
            <a:ext cx="578105" cy="28226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68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1980" y="1290134"/>
            <a:ext cx="10725159" cy="470918"/>
          </a:xfrm>
        </p:spPr>
        <p:txBody>
          <a:bodyPr/>
          <a:lstStyle>
            <a:lvl1pPr marL="0" indent="0">
              <a:lnSpc>
                <a:spcPts val="2058"/>
              </a:lnSpc>
              <a:buNone/>
              <a:defRPr sz="2614">
                <a:solidFill>
                  <a:srgbClr val="4D4D4D"/>
                </a:solidFill>
              </a:defRPr>
            </a:lvl1pPr>
            <a:lvl2pPr marL="246864" indent="0">
              <a:buNone/>
              <a:defRPr sz="2744">
                <a:solidFill>
                  <a:schemeClr val="accent3"/>
                </a:solidFill>
              </a:defRPr>
            </a:lvl2pPr>
            <a:lvl3pPr marL="477133" indent="0">
              <a:buNone/>
              <a:defRPr sz="2744">
                <a:solidFill>
                  <a:schemeClr val="accent3"/>
                </a:solidFill>
              </a:defRPr>
            </a:lvl3pPr>
            <a:lvl4pPr marL="707402" indent="0">
              <a:buNone/>
              <a:defRPr sz="2744">
                <a:solidFill>
                  <a:schemeClr val="accent3"/>
                </a:solidFill>
              </a:defRPr>
            </a:lvl4pPr>
            <a:lvl5pPr marL="937670" indent="0">
              <a:buNone/>
              <a:defRPr sz="2744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44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44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44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44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44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44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44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44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44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231449045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170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>
          <a:xfrm>
            <a:off x="597456" y="6229815"/>
            <a:ext cx="2788126" cy="357856"/>
          </a:xfrm>
          <a:prstGeom prst="rect">
            <a:avLst/>
          </a:prstGeom>
        </p:spPr>
        <p:txBody>
          <a:bodyPr/>
          <a:lstStyle/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fld id="{AD660E49-5EA6-43CA-9815-5A42AECD7A65}" type="datetimeFigureOut">
              <a:rPr lang="pt-BR" sz="1764" smtClean="0">
                <a:solidFill>
                  <a:srgbClr val="000000"/>
                </a:solidFill>
                <a:latin typeface="Arial"/>
              </a:rPr>
              <a:pPr defTabSz="597454" fontAlgn="auto">
                <a:spcBef>
                  <a:spcPts val="0"/>
                </a:spcBef>
                <a:spcAft>
                  <a:spcPts val="0"/>
                </a:spcAft>
              </a:pPr>
              <a:t>11/01/2018</a:t>
            </a:fld>
            <a:endParaRPr lang="pt-BR" sz="1764">
              <a:solidFill>
                <a:srgbClr val="000000"/>
              </a:solidFill>
              <a:latin typeface="Arial"/>
            </a:endParaRPr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>
              <a:solidFill>
                <a:srgbClr val="5F5F5F"/>
              </a:solidFill>
            </a:endParaRPr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00685F-95E8-41FF-A775-34B603A9E882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1731665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0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ó image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077" y="2076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7651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077" y="2076"/>
                        <a:ext cx="2074" cy="20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 Placeholder 1"/>
          <p:cNvSpPr>
            <a:spLocks noGrp="1"/>
          </p:cNvSpPr>
          <p:nvPr>
            <p:ph type="sldNum" sz="quarter" idx="12"/>
          </p:nvPr>
        </p:nvSpPr>
        <p:spPr>
          <a:xfrm>
            <a:off x="11212667" y="6443492"/>
            <a:ext cx="698142" cy="212963"/>
          </a:xfrm>
          <a:prstGeom prst="rect">
            <a:avLst/>
          </a:prstGeom>
        </p:spPr>
        <p:txBody>
          <a:bodyPr anchor="ctr"/>
          <a:lstStyle>
            <a:lvl1pPr>
              <a:defRPr sz="1438">
                <a:latin typeface="Simplon BP Regular" pitchFamily="2" charset="0"/>
              </a:defRPr>
            </a:lvl1pPr>
          </a:lstStyle>
          <a:p>
            <a:pPr algn="ctr"/>
            <a:fld id="{B2531E6E-6E7D-4785-BFDF-BAABB6C6AA33}" type="slidenum">
              <a:rPr lang="pt-BR" smtClean="0">
                <a:solidFill>
                  <a:prstClr val="black"/>
                </a:solidFill>
              </a:rPr>
              <a:pPr algn="ctr"/>
              <a:t>‹nº›</a:t>
            </a:fld>
            <a:endParaRPr lang="pt-BR" dirty="0">
              <a:solidFill>
                <a:prstClr val="black"/>
              </a:solidFill>
            </a:endParaRPr>
          </a:p>
        </p:txBody>
      </p:sp>
      <p:pic>
        <p:nvPicPr>
          <p:cNvPr id="6" name="Picture 736" descr="http://interativa/data/interativa/arquivos/assinatura_email/logos/OIOI.0004.008.AF.160105.Logomarca_RGB_Laranja_2G.png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71319" y="16623"/>
            <a:ext cx="1066146" cy="7530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itle 2"/>
          <p:cNvSpPr>
            <a:spLocks noGrp="1"/>
          </p:cNvSpPr>
          <p:nvPr>
            <p:ph type="title"/>
          </p:nvPr>
        </p:nvSpPr>
        <p:spPr>
          <a:xfrm>
            <a:off x="82981" y="81556"/>
            <a:ext cx="10983529" cy="564533"/>
          </a:xfrm>
          <a:prstGeom prst="rect">
            <a:avLst/>
          </a:prstGeom>
        </p:spPr>
        <p:txBody>
          <a:bodyPr lIns="0" tIns="0" rIns="0" bIns="0" anchor="ctr" anchorCtr="0"/>
          <a:lstStyle>
            <a:lvl1pPr>
              <a:defRPr sz="2614" b="0" i="0">
                <a:solidFill>
                  <a:srgbClr val="00AAAD"/>
                </a:solidFill>
                <a:latin typeface="Simplon Oi Headline" pitchFamily="50" charset="0"/>
              </a:defRPr>
            </a:lvl1pPr>
          </a:lstStyle>
          <a:p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09323813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0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Section Header">
    <p:bg>
      <p:bgPr>
        <a:gradFill flip="none" rotWithShape="1">
          <a:gsLst>
            <a:gs pos="0">
              <a:srgbClr val="00CEFF">
                <a:alpha val="30000"/>
              </a:srgbClr>
            </a:gs>
            <a:gs pos="80000">
              <a:schemeClr val="bg1"/>
            </a:gs>
          </a:gsLst>
          <a:lin ang="189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422139" y="349328"/>
            <a:ext cx="4970420" cy="173850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704"/>
              </a:lnSpc>
              <a:defRPr sz="4704">
                <a:solidFill>
                  <a:srgbClr val="A02BFF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</a:t>
            </a:r>
            <a:br>
              <a:rPr lang="en-US" dirty="0" smtClean="0"/>
            </a:br>
            <a:r>
              <a:rPr lang="en-US" dirty="0" smtClean="0"/>
              <a:t>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endParaRPr lang="en-US" dirty="0"/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17" hasCustomPrompt="1"/>
          </p:nvPr>
        </p:nvSpPr>
        <p:spPr>
          <a:xfrm>
            <a:off x="422135" y="2398568"/>
            <a:ext cx="4970423" cy="96217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597454" rtl="0" eaLnBrk="1" fontAlgn="auto" latinLnBrk="0" hangingPunct="1">
              <a:lnSpc>
                <a:spcPts val="2352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352" cap="all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74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smtClean="0"/>
              <a:t>has </a:t>
            </a:r>
            <a:br>
              <a:rPr lang="en-US" dirty="0" smtClean="0"/>
            </a:br>
            <a:r>
              <a:rPr lang="en-US" dirty="0" smtClean="0"/>
              <a:t>id </a:t>
            </a:r>
            <a:r>
              <a:rPr lang="en-US" dirty="0" err="1" smtClean="0"/>
              <a:t>cibo</a:t>
            </a:r>
            <a:r>
              <a:rPr lang="en-US" dirty="0" smtClean="0"/>
              <a:t> </a:t>
            </a:r>
            <a:r>
              <a:rPr lang="en-US" dirty="0" err="1" smtClean="0"/>
              <a:t>quidam</a:t>
            </a:r>
            <a:r>
              <a:rPr lang="en-US" dirty="0" smtClean="0"/>
              <a:t> </a:t>
            </a:r>
            <a:r>
              <a:rPr lang="en-US" dirty="0" err="1" smtClean="0"/>
              <a:t>facilis</a:t>
            </a:r>
            <a:endParaRPr lang="en-US" dirty="0" smtClean="0"/>
          </a:p>
        </p:txBody>
      </p:sp>
      <p:pic>
        <p:nvPicPr>
          <p:cNvPr id="12" name="Picture 11" descr="BolhaExpandida2_roxa-01.png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9" r="81018"/>
          <a:stretch/>
        </p:blipFill>
        <p:spPr>
          <a:xfrm>
            <a:off x="1" y="-33668"/>
            <a:ext cx="1659456" cy="6755143"/>
          </a:xfrm>
          <a:prstGeom prst="rect">
            <a:avLst/>
          </a:prstGeom>
        </p:spPr>
      </p:pic>
      <p:pic>
        <p:nvPicPr>
          <p:cNvPr id="14" name="Picture 13" descr="BolhaExpandida2_roxa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98493" y="414905"/>
            <a:ext cx="5118203" cy="54887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8180370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0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Rodapé 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3" name="Espaço Reservado para Número de Slide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pic>
        <p:nvPicPr>
          <p:cNvPr id="4" name="Picture 736" descr="http://interativa/data/interativa/arquivos/assinatura_email/logos/OIOI.0004.008.AF.160105.Logomarca_RGB_Laranja_2G.pn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71319" y="16623"/>
            <a:ext cx="1066146" cy="7530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0002579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0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077" y="2076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77534" name="think-cell Slide" r:id="rId4" imgW="444" imgH="446" progId="TCLayout.ActiveDocument.1">
                  <p:embed/>
                </p:oleObj>
              </mc:Choice>
              <mc:Fallback>
                <p:oleObj name="think-cell Slide" r:id="rId4" imgW="444" imgH="44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077" y="2076"/>
                        <a:ext cx="2074" cy="20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736" descr="http://interativa/data/interativa/arquivos/assinatura_email/logos/OIOI.0004.008.AF.160105.Logomarca_RGB_Laranja_2G.png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71319" y="16623"/>
            <a:ext cx="1066146" cy="7530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68313812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0546634"/>
      </p:ext>
    </p:extLst>
  </p:cSld>
  <p:clrMapOvr>
    <a:masterClrMapping/>
  </p:clrMapOvr>
</p:sldLayout>
</file>

<file path=ppt/slideLayouts/slideLayout17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úd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076" y="2076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78558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76" y="2076"/>
                        <a:ext cx="2074" cy="20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Espaço Reservado para Texto 11"/>
          <p:cNvSpPr>
            <a:spLocks noGrp="1"/>
          </p:cNvSpPr>
          <p:nvPr>
            <p:ph type="body" sz="quarter" idx="10" hasCustomPrompt="1"/>
          </p:nvPr>
        </p:nvSpPr>
        <p:spPr>
          <a:xfrm>
            <a:off x="234583" y="88079"/>
            <a:ext cx="11171391" cy="60783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t" anchorCtr="0"/>
          <a:lstStyle>
            <a:lvl1pPr>
              <a:defRPr lang="pt-BR" sz="4182" b="0" i="0" dirty="0" smtClean="0">
                <a:solidFill>
                  <a:srgbClr val="FF6D00"/>
                </a:solidFill>
                <a:latin typeface="Simplon Oi Headline"/>
                <a:ea typeface="+mj-ea"/>
                <a:cs typeface="Simplon Oi Headline"/>
              </a:defRPr>
            </a:lvl1pPr>
            <a:lvl2pPr>
              <a:defRPr lang="pt-BR" sz="2352" dirty="0" smtClean="0">
                <a:latin typeface="+mn-lt"/>
                <a:cs typeface="+mn-cs"/>
              </a:defRPr>
            </a:lvl2pPr>
            <a:lvl3pPr>
              <a:defRPr lang="pt-BR" sz="2352" dirty="0" smtClean="0">
                <a:latin typeface="+mn-lt"/>
                <a:cs typeface="+mn-cs"/>
              </a:defRPr>
            </a:lvl3pPr>
            <a:lvl4pPr>
              <a:defRPr lang="pt-BR" sz="2352" dirty="0" smtClean="0">
                <a:latin typeface="+mn-lt"/>
                <a:cs typeface="+mn-cs"/>
              </a:defRPr>
            </a:lvl4pPr>
            <a:lvl5pPr>
              <a:defRPr lang="pt-BR" sz="2352" dirty="0">
                <a:latin typeface="+mn-lt"/>
                <a:cs typeface="+mn-cs"/>
              </a:defRPr>
            </a:lvl5pPr>
          </a:lstStyle>
          <a:p>
            <a:pPr lvl="0" defTabSz="597454">
              <a:lnSpc>
                <a:spcPts val="5489"/>
              </a:lnSpc>
              <a:spcBef>
                <a:spcPts val="0"/>
              </a:spcBef>
            </a:pPr>
            <a:r>
              <a:rPr lang="pt-BR" dirty="0" smtClean="0"/>
              <a:t>TÍTULO</a:t>
            </a:r>
            <a:endParaRPr lang="pt-BR" dirty="0"/>
          </a:p>
        </p:txBody>
      </p:sp>
      <p:sp>
        <p:nvSpPr>
          <p:cNvPr id="20" name="Espaço Reservado para Texto 19"/>
          <p:cNvSpPr>
            <a:spLocks noGrp="1"/>
          </p:cNvSpPr>
          <p:nvPr>
            <p:ph type="body" sz="quarter" idx="11"/>
          </p:nvPr>
        </p:nvSpPr>
        <p:spPr>
          <a:xfrm>
            <a:off x="233591" y="726336"/>
            <a:ext cx="11175796" cy="351925"/>
          </a:xfrm>
          <a:prstGeom prst="rect">
            <a:avLst/>
          </a:prstGeom>
        </p:spPr>
        <p:txBody>
          <a:bodyPr wrap="square" lIns="0">
            <a:spAutoFit/>
          </a:bodyPr>
          <a:lstStyle>
            <a:lvl1pPr>
              <a:defRPr lang="pt-BR" sz="2091" smtClean="0">
                <a:solidFill>
                  <a:srgbClr val="4D4D4D"/>
                </a:solidFill>
                <a:latin typeface="Simplon BP Regular"/>
                <a:cs typeface="Simplon BP Regular"/>
              </a:defRPr>
            </a:lvl1pPr>
            <a:lvl2pPr>
              <a:defRPr lang="pt-BR" sz="2352" smtClean="0">
                <a:latin typeface="+mn-lt"/>
                <a:cs typeface="+mn-cs"/>
              </a:defRPr>
            </a:lvl2pPr>
            <a:lvl3pPr>
              <a:defRPr lang="pt-BR" sz="2352" smtClean="0">
                <a:latin typeface="+mn-lt"/>
                <a:cs typeface="+mn-cs"/>
              </a:defRPr>
            </a:lvl3pPr>
            <a:lvl4pPr>
              <a:defRPr lang="pt-BR" sz="2352" smtClean="0">
                <a:latin typeface="+mn-lt"/>
                <a:cs typeface="+mn-cs"/>
              </a:defRPr>
            </a:lvl4pPr>
            <a:lvl5pPr>
              <a:defRPr lang="pt-BR" sz="2352">
                <a:latin typeface="+mn-lt"/>
                <a:cs typeface="+mn-cs"/>
              </a:defRPr>
            </a:lvl5pPr>
          </a:lstStyle>
          <a:p>
            <a:pPr lvl="0" defTabSz="1194909">
              <a:lnSpc>
                <a:spcPts val="2744"/>
              </a:lnSpc>
            </a:pPr>
            <a:r>
              <a:rPr lang="pt-BR" dirty="0" smtClean="0"/>
              <a:t>Clique para editar o texto mestre</a:t>
            </a:r>
            <a:endParaRPr lang="pt-BR" dirty="0"/>
          </a:p>
        </p:txBody>
      </p:sp>
      <p:sp>
        <p:nvSpPr>
          <p:cNvPr id="47" name="Espaço Reservado para Texto 15"/>
          <p:cNvSpPr>
            <a:spLocks noGrp="1"/>
          </p:cNvSpPr>
          <p:nvPr>
            <p:ph type="body" sz="quarter" idx="12" hasCustomPrompt="1"/>
          </p:nvPr>
        </p:nvSpPr>
        <p:spPr>
          <a:xfrm>
            <a:off x="234582" y="1478756"/>
            <a:ext cx="11175634" cy="263465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>
            <a:lvl1pPr>
              <a:defRPr lang="pt-BR" sz="1699" baseline="0" smtClean="0">
                <a:solidFill>
                  <a:srgbClr val="464646"/>
                </a:solidFill>
                <a:latin typeface="Simplon BP Regular"/>
                <a:cs typeface="Simplon BP Regular"/>
              </a:defRPr>
            </a:lvl1pPr>
            <a:lvl2pPr>
              <a:defRPr lang="pt-BR" sz="2352" smtClean="0">
                <a:latin typeface="+mn-lt"/>
                <a:cs typeface="+mn-cs"/>
              </a:defRPr>
            </a:lvl2pPr>
            <a:lvl3pPr>
              <a:defRPr lang="pt-BR" sz="2352" smtClean="0">
                <a:latin typeface="+mn-lt"/>
                <a:cs typeface="+mn-cs"/>
              </a:defRPr>
            </a:lvl3pPr>
            <a:lvl4pPr>
              <a:defRPr lang="pt-BR" sz="2352" smtClean="0">
                <a:latin typeface="+mn-lt"/>
                <a:cs typeface="+mn-cs"/>
              </a:defRPr>
            </a:lvl4pPr>
            <a:lvl5pPr>
              <a:defRPr lang="pt-BR" sz="2352">
                <a:latin typeface="+mn-lt"/>
                <a:cs typeface="+mn-cs"/>
              </a:defRPr>
            </a:lvl5pPr>
          </a:lstStyle>
          <a:p>
            <a:pPr lvl="0" defTabSz="1194909"/>
            <a:r>
              <a:rPr lang="pt-BR" dirty="0" err="1" smtClean="0"/>
              <a:t>Lorem</a:t>
            </a:r>
            <a:r>
              <a:rPr lang="pt-BR" dirty="0" smtClean="0"/>
              <a:t> ipsum </a:t>
            </a:r>
            <a:r>
              <a:rPr lang="pt-BR" dirty="0" err="1" smtClean="0"/>
              <a:t>dolor</a:t>
            </a:r>
            <a:r>
              <a:rPr lang="pt-BR" dirty="0" smtClean="0"/>
              <a:t> </a:t>
            </a:r>
            <a:r>
              <a:rPr lang="pt-BR" dirty="0" err="1" smtClean="0"/>
              <a:t>sit</a:t>
            </a:r>
            <a:r>
              <a:rPr lang="pt-BR" dirty="0" smtClean="0"/>
              <a:t> </a:t>
            </a:r>
            <a:r>
              <a:rPr lang="pt-BR" dirty="0" err="1" smtClean="0"/>
              <a:t>amet</a:t>
            </a:r>
            <a:r>
              <a:rPr lang="pt-BR" dirty="0" smtClean="0"/>
              <a:t>, </a:t>
            </a:r>
            <a:r>
              <a:rPr lang="pt-BR" dirty="0" err="1" smtClean="0"/>
              <a:t>consectetuer</a:t>
            </a:r>
            <a:r>
              <a:rPr lang="pt-BR" dirty="0" smtClean="0"/>
              <a:t> </a:t>
            </a:r>
            <a:r>
              <a:rPr lang="pt-BR" dirty="0" err="1" smtClean="0"/>
              <a:t>adipiscing</a:t>
            </a:r>
            <a:r>
              <a:rPr lang="pt-BR" dirty="0" smtClean="0"/>
              <a:t> </a:t>
            </a:r>
            <a:r>
              <a:rPr lang="pt-BR" dirty="0" err="1" smtClean="0"/>
              <a:t>elit</a:t>
            </a:r>
            <a:r>
              <a:rPr lang="pt-BR" dirty="0" smtClean="0"/>
              <a:t>, </a:t>
            </a:r>
            <a:r>
              <a:rPr lang="pt-BR" dirty="0" err="1" smtClean="0"/>
              <a:t>sed</a:t>
            </a:r>
            <a:r>
              <a:rPr lang="pt-BR" dirty="0" smtClean="0"/>
              <a:t> </a:t>
            </a:r>
            <a:r>
              <a:rPr lang="pt-BR" dirty="0" err="1" smtClean="0"/>
              <a:t>diam</a:t>
            </a:r>
            <a:r>
              <a:rPr lang="pt-BR" dirty="0" smtClean="0"/>
              <a:t> </a:t>
            </a:r>
            <a:r>
              <a:rPr lang="pt-BR" dirty="0" err="1" smtClean="0"/>
              <a:t>nonummy</a:t>
            </a:r>
            <a:r>
              <a:rPr lang="pt-BR" dirty="0" smtClean="0"/>
              <a:t> </a:t>
            </a:r>
            <a:r>
              <a:rPr lang="pt-BR" dirty="0" err="1" smtClean="0"/>
              <a:t>nibh</a:t>
            </a:r>
            <a:r>
              <a:rPr lang="pt-BR" dirty="0" smtClean="0"/>
              <a:t> </a:t>
            </a:r>
            <a:r>
              <a:rPr lang="pt-BR" dirty="0" err="1" smtClean="0"/>
              <a:t>euismod</a:t>
            </a:r>
            <a:r>
              <a:rPr lang="pt-BR" dirty="0" smtClean="0"/>
              <a:t> </a:t>
            </a:r>
            <a:r>
              <a:rPr lang="pt-BR" dirty="0" err="1" smtClean="0"/>
              <a:t>tincidunt</a:t>
            </a:r>
            <a:r>
              <a:rPr lang="pt-BR" dirty="0" smtClean="0"/>
              <a:t> ut </a:t>
            </a:r>
            <a:r>
              <a:rPr lang="pt-BR" dirty="0" err="1" smtClean="0"/>
              <a:t>laoreet</a:t>
            </a:r>
            <a:r>
              <a:rPr lang="pt-BR" dirty="0" smtClean="0"/>
              <a:t> </a:t>
            </a:r>
            <a:r>
              <a:rPr lang="pt-BR" dirty="0" err="1" smtClean="0"/>
              <a:t>dolore</a:t>
            </a:r>
            <a:r>
              <a:rPr lang="pt-BR" dirty="0" smtClean="0"/>
              <a:t> magna </a:t>
            </a:r>
            <a:r>
              <a:rPr lang="pt-BR" dirty="0" err="1" smtClean="0"/>
              <a:t>aliquam</a:t>
            </a:r>
            <a:r>
              <a:rPr lang="pt-BR" dirty="0" smtClean="0"/>
              <a:t> erat </a:t>
            </a:r>
            <a:r>
              <a:rPr lang="pt-BR" dirty="0" err="1" smtClean="0"/>
              <a:t>volutpat</a:t>
            </a:r>
            <a:r>
              <a:rPr lang="pt-BR" dirty="0" smtClean="0"/>
              <a:t>. Ut </a:t>
            </a:r>
            <a:r>
              <a:rPr lang="pt-BR" dirty="0" err="1" smtClean="0"/>
              <a:t>wisi</a:t>
            </a:r>
            <a:r>
              <a:rPr lang="pt-BR" dirty="0" smtClean="0"/>
              <a:t> </a:t>
            </a:r>
            <a:r>
              <a:rPr lang="pt-BR" dirty="0" err="1" smtClean="0"/>
              <a:t>enim</a:t>
            </a:r>
            <a:r>
              <a:rPr lang="pt-BR" dirty="0" smtClean="0"/>
              <a:t> ad </a:t>
            </a:r>
            <a:r>
              <a:rPr lang="pt-BR" dirty="0" err="1" smtClean="0"/>
              <a:t>minim</a:t>
            </a:r>
            <a:r>
              <a:rPr lang="pt-BR" dirty="0" smtClean="0"/>
              <a:t> </a:t>
            </a:r>
            <a:r>
              <a:rPr lang="pt-BR" dirty="0" err="1" smtClean="0"/>
              <a:t>veniam</a:t>
            </a:r>
            <a:r>
              <a:rPr lang="pt-BR" dirty="0" smtClean="0"/>
              <a:t>, quis </a:t>
            </a:r>
            <a:r>
              <a:rPr lang="pt-BR" dirty="0" err="1" smtClean="0"/>
              <a:t>nostrud</a:t>
            </a:r>
            <a:r>
              <a:rPr lang="pt-BR" dirty="0" smtClean="0"/>
              <a:t> exerci </a:t>
            </a:r>
            <a:r>
              <a:rPr lang="pt-BR" dirty="0" err="1" smtClean="0"/>
              <a:t>tation</a:t>
            </a:r>
            <a:r>
              <a:rPr lang="pt-BR" dirty="0" smtClean="0"/>
              <a:t> </a:t>
            </a:r>
            <a:r>
              <a:rPr lang="pt-BR" dirty="0" err="1" smtClean="0"/>
              <a:t>ullamcorper</a:t>
            </a:r>
            <a:r>
              <a:rPr lang="pt-BR" dirty="0" smtClean="0"/>
              <a:t> </a:t>
            </a:r>
            <a:r>
              <a:rPr lang="pt-BR" dirty="0" err="1" smtClean="0"/>
              <a:t>suscipit</a:t>
            </a:r>
            <a:r>
              <a:rPr lang="pt-BR" dirty="0" smtClean="0"/>
              <a:t> </a:t>
            </a:r>
            <a:r>
              <a:rPr lang="pt-BR" dirty="0" err="1" smtClean="0"/>
              <a:t>lobortis</a:t>
            </a:r>
            <a:r>
              <a:rPr lang="pt-BR" dirty="0" smtClean="0"/>
              <a:t> </a:t>
            </a:r>
            <a:r>
              <a:rPr lang="pt-BR" dirty="0" err="1" smtClean="0"/>
              <a:t>nisl</a:t>
            </a:r>
            <a:r>
              <a:rPr lang="pt-BR" dirty="0" smtClean="0"/>
              <a:t> ut </a:t>
            </a:r>
            <a:r>
              <a:rPr lang="pt-BR" dirty="0" err="1" smtClean="0"/>
              <a:t>aliquip</a:t>
            </a:r>
            <a:r>
              <a:rPr lang="pt-BR" dirty="0" smtClean="0"/>
              <a:t> </a:t>
            </a:r>
            <a:r>
              <a:rPr lang="pt-BR" dirty="0" err="1" smtClean="0"/>
              <a:t>ex</a:t>
            </a:r>
            <a:r>
              <a:rPr lang="pt-BR" dirty="0" smtClean="0"/>
              <a:t> </a:t>
            </a:r>
            <a:r>
              <a:rPr lang="pt-BR" dirty="0" err="1" smtClean="0"/>
              <a:t>ea</a:t>
            </a:r>
            <a:r>
              <a:rPr lang="pt-BR" dirty="0" smtClean="0"/>
              <a:t> </a:t>
            </a:r>
            <a:r>
              <a:rPr lang="pt-BR" dirty="0" err="1" smtClean="0"/>
              <a:t>commodo</a:t>
            </a:r>
            <a:r>
              <a:rPr lang="pt-BR" dirty="0" smtClean="0"/>
              <a:t> </a:t>
            </a:r>
            <a:r>
              <a:rPr lang="pt-BR" dirty="0" err="1" smtClean="0"/>
              <a:t>consequat</a:t>
            </a:r>
            <a:r>
              <a:rPr lang="pt-BR" dirty="0" smtClean="0"/>
              <a:t>. </a:t>
            </a:r>
          </a:p>
        </p:txBody>
      </p:sp>
      <p:sp>
        <p:nvSpPr>
          <p:cNvPr id="48" name="Slide Number Placeholder 1"/>
          <p:cNvSpPr txBox="1">
            <a:spLocks/>
          </p:cNvSpPr>
          <p:nvPr userDrawn="1"/>
        </p:nvSpPr>
        <p:spPr bwMode="auto">
          <a:xfrm>
            <a:off x="11320709" y="6407649"/>
            <a:ext cx="601604" cy="3588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defPPr>
              <a:defRPr lang="en-US"/>
            </a:defPPr>
            <a:lvl1pPr marL="0" algn="l" defTabSz="457200" rtl="0" eaLnBrk="0" latinLnBrk="0" hangingPunct="0">
              <a:defRPr sz="1800" kern="1200">
                <a:solidFill>
                  <a:schemeClr val="tx1"/>
                </a:solidFill>
                <a:latin typeface="Calibri" charset="0"/>
                <a:ea typeface="ＭＳ Ｐゴシック" charset="0"/>
                <a:cs typeface="Arial" charset="0"/>
              </a:defRPr>
            </a:lvl1pPr>
            <a:lvl2pPr marL="742950" indent="-285750" algn="l" defTabSz="457200" rtl="0" eaLnBrk="0" latinLnBrk="0" hangingPunct="0"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2pPr>
            <a:lvl3pPr marL="1143000" indent="-228600" algn="l" defTabSz="457200" rtl="0" eaLnBrk="0" latinLnBrk="0" hangingPunct="0"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3pPr>
            <a:lvl4pPr marL="1600200" indent="-228600" algn="l" defTabSz="457200" rtl="0" eaLnBrk="0" latinLnBrk="0" hangingPunct="0"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4pPr>
            <a:lvl5pPr marL="2057400" indent="-228600" algn="l" defTabSz="457200" rtl="0" eaLnBrk="0" latinLnBrk="0" hangingPunct="0"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5pPr>
            <a:lvl6pPr marL="2514600" indent="-228600" algn="l" defTabSz="4572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6pPr>
            <a:lvl7pPr marL="2971800" indent="-228600" algn="l" defTabSz="4572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7pPr>
            <a:lvl8pPr marL="3429000" indent="-228600" algn="l" defTabSz="4572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8pPr>
            <a:lvl9pPr marL="3886200" indent="-228600" algn="l" defTabSz="4572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9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fld id="{9543D946-5134-1748-A050-11636790511E}" type="slidenum">
              <a:rPr lang="en-US" sz="1306" smtClean="0">
                <a:solidFill>
                  <a:srgbClr val="4D4D4D"/>
                </a:solidFill>
                <a:latin typeface="Simplon BP Regular"/>
                <a:cs typeface="Simplon BP Regular"/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t>‹nº›</a:t>
            </a:fld>
            <a:endParaRPr lang="en-US" sz="1306" dirty="0">
              <a:solidFill>
                <a:srgbClr val="4D4D4D"/>
              </a:solidFill>
              <a:latin typeface="Simplon BP Regular"/>
              <a:cs typeface="Simplon BP Regular"/>
            </a:endParaRPr>
          </a:p>
        </p:txBody>
      </p:sp>
      <p:sp>
        <p:nvSpPr>
          <p:cNvPr id="49" name="Footer Placeholder 2"/>
          <p:cNvSpPr txBox="1">
            <a:spLocks/>
          </p:cNvSpPr>
          <p:nvPr userDrawn="1"/>
        </p:nvSpPr>
        <p:spPr>
          <a:xfrm>
            <a:off x="7469405" y="6411805"/>
            <a:ext cx="3782544" cy="356819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457200" rtl="0" eaLnBrk="0" latinLnBrk="0" hangingPunct="0">
              <a:defRPr sz="1800" kern="1200">
                <a:solidFill>
                  <a:schemeClr val="tx1"/>
                </a:solidFill>
                <a:latin typeface="Calibri" charset="0"/>
                <a:ea typeface="ＭＳ Ｐゴシック" charset="0"/>
                <a:cs typeface="Arial" charset="0"/>
              </a:defRPr>
            </a:lvl1pPr>
            <a:lvl2pPr marL="742950" indent="-285750" algn="l" defTabSz="457200" rtl="0" eaLnBrk="0" latinLnBrk="0" hangingPunct="0"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2pPr>
            <a:lvl3pPr marL="1143000" indent="-228600" algn="l" defTabSz="457200" rtl="0" eaLnBrk="0" latinLnBrk="0" hangingPunct="0"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3pPr>
            <a:lvl4pPr marL="1600200" indent="-228600" algn="l" defTabSz="457200" rtl="0" eaLnBrk="0" latinLnBrk="0" hangingPunct="0"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4pPr>
            <a:lvl5pPr marL="2057400" indent="-228600" algn="l" defTabSz="457200" rtl="0" eaLnBrk="0" latinLnBrk="0" hangingPunct="0"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5pPr>
            <a:lvl6pPr marL="2514600" indent="-228600" algn="l" defTabSz="4572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6pPr>
            <a:lvl7pPr marL="2971800" indent="-228600" algn="l" defTabSz="4572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7pPr>
            <a:lvl8pPr marL="3429000" indent="-228600" algn="l" defTabSz="4572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8pPr>
            <a:lvl9pPr marL="3886200" indent="-228600" algn="l" defTabSz="4572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9pPr>
          </a:lstStyle>
          <a:p>
            <a:pPr algn="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sz="1306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MATERIAL CONFIDENCIAL  |  SLIDE Nº</a:t>
            </a:r>
            <a:endParaRPr lang="en-US" sz="1306" dirty="0">
              <a:solidFill>
                <a:srgbClr val="4D4D4D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78289726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077" y="2076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79582" name="think-cell Slide" r:id="rId4" imgW="444" imgH="446" progId="TCLayout.ActiveDocument.1">
                  <p:embed/>
                </p:oleObj>
              </mc:Choice>
              <mc:Fallback>
                <p:oleObj name="think-cell Slide" r:id="rId4" imgW="444" imgH="44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077" y="2076"/>
                        <a:ext cx="2074" cy="20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Box 1"/>
          <p:cNvSpPr txBox="1"/>
          <p:nvPr userDrawn="1"/>
        </p:nvSpPr>
        <p:spPr>
          <a:xfrm>
            <a:off x="9689505" y="3762877"/>
            <a:ext cx="1194911" cy="896197"/>
          </a:xfrm>
          <a:prstGeom prst="rect">
            <a:avLst/>
          </a:prstGeom>
        </p:spPr>
        <p:txBody>
          <a:bodyPr vert="horz" wrap="none" lIns="119491" tIns="59746" rIns="119491" bIns="59746" rtlCol="0" anchor="ctr">
            <a:noAutofit/>
          </a:bodyPr>
          <a:lstStyle/>
          <a:p>
            <a:pPr marL="373408" indent="-373408" defTabSz="597454" fontAlgn="auto">
              <a:spcBef>
                <a:spcPts val="0"/>
              </a:spcBef>
              <a:spcAft>
                <a:spcPts val="0"/>
              </a:spcAft>
              <a:buFont typeface="Arial"/>
              <a:buChar char="•"/>
            </a:pPr>
            <a:endParaRPr lang="en-US" sz="2744">
              <a:solidFill>
                <a:srgbClr val="4D4D4D"/>
              </a:solidFill>
              <a:latin typeface="Simplon BP"/>
            </a:endParaRPr>
          </a:p>
        </p:txBody>
      </p:sp>
      <p:sp>
        <p:nvSpPr>
          <p:cNvPr id="13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422136" y="2848724"/>
            <a:ext cx="5577332" cy="1562433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597454" rtl="0" eaLnBrk="1" fontAlgn="auto" latinLnBrk="0" hangingPunct="1">
              <a:lnSpc>
                <a:spcPts val="183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3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7454" rtl="0" eaLnBrk="1" fontAlgn="auto" latinLnBrk="0" hangingPunct="1">
              <a:lnSpc>
                <a:spcPts val="183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7454" rtl="0" eaLnBrk="1" fontAlgn="auto" latinLnBrk="0" hangingPunct="1">
              <a:lnSpc>
                <a:spcPts val="183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7454" rtl="0" eaLnBrk="1" fontAlgn="auto" latinLnBrk="0" hangingPunct="1">
              <a:lnSpc>
                <a:spcPts val="183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  <p:sp>
        <p:nvSpPr>
          <p:cNvPr id="14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422135" y="1790557"/>
            <a:ext cx="4970423" cy="73342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597454" rtl="0" eaLnBrk="1" fontAlgn="auto" latinLnBrk="0" hangingPunct="1">
              <a:lnSpc>
                <a:spcPts val="2352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352" cap="all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74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smtClean="0"/>
              <a:t>has </a:t>
            </a:r>
            <a:br>
              <a:rPr lang="en-US" dirty="0" smtClean="0"/>
            </a:br>
            <a:r>
              <a:rPr lang="en-US" dirty="0" smtClean="0"/>
              <a:t>id </a:t>
            </a:r>
            <a:r>
              <a:rPr lang="en-US" dirty="0" err="1" smtClean="0"/>
              <a:t>cibo</a:t>
            </a:r>
            <a:r>
              <a:rPr lang="en-US" dirty="0" smtClean="0"/>
              <a:t> </a:t>
            </a:r>
            <a:r>
              <a:rPr lang="en-US" dirty="0" err="1" smtClean="0"/>
              <a:t>quidam</a:t>
            </a:r>
            <a:r>
              <a:rPr lang="en-US" dirty="0" smtClean="0"/>
              <a:t> </a:t>
            </a:r>
            <a:r>
              <a:rPr lang="en-US" dirty="0" err="1" smtClean="0"/>
              <a:t>facilis</a:t>
            </a:r>
            <a:endParaRPr lang="en-US" dirty="0"/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422138" y="349328"/>
            <a:ext cx="5783254" cy="123378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704"/>
              </a:lnSpc>
              <a:defRPr sz="3659">
                <a:solidFill>
                  <a:srgbClr val="EA288C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endParaRPr lang="en-US" dirty="0"/>
          </a:p>
        </p:txBody>
      </p:sp>
      <p:sp>
        <p:nvSpPr>
          <p:cNvPr id="18" name="Espaço Reservado para Texto 2"/>
          <p:cNvSpPr>
            <a:spLocks noGrp="1"/>
          </p:cNvSpPr>
          <p:nvPr>
            <p:ph type="body" sz="quarter" idx="20" hasCustomPrompt="1"/>
          </p:nvPr>
        </p:nvSpPr>
        <p:spPr>
          <a:xfrm>
            <a:off x="8649529" y="6259799"/>
            <a:ext cx="3041593" cy="296055"/>
          </a:xfrm>
          <a:prstGeom prst="rect">
            <a:avLst/>
          </a:prstGeom>
        </p:spPr>
        <p:txBody>
          <a:bodyPr/>
          <a:lstStyle>
            <a:lvl1pPr marL="0" marR="0" indent="0" algn="l" defTabSz="597454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306">
                <a:solidFill>
                  <a:schemeClr val="bg2"/>
                </a:solidFill>
                <a:latin typeface="+mn-lt"/>
              </a:defRPr>
            </a:lvl1pPr>
            <a:lvl2pPr marL="597454" indent="0">
              <a:buNone/>
              <a:defRPr/>
            </a:lvl2pPr>
            <a:lvl3pPr marL="1194909" indent="0">
              <a:buNone/>
              <a:defRPr/>
            </a:lvl3pPr>
            <a:lvl4pPr marL="1792362" indent="0">
              <a:buNone/>
              <a:defRPr/>
            </a:lvl4pPr>
            <a:lvl5pPr marL="2389816" indent="0">
              <a:buNone/>
              <a:defRPr/>
            </a:lvl5pPr>
          </a:lstStyle>
          <a:p>
            <a:r>
              <a:rPr lang="en-US" dirty="0" smtClean="0">
                <a:latin typeface="+mn-lt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/>
              <a:t>‹nº›</a:t>
            </a:fld>
            <a:endParaRPr lang="en-US" dirty="0">
              <a:latin typeface="Simplon BP Bold"/>
              <a:cs typeface="Simplon BP Bold"/>
            </a:endParaRPr>
          </a:p>
        </p:txBody>
      </p:sp>
      <p:pic>
        <p:nvPicPr>
          <p:cNvPr id="9" name="Picture 736" descr="http://interativa/data/interativa/arquivos/assinatura_email/logos/OIOI.0004.008.AF.160105.Logomarca_RGB_Laranja_2G.png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71319" y="16623"/>
            <a:ext cx="1066146" cy="7530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23750506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Oi Capa">
    <p:bg>
      <p:bgPr>
        <a:blipFill dpi="0" rotWithShape="1">
          <a:blip r:embed="rId2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A02BFF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30937367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7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01481646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>
          <a:xfrm>
            <a:off x="11510937" y="6359614"/>
            <a:ext cx="399872" cy="159950"/>
          </a:xfrm>
          <a:prstGeom prst="rect">
            <a:avLst/>
          </a:prstGeom>
        </p:spPr>
        <p:txBody>
          <a:bodyPr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fld id="{B2531E6E-6E7D-4785-BFDF-BAABB6C6AA33}" type="slidenum">
              <a:rPr lang="pt-BR" sz="1764" smtClean="0">
                <a:solidFill>
                  <a:prstClr val="black"/>
                </a:solidFill>
                <a:latin typeface="Arial"/>
              </a:rPr>
              <a:pPr algn="ctr" fontAlgn="auto">
                <a:spcBef>
                  <a:spcPts val="0"/>
                </a:spcBef>
                <a:spcAft>
                  <a:spcPts val="0"/>
                </a:spcAft>
              </a:pPr>
              <a:t>‹nº›</a:t>
            </a:fld>
            <a:endParaRPr lang="pt-BR" sz="1764" dirty="0">
              <a:solidFill>
                <a:prstClr val="black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09825555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ó image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31"/>
          </p:nvPr>
        </p:nvSpPr>
        <p:spPr>
          <a:xfrm>
            <a:off x="11510937" y="6359614"/>
            <a:ext cx="399872" cy="159950"/>
          </a:xfrm>
          <a:prstGeom prst="rect">
            <a:avLst/>
          </a:prstGeom>
          <a:noFill/>
        </p:spPr>
        <p:txBody>
          <a:bodyPr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fld id="{B2531E6E-6E7D-4785-BFDF-BAABB6C6AA33}" type="slidenum">
              <a:rPr lang="pt-BR" sz="1764" smtClean="0">
                <a:solidFill>
                  <a:prstClr val="black"/>
                </a:solidFill>
                <a:latin typeface="Arial"/>
              </a:rPr>
              <a:pPr algn="ctr" fontAlgn="auto">
                <a:spcBef>
                  <a:spcPts val="0"/>
                </a:spcBef>
                <a:spcAft>
                  <a:spcPts val="0"/>
                </a:spcAft>
              </a:pPr>
              <a:t>‹nº›</a:t>
            </a:fld>
            <a:endParaRPr lang="pt-BR" sz="1764" dirty="0">
              <a:solidFill>
                <a:prstClr val="black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98909792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896184" y="2088047"/>
            <a:ext cx="10156746" cy="1440761"/>
          </a:xfrm>
          <a:prstGeom prst="rect">
            <a:avLst/>
          </a:prstGeom>
        </p:spPr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1792368" y="3808836"/>
            <a:ext cx="8364379" cy="171771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481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9620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4430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79240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40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6886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3671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5848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pt-BR" smtClean="0"/>
              <a:t>Clique para editar o estilo do subtítulo mestre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>
          <a:xfrm>
            <a:off x="597456" y="6229835"/>
            <a:ext cx="2788126" cy="357856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fld id="{B8DDAB74-211A-435F-A620-CEA7292BE3F8}" type="datetimeFigureOut">
              <a:rPr lang="pt-BR" sz="1764" smtClean="0">
                <a:solidFill>
                  <a:prstClr val="black"/>
                </a:solidFill>
                <a:latin typeface="Arial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11/01/2018</a:t>
            </a:fld>
            <a:endParaRPr lang="pt-BR" sz="1764">
              <a:solidFill>
                <a:prstClr val="black"/>
              </a:solidFill>
              <a:latin typeface="Arial"/>
            </a:endParaRPr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>
          <a:xfrm>
            <a:off x="4082614" y="6229835"/>
            <a:ext cx="3783886" cy="357856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pt-BR" sz="1764">
              <a:solidFill>
                <a:prstClr val="black"/>
              </a:solidFill>
              <a:latin typeface="Arial"/>
            </a:endParaRPr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>
          <a:xfrm>
            <a:off x="8563531" y="6229835"/>
            <a:ext cx="2788126" cy="357856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fld id="{6DCF64D1-12D7-4969-ADF6-A6C86AF9196C}" type="slidenum">
              <a:rPr lang="pt-BR" sz="1764" smtClean="0">
                <a:solidFill>
                  <a:prstClr val="black"/>
                </a:solidFill>
                <a:latin typeface="Arial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nº›</a:t>
            </a:fld>
            <a:endParaRPr lang="pt-BR" sz="1764">
              <a:solidFill>
                <a:prstClr val="black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556212424"/>
      </p:ext>
    </p:extLst>
  </p:cSld>
  <p:clrMapOvr>
    <a:masterClrMapping/>
  </p:clrMapOvr>
</p:sldLayout>
</file>

<file path=ppt/slideLayouts/slideLayout17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422150" y="349329"/>
            <a:ext cx="6749230" cy="254184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3528"/>
              </a:lnSpc>
              <a:defRPr sz="3528">
                <a:solidFill>
                  <a:srgbClr val="18C3FF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r>
              <a:rPr lang="en-US" dirty="0" smtClean="0"/>
              <a:t>. LOREM IPSUM DOLOR SIT AMET HAS ID CIBO QUIDAM</a:t>
            </a:r>
            <a:endParaRPr lang="en-US" dirty="0"/>
          </a:p>
        </p:txBody>
      </p:sp>
      <p:sp>
        <p:nvSpPr>
          <p:cNvPr id="7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641199" y="6108533"/>
            <a:ext cx="2789882" cy="357856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980" baseline="0">
                <a:solidFill>
                  <a:srgbClr val="4D4D4D"/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mtClean="0">
                <a:latin typeface="Simplon BP Regular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nº›</a:t>
            </a:fld>
            <a:endParaRPr lang="en-US" dirty="0">
              <a:latin typeface="Simplon BP Bold"/>
              <a:cs typeface="Simplon BP Bold"/>
            </a:endParaRPr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422150" y="3071983"/>
            <a:ext cx="6749230" cy="796309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448102" rtl="0" eaLnBrk="1" fontAlgn="auto" latinLnBrk="0" hangingPunct="1">
              <a:lnSpc>
                <a:spcPts val="1372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372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448102" rtl="0" eaLnBrk="1" fontAlgn="auto" latinLnBrk="0" hangingPunct="1">
              <a:lnSpc>
                <a:spcPts val="1372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448102" rtl="0" eaLnBrk="1" fontAlgn="auto" latinLnBrk="0" hangingPunct="1">
              <a:lnSpc>
                <a:spcPts val="1372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71100938"/>
      </p:ext>
    </p:extLst>
  </p:cSld>
  <p:clrMapOvr>
    <a:masterClrMapping/>
  </p:clrMapOvr>
</p:sldLayout>
</file>

<file path=ppt/slideLayouts/slideLayout17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5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422136" y="2848724"/>
            <a:ext cx="5577332" cy="1562433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448102" rtl="0" eaLnBrk="1" fontAlgn="auto" latinLnBrk="0" hangingPunct="1">
              <a:lnSpc>
                <a:spcPts val="1372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372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448102" rtl="0" eaLnBrk="1" fontAlgn="auto" latinLnBrk="0" hangingPunct="1">
              <a:lnSpc>
                <a:spcPts val="1372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448102" rtl="0" eaLnBrk="1" fontAlgn="auto" latinLnBrk="0" hangingPunct="1">
              <a:lnSpc>
                <a:spcPts val="1372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448102" rtl="0" eaLnBrk="1" fontAlgn="auto" latinLnBrk="0" hangingPunct="1">
              <a:lnSpc>
                <a:spcPts val="1372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  <p:sp>
        <p:nvSpPr>
          <p:cNvPr id="10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422135" y="1790574"/>
            <a:ext cx="4970423" cy="73342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448102" rtl="0" eaLnBrk="1" fontAlgn="auto" latinLnBrk="0" hangingPunct="1">
              <a:lnSpc>
                <a:spcPts val="1764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764" cap="all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44810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smtClean="0"/>
              <a:t>has </a:t>
            </a:r>
            <a:br>
              <a:rPr lang="en-US" dirty="0" smtClean="0"/>
            </a:br>
            <a:r>
              <a:rPr lang="en-US" dirty="0" smtClean="0"/>
              <a:t>id </a:t>
            </a:r>
            <a:r>
              <a:rPr lang="en-US" dirty="0" err="1" smtClean="0"/>
              <a:t>cibo</a:t>
            </a:r>
            <a:r>
              <a:rPr lang="en-US" dirty="0" smtClean="0"/>
              <a:t> </a:t>
            </a:r>
            <a:r>
              <a:rPr lang="en-US" dirty="0" err="1" smtClean="0"/>
              <a:t>quidam</a:t>
            </a:r>
            <a:r>
              <a:rPr lang="en-US" dirty="0" smtClean="0"/>
              <a:t> </a:t>
            </a:r>
            <a:r>
              <a:rPr lang="en-US" dirty="0" err="1" smtClean="0"/>
              <a:t>facilis</a:t>
            </a:r>
            <a:endParaRPr lang="en-US" dirty="0"/>
          </a:p>
        </p:txBody>
      </p: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422140" y="349341"/>
            <a:ext cx="4970420" cy="123378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3528"/>
              </a:lnSpc>
              <a:defRPr sz="3528">
                <a:solidFill>
                  <a:srgbClr val="4D4D4D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</a:t>
            </a:r>
            <a:br>
              <a:rPr lang="en-US" dirty="0" smtClean="0"/>
            </a:br>
            <a:r>
              <a:rPr lang="en-US" dirty="0" smtClean="0"/>
              <a:t>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endParaRPr lang="en-US" dirty="0"/>
          </a:p>
        </p:txBody>
      </p:sp>
      <p:sp>
        <p:nvSpPr>
          <p:cNvPr id="13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641172" y="6108533"/>
            <a:ext cx="2789882" cy="357856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980" baseline="0">
                <a:solidFill>
                  <a:srgbClr val="4D4D4D"/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mtClean="0">
                <a:latin typeface="Simplon BP Regular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nº›</a:t>
            </a:fld>
            <a:endParaRPr lang="en-US" dirty="0">
              <a:latin typeface="Simplon BP Bold"/>
              <a:cs typeface="Simplon BP Bold"/>
            </a:endParaRPr>
          </a:p>
        </p:txBody>
      </p:sp>
    </p:spTree>
    <p:extLst>
      <p:ext uri="{BB962C8B-B14F-4D97-AF65-F5344CB8AC3E}">
        <p14:creationId xmlns:p14="http://schemas.microsoft.com/office/powerpoint/2010/main" val="1478328109"/>
      </p:ext>
    </p:extLst>
  </p:cSld>
  <p:clrMapOvr>
    <a:masterClrMapping/>
  </p:clrMapOvr>
</p:sldLayout>
</file>

<file path=ppt/slideLayouts/slideLayout17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9579390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80" y="1854632"/>
            <a:ext cx="5080446" cy="451832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854672"/>
            <a:ext cx="5080448" cy="451832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2020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933" indent="0">
              <a:buNone/>
              <a:defRPr sz="2700">
                <a:solidFill>
                  <a:schemeClr val="accent3"/>
                </a:solidFill>
              </a:defRPr>
            </a:lvl2pPr>
            <a:lvl3pPr marL="475329" indent="0">
              <a:buNone/>
              <a:defRPr sz="2700">
                <a:solidFill>
                  <a:schemeClr val="accent3"/>
                </a:solidFill>
              </a:defRPr>
            </a:lvl3pPr>
            <a:lvl4pPr marL="704729" indent="0">
              <a:buNone/>
              <a:defRPr sz="2700">
                <a:solidFill>
                  <a:schemeClr val="accent3"/>
                </a:solidFill>
              </a:defRPr>
            </a:lvl4pPr>
            <a:lvl5pPr marL="934136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367373527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17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48087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7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6981226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7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9345942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7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7965515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7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EA288C"/>
                </a:solidFill>
              </a:defRPr>
            </a:lvl1pPr>
          </a:lstStyle>
          <a:p>
            <a:r>
              <a:rPr lang="pt-BR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6115583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7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6D00"/>
                </a:solidFill>
              </a:defRPr>
            </a:lvl1pPr>
          </a:lstStyle>
          <a:p>
            <a:r>
              <a:rPr lang="pt-BR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1374943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7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A02BFF"/>
                </a:solidFill>
              </a:defRPr>
            </a:lvl1pPr>
          </a:lstStyle>
          <a:p>
            <a:r>
              <a:rPr lang="pt-BR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470758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7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Only">
    <p:bg>
      <p:bgPr>
        <a:gradFill flip="none" rotWithShape="1">
          <a:gsLst>
            <a:gs pos="16000">
              <a:srgbClr val="A02BFF"/>
            </a:gs>
            <a:gs pos="100000">
              <a:srgbClr val="00CEFF"/>
            </a:gs>
          </a:gsLst>
          <a:lin ang="189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641160" y="6108516"/>
            <a:ext cx="2789882" cy="357856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1306" baseline="0">
                <a:solidFill>
                  <a:srgbClr val="FFFFFF"/>
                </a:solidFill>
              </a:defRPr>
            </a:lvl1pPr>
          </a:lstStyle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r>
              <a:rPr lang="en-US" smtClean="0">
                <a:latin typeface="Simplon BP Regular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 defTabSz="597454" fontAlgn="auto">
                <a:spcBef>
                  <a:spcPts val="0"/>
                </a:spcBef>
                <a:spcAft>
                  <a:spcPts val="0"/>
                </a:spcAft>
              </a:pPr>
              <a:t>‹nº›</a:t>
            </a:fld>
            <a:endParaRPr lang="en-US" dirty="0">
              <a:latin typeface="Simplon BP Bold"/>
              <a:cs typeface="Simplon BP Bold"/>
            </a:endParaRPr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470988" y="1261846"/>
            <a:ext cx="4476769" cy="2972801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ts val="1830"/>
              </a:lnSpc>
              <a:spcBef>
                <a:spcPts val="0"/>
              </a:spcBef>
              <a:buFontTx/>
              <a:buNone/>
              <a:defRPr sz="1830" baseline="0">
                <a:solidFill>
                  <a:schemeClr val="bg1"/>
                </a:solidFill>
                <a:latin typeface="Simplon BP"/>
              </a:defRPr>
            </a:lvl1pPr>
          </a:lstStyle>
          <a:p>
            <a:pPr lvl="0"/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endParaRPr lang="en-US" dirty="0"/>
          </a:p>
        </p:txBody>
      </p:sp>
      <p:sp>
        <p:nvSpPr>
          <p:cNvPr id="10" name="Text Placeholder 6"/>
          <p:cNvSpPr>
            <a:spLocks noGrp="1"/>
          </p:cNvSpPr>
          <p:nvPr>
            <p:ph type="body" sz="quarter" idx="14" hasCustomPrompt="1"/>
          </p:nvPr>
        </p:nvSpPr>
        <p:spPr>
          <a:xfrm>
            <a:off x="7001364" y="1261846"/>
            <a:ext cx="4476769" cy="2972801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448091" indent="-448091">
              <a:lnSpc>
                <a:spcPts val="1830"/>
              </a:lnSpc>
              <a:spcBef>
                <a:spcPts val="0"/>
              </a:spcBef>
              <a:buClr>
                <a:srgbClr val="FFFF00"/>
              </a:buClr>
              <a:buFont typeface="+mj-lt"/>
              <a:buAutoNum type="arabicPeriod"/>
              <a:defRPr sz="1830" cap="all" baseline="0">
                <a:solidFill>
                  <a:schemeClr val="bg1"/>
                </a:solidFill>
                <a:latin typeface="Simplon BP"/>
              </a:defRPr>
            </a:lvl1pPr>
          </a:lstStyle>
          <a:p>
            <a:pPr lvl="0"/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endParaRPr lang="en-US" dirty="0"/>
          </a:p>
          <a:p>
            <a:pPr lvl="0"/>
            <a:endParaRPr lang="en-US" dirty="0"/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422139" y="349328"/>
            <a:ext cx="4970420" cy="57373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704"/>
              </a:lnSpc>
              <a:defRPr sz="4704">
                <a:solidFill>
                  <a:srgbClr val="FFFF00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>
                <a:solidFill>
                  <a:srgbClr val="FFFF00"/>
                </a:solidFill>
              </a:rPr>
              <a:t>Sumário</a:t>
            </a:r>
            <a:endParaRPr lang="en-US" dirty="0">
              <a:solidFill>
                <a:srgbClr val="FFFF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54432614"/>
      </p:ext>
    </p:extLst>
  </p:cSld>
  <p:clrMapOvr>
    <a:masterClrMapping/>
  </p:clrMapOvr>
</p:sldLayout>
</file>

<file path=ppt/slideLayouts/slideLayout17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077" y="2076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8470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077" y="2076"/>
                        <a:ext cx="2074" cy="20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95577774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077" y="2076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8572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077" y="2076"/>
                        <a:ext cx="2074" cy="20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>
          <a:xfrm>
            <a:off x="11510937" y="6359582"/>
            <a:ext cx="399872" cy="159951"/>
          </a:xfrm>
          <a:prstGeom prst="rect">
            <a:avLst/>
          </a:prstGeom>
        </p:spPr>
        <p:txBody>
          <a:bodyPr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fld id="{B2531E6E-6E7D-4785-BFDF-BAABB6C6AA33}" type="slidenum">
              <a:rPr lang="pt-BR" sz="1764" smtClean="0">
                <a:solidFill>
                  <a:prstClr val="black"/>
                </a:solidFill>
                <a:latin typeface="Georgia"/>
              </a:rPr>
              <a:pPr algn="ctr" fontAlgn="auto">
                <a:spcBef>
                  <a:spcPts val="0"/>
                </a:spcBef>
                <a:spcAft>
                  <a:spcPts val="0"/>
                </a:spcAft>
              </a:pPr>
              <a:t>‹nº›</a:t>
            </a:fld>
            <a:endParaRPr lang="pt-BR" sz="1764" dirty="0">
              <a:solidFill>
                <a:prstClr val="black"/>
              </a:solidFill>
              <a:latin typeface="Georgia"/>
            </a:endParaRPr>
          </a:p>
        </p:txBody>
      </p:sp>
    </p:spTree>
    <p:extLst>
      <p:ext uri="{BB962C8B-B14F-4D97-AF65-F5344CB8AC3E}">
        <p14:creationId xmlns:p14="http://schemas.microsoft.com/office/powerpoint/2010/main" val="158461040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08" y="358926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08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08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6182" indent="0">
              <a:buNone/>
              <a:defRPr sz="2700">
                <a:solidFill>
                  <a:schemeClr val="accent3"/>
                </a:solidFill>
              </a:defRPr>
            </a:lvl2pPr>
            <a:lvl3pPr marL="475813" indent="0">
              <a:buNone/>
              <a:defRPr sz="2700">
                <a:solidFill>
                  <a:schemeClr val="accent3"/>
                </a:solidFill>
              </a:defRPr>
            </a:lvl3pPr>
            <a:lvl4pPr marL="705448" indent="0">
              <a:buNone/>
              <a:defRPr sz="2700">
                <a:solidFill>
                  <a:schemeClr val="accent3"/>
                </a:solidFill>
              </a:defRPr>
            </a:lvl4pPr>
            <a:lvl5pPr marL="935089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639093496"/>
      </p:ext>
    </p:extLst>
  </p:cSld>
  <p:clrMapOvr>
    <a:masterClrMapping/>
  </p:clrMapOvr>
</p:sldLayout>
</file>

<file path=ppt/slideLayouts/slideLayout17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ó image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31"/>
          </p:nvPr>
        </p:nvSpPr>
        <p:spPr>
          <a:xfrm>
            <a:off x="11510937" y="6359582"/>
            <a:ext cx="399872" cy="159951"/>
          </a:xfrm>
          <a:prstGeom prst="rect">
            <a:avLst/>
          </a:prstGeom>
          <a:noFill/>
        </p:spPr>
        <p:txBody>
          <a:bodyPr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fld id="{B2531E6E-6E7D-4785-BFDF-BAABB6C6AA33}" type="slidenum">
              <a:rPr lang="pt-BR" sz="1764" smtClean="0">
                <a:solidFill>
                  <a:prstClr val="black"/>
                </a:solidFill>
                <a:latin typeface="Georgia"/>
              </a:rPr>
              <a:pPr algn="ctr" fontAlgn="auto">
                <a:spcBef>
                  <a:spcPts val="0"/>
                </a:spcBef>
                <a:spcAft>
                  <a:spcPts val="0"/>
                </a:spcAft>
              </a:pPr>
              <a:t>‹nº›</a:t>
            </a:fld>
            <a:endParaRPr lang="pt-BR" sz="1764" dirty="0">
              <a:solidFill>
                <a:prstClr val="black"/>
              </a:solidFill>
              <a:latin typeface="Georgia"/>
            </a:endParaRPr>
          </a:p>
        </p:txBody>
      </p:sp>
    </p:spTree>
    <p:extLst>
      <p:ext uri="{BB962C8B-B14F-4D97-AF65-F5344CB8AC3E}">
        <p14:creationId xmlns:p14="http://schemas.microsoft.com/office/powerpoint/2010/main" val="422414879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3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to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077" y="2076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8675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077" y="2076"/>
                        <a:ext cx="2074" cy="20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211678" y="230190"/>
            <a:ext cx="10530035" cy="307777"/>
          </a:xfrm>
          <a:prstGeom prst="rect">
            <a:avLst/>
          </a:prstGeom>
        </p:spPr>
        <p:txBody>
          <a:bodyPr lIns="69970" tIns="34985" rIns="69970" bIns="34985"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1936841" y="1951042"/>
            <a:ext cx="5736421" cy="1106049"/>
          </a:xfrm>
          <a:prstGeom prst="rect">
            <a:avLst/>
          </a:prstGeom>
        </p:spPr>
        <p:txBody>
          <a:bodyPr lIns="69970" tIns="34985" rIns="69970" bIns="34985"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>
          <a:xfrm>
            <a:off x="597456" y="6229824"/>
            <a:ext cx="2788126" cy="357856"/>
          </a:xfrm>
          <a:prstGeom prst="rect">
            <a:avLst/>
          </a:prstGeom>
        </p:spPr>
        <p:txBody>
          <a:bodyPr lIns="69954" tIns="34977" rIns="69954" bIns="34977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fld id="{DD75B52F-CD1F-4608-B812-9FBBD7980121}" type="datetimeFigureOut">
              <a:rPr lang="pt-BR" sz="1764" smtClean="0">
                <a:solidFill>
                  <a:srgbClr val="000000"/>
                </a:solidFill>
                <a:latin typeface="Georgia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11/01/2018</a:t>
            </a:fld>
            <a:endParaRPr lang="pt-BR" sz="1764">
              <a:solidFill>
                <a:srgbClr val="000000"/>
              </a:solidFill>
              <a:latin typeface="Georgia"/>
            </a:endParaRPr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>
          <a:xfrm>
            <a:off x="4082614" y="6229824"/>
            <a:ext cx="3783886" cy="357856"/>
          </a:xfrm>
          <a:prstGeom prst="rect">
            <a:avLst/>
          </a:prstGeom>
        </p:spPr>
        <p:txBody>
          <a:bodyPr lIns="69954" tIns="34977" rIns="69954" bIns="34977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pt-BR" sz="1764">
              <a:solidFill>
                <a:srgbClr val="000000"/>
              </a:solidFill>
              <a:latin typeface="Georgia"/>
            </a:endParaRPr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>
          <a:xfrm>
            <a:off x="8563531" y="6229824"/>
            <a:ext cx="2788126" cy="357856"/>
          </a:xfrm>
          <a:prstGeom prst="rect">
            <a:avLst/>
          </a:prstGeom>
        </p:spPr>
        <p:txBody>
          <a:bodyPr lIns="69954" tIns="34977" rIns="69954" bIns="34977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fld id="{6056DC08-14DA-4149-8E5B-0CB255A9B00E}" type="slidenum">
              <a:rPr lang="pt-BR" sz="1764" smtClean="0">
                <a:solidFill>
                  <a:srgbClr val="000000"/>
                </a:solidFill>
                <a:latin typeface="Georgia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nº›</a:t>
            </a:fld>
            <a:endParaRPr lang="pt-BR" sz="1764">
              <a:solidFill>
                <a:srgbClr val="000000"/>
              </a:solidFill>
              <a:latin typeface="Georgia"/>
            </a:endParaRPr>
          </a:p>
        </p:txBody>
      </p:sp>
      <p:sp>
        <p:nvSpPr>
          <p:cNvPr id="7" name="Slide Number"/>
          <p:cNvSpPr txBox="1">
            <a:spLocks/>
          </p:cNvSpPr>
          <p:nvPr userDrawn="1"/>
        </p:nvSpPr>
        <p:spPr>
          <a:xfrm>
            <a:off x="11394525" y="6426672"/>
            <a:ext cx="278354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42C328C1-A84F-4A39-A664-DBA00541A8C6}" type="slidenum">
              <a:rPr lang="pt-BR" sz="1306" smtClean="0">
                <a:solidFill>
                  <a:srgbClr val="000000"/>
                </a:solidFill>
                <a:cs typeface="Arial" panose="020B0604020202020204" pitchFamily="34" charset="0"/>
                <a:sym typeface="Arial" panose="020B0604020202020204" pitchFamily="34" charset="0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nº›</a:t>
            </a:fld>
            <a:endParaRPr lang="pt-BR" sz="1306" dirty="0">
              <a:solidFill>
                <a:srgbClr val="000000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34286201"/>
      </p:ext>
    </p:extLst>
  </p:cSld>
  <p:clrMapOvr>
    <a:masterClrMapping/>
  </p:clrMapOvr>
</p:sldLayout>
</file>

<file path=ppt/slideLayouts/slideLayout17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Só image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077" y="2076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8777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077" y="2076"/>
                        <a:ext cx="2074" cy="20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 Placeholder 1"/>
          <p:cNvSpPr>
            <a:spLocks noGrp="1"/>
          </p:cNvSpPr>
          <p:nvPr>
            <p:ph type="sldNum" sz="quarter" idx="12"/>
          </p:nvPr>
        </p:nvSpPr>
        <p:spPr>
          <a:xfrm>
            <a:off x="11212667" y="6443492"/>
            <a:ext cx="698142" cy="212963"/>
          </a:xfrm>
          <a:prstGeom prst="rect">
            <a:avLst/>
          </a:prstGeom>
        </p:spPr>
        <p:txBody>
          <a:bodyPr anchor="ctr"/>
          <a:lstStyle>
            <a:lvl1pPr>
              <a:defRPr sz="1438">
                <a:latin typeface="Simplon BP Regular" pitchFamily="2" charset="0"/>
              </a:defRPr>
            </a:lvl1pPr>
          </a:lstStyle>
          <a:p>
            <a:pPr algn="ctr" fontAlgn="auto">
              <a:spcBef>
                <a:spcPts val="0"/>
              </a:spcBef>
              <a:spcAft>
                <a:spcPts val="0"/>
              </a:spcAft>
            </a:pPr>
            <a:fld id="{B2531E6E-6E7D-4785-BFDF-BAABB6C6AA33}" type="slidenum">
              <a:rPr lang="pt-BR" smtClean="0">
                <a:solidFill>
                  <a:prstClr val="black"/>
                </a:solidFill>
              </a:rPr>
              <a:pPr algn="ctr" fontAlgn="auto">
                <a:spcBef>
                  <a:spcPts val="0"/>
                </a:spcBef>
                <a:spcAft>
                  <a:spcPts val="0"/>
                </a:spcAft>
              </a:pPr>
              <a:t>‹nº›</a:t>
            </a:fld>
            <a:endParaRPr lang="pt-BR" dirty="0">
              <a:solidFill>
                <a:prstClr val="black"/>
              </a:solidFill>
            </a:endParaRPr>
          </a:p>
        </p:txBody>
      </p:sp>
      <p:sp>
        <p:nvSpPr>
          <p:cNvPr id="7" name="Title 2"/>
          <p:cNvSpPr>
            <a:spLocks noGrp="1"/>
          </p:cNvSpPr>
          <p:nvPr>
            <p:ph type="title"/>
          </p:nvPr>
        </p:nvSpPr>
        <p:spPr>
          <a:xfrm>
            <a:off x="82981" y="81556"/>
            <a:ext cx="10983529" cy="564533"/>
          </a:xfrm>
          <a:prstGeom prst="rect">
            <a:avLst/>
          </a:prstGeom>
        </p:spPr>
        <p:txBody>
          <a:bodyPr lIns="0" tIns="0" rIns="0" bIns="0" anchor="ctr" anchorCtr="0"/>
          <a:lstStyle>
            <a:lvl1pPr>
              <a:defRPr sz="2614" b="0" i="0">
                <a:solidFill>
                  <a:srgbClr val="00AAAD"/>
                </a:solidFill>
                <a:latin typeface="Simplon Oi Headline" pitchFamily="50" charset="0"/>
              </a:defRPr>
            </a:lvl1pPr>
          </a:lstStyle>
          <a:p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25491599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Só image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077" y="2076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8879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077" y="2076"/>
                        <a:ext cx="2074" cy="20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 Placeholder 1"/>
          <p:cNvSpPr>
            <a:spLocks noGrp="1"/>
          </p:cNvSpPr>
          <p:nvPr>
            <p:ph type="sldNum" sz="quarter" idx="12"/>
          </p:nvPr>
        </p:nvSpPr>
        <p:spPr>
          <a:xfrm>
            <a:off x="11212667" y="6443492"/>
            <a:ext cx="698142" cy="212963"/>
          </a:xfrm>
          <a:prstGeom prst="rect">
            <a:avLst/>
          </a:prstGeom>
        </p:spPr>
        <p:txBody>
          <a:bodyPr anchor="ctr"/>
          <a:lstStyle>
            <a:lvl1pPr>
              <a:defRPr sz="1438">
                <a:latin typeface="Simplon BP Regular" pitchFamily="2" charset="0"/>
              </a:defRPr>
            </a:lvl1pPr>
          </a:lstStyle>
          <a:p>
            <a:pPr algn="ctr" fontAlgn="auto">
              <a:spcBef>
                <a:spcPts val="0"/>
              </a:spcBef>
              <a:spcAft>
                <a:spcPts val="0"/>
              </a:spcAft>
            </a:pPr>
            <a:fld id="{B2531E6E-6E7D-4785-BFDF-BAABB6C6AA33}" type="slidenum">
              <a:rPr lang="pt-BR" smtClean="0">
                <a:solidFill>
                  <a:prstClr val="black"/>
                </a:solidFill>
              </a:rPr>
              <a:pPr algn="ctr" fontAlgn="auto">
                <a:spcBef>
                  <a:spcPts val="0"/>
                </a:spcBef>
                <a:spcAft>
                  <a:spcPts val="0"/>
                </a:spcAft>
              </a:pPr>
              <a:t>‹nº›</a:t>
            </a:fld>
            <a:endParaRPr lang="pt-BR" dirty="0">
              <a:solidFill>
                <a:prstClr val="black"/>
              </a:solidFill>
            </a:endParaRPr>
          </a:p>
        </p:txBody>
      </p:sp>
      <p:sp>
        <p:nvSpPr>
          <p:cNvPr id="7" name="Title 2"/>
          <p:cNvSpPr>
            <a:spLocks noGrp="1"/>
          </p:cNvSpPr>
          <p:nvPr>
            <p:ph type="title"/>
          </p:nvPr>
        </p:nvSpPr>
        <p:spPr>
          <a:xfrm>
            <a:off x="82981" y="81556"/>
            <a:ext cx="10983529" cy="564533"/>
          </a:xfrm>
          <a:prstGeom prst="rect">
            <a:avLst/>
          </a:prstGeom>
        </p:spPr>
        <p:txBody>
          <a:bodyPr lIns="0" tIns="0" rIns="0" bIns="0" anchor="ctr" anchorCtr="0"/>
          <a:lstStyle>
            <a:lvl1pPr>
              <a:defRPr sz="2614" b="0" i="0">
                <a:solidFill>
                  <a:srgbClr val="00AAAD"/>
                </a:solidFill>
                <a:latin typeface="Simplon Oi Headline" pitchFamily="50" charset="0"/>
              </a:defRPr>
            </a:lvl1pPr>
          </a:lstStyle>
          <a:p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21366220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3_Só image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077" y="2076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8982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077" y="2076"/>
                        <a:ext cx="2074" cy="20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 Placeholder 1"/>
          <p:cNvSpPr>
            <a:spLocks noGrp="1"/>
          </p:cNvSpPr>
          <p:nvPr>
            <p:ph type="sldNum" sz="quarter" idx="12"/>
          </p:nvPr>
        </p:nvSpPr>
        <p:spPr>
          <a:xfrm>
            <a:off x="11212667" y="6443492"/>
            <a:ext cx="698142" cy="212963"/>
          </a:xfrm>
          <a:prstGeom prst="rect">
            <a:avLst/>
          </a:prstGeom>
        </p:spPr>
        <p:txBody>
          <a:bodyPr anchor="ctr"/>
          <a:lstStyle>
            <a:lvl1pPr>
              <a:defRPr sz="1438">
                <a:latin typeface="Simplon BP Regular" pitchFamily="2" charset="0"/>
              </a:defRPr>
            </a:lvl1pPr>
          </a:lstStyle>
          <a:p>
            <a:pPr algn="ctr" fontAlgn="auto">
              <a:spcBef>
                <a:spcPts val="0"/>
              </a:spcBef>
              <a:spcAft>
                <a:spcPts val="0"/>
              </a:spcAft>
            </a:pPr>
            <a:fld id="{B2531E6E-6E7D-4785-BFDF-BAABB6C6AA33}" type="slidenum">
              <a:rPr lang="pt-BR" smtClean="0">
                <a:solidFill>
                  <a:prstClr val="black"/>
                </a:solidFill>
              </a:rPr>
              <a:pPr algn="ctr" fontAlgn="auto">
                <a:spcBef>
                  <a:spcPts val="0"/>
                </a:spcBef>
                <a:spcAft>
                  <a:spcPts val="0"/>
                </a:spcAft>
              </a:pPr>
              <a:t>‹nº›</a:t>
            </a:fld>
            <a:endParaRPr lang="pt-BR" dirty="0">
              <a:solidFill>
                <a:prstClr val="black"/>
              </a:solidFill>
            </a:endParaRPr>
          </a:p>
        </p:txBody>
      </p:sp>
      <p:sp>
        <p:nvSpPr>
          <p:cNvPr id="7" name="Title 2"/>
          <p:cNvSpPr>
            <a:spLocks noGrp="1"/>
          </p:cNvSpPr>
          <p:nvPr>
            <p:ph type="title"/>
          </p:nvPr>
        </p:nvSpPr>
        <p:spPr>
          <a:xfrm>
            <a:off x="82981" y="81556"/>
            <a:ext cx="10983529" cy="564533"/>
          </a:xfrm>
          <a:prstGeom prst="rect">
            <a:avLst/>
          </a:prstGeom>
        </p:spPr>
        <p:txBody>
          <a:bodyPr lIns="0" tIns="0" rIns="0" bIns="0" anchor="ctr" anchorCtr="0"/>
          <a:lstStyle>
            <a:lvl1pPr>
              <a:defRPr sz="2614" b="0" i="0">
                <a:solidFill>
                  <a:srgbClr val="00AAAD"/>
                </a:solidFill>
                <a:latin typeface="Simplon Oi Headline" pitchFamily="50" charset="0"/>
              </a:defRPr>
            </a:lvl1pPr>
          </a:lstStyle>
          <a:p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20844826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4_Só image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077" y="2076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9084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077" y="2076"/>
                        <a:ext cx="2074" cy="20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 Placeholder 1"/>
          <p:cNvSpPr>
            <a:spLocks noGrp="1"/>
          </p:cNvSpPr>
          <p:nvPr>
            <p:ph type="sldNum" sz="quarter" idx="12"/>
          </p:nvPr>
        </p:nvSpPr>
        <p:spPr>
          <a:xfrm>
            <a:off x="11212667" y="6443492"/>
            <a:ext cx="698142" cy="212963"/>
          </a:xfrm>
          <a:prstGeom prst="rect">
            <a:avLst/>
          </a:prstGeom>
        </p:spPr>
        <p:txBody>
          <a:bodyPr anchor="ctr"/>
          <a:lstStyle>
            <a:lvl1pPr>
              <a:defRPr sz="1438">
                <a:latin typeface="Simplon BP Regular" pitchFamily="2" charset="0"/>
              </a:defRPr>
            </a:lvl1pPr>
          </a:lstStyle>
          <a:p>
            <a:pPr algn="ctr" fontAlgn="auto">
              <a:spcBef>
                <a:spcPts val="0"/>
              </a:spcBef>
              <a:spcAft>
                <a:spcPts val="0"/>
              </a:spcAft>
            </a:pPr>
            <a:fld id="{B2531E6E-6E7D-4785-BFDF-BAABB6C6AA33}" type="slidenum">
              <a:rPr lang="pt-BR" smtClean="0">
                <a:solidFill>
                  <a:prstClr val="black"/>
                </a:solidFill>
              </a:rPr>
              <a:pPr algn="ctr" fontAlgn="auto">
                <a:spcBef>
                  <a:spcPts val="0"/>
                </a:spcBef>
                <a:spcAft>
                  <a:spcPts val="0"/>
                </a:spcAft>
              </a:pPr>
              <a:t>‹nº›</a:t>
            </a:fld>
            <a:endParaRPr lang="pt-BR" dirty="0">
              <a:solidFill>
                <a:prstClr val="black"/>
              </a:solidFill>
            </a:endParaRPr>
          </a:p>
        </p:txBody>
      </p:sp>
      <p:sp>
        <p:nvSpPr>
          <p:cNvPr id="7" name="Title 2"/>
          <p:cNvSpPr>
            <a:spLocks noGrp="1"/>
          </p:cNvSpPr>
          <p:nvPr>
            <p:ph type="title"/>
          </p:nvPr>
        </p:nvSpPr>
        <p:spPr>
          <a:xfrm>
            <a:off x="82981" y="81556"/>
            <a:ext cx="10983529" cy="564533"/>
          </a:xfrm>
          <a:prstGeom prst="rect">
            <a:avLst/>
          </a:prstGeom>
        </p:spPr>
        <p:txBody>
          <a:bodyPr lIns="0" tIns="0" rIns="0" bIns="0" anchor="ctr" anchorCtr="0"/>
          <a:lstStyle>
            <a:lvl1pPr>
              <a:defRPr sz="2614" b="0" i="0">
                <a:solidFill>
                  <a:srgbClr val="00AAAD"/>
                </a:solidFill>
                <a:latin typeface="Simplon Oi Headline" pitchFamily="50" charset="0"/>
              </a:defRPr>
            </a:lvl1pPr>
          </a:lstStyle>
          <a:p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52514062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5_Só image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077" y="2076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9187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077" y="2076"/>
                        <a:ext cx="2074" cy="20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 Placeholder 1"/>
          <p:cNvSpPr>
            <a:spLocks noGrp="1"/>
          </p:cNvSpPr>
          <p:nvPr>
            <p:ph type="sldNum" sz="quarter" idx="12"/>
          </p:nvPr>
        </p:nvSpPr>
        <p:spPr>
          <a:xfrm>
            <a:off x="11212667" y="6443492"/>
            <a:ext cx="698142" cy="212963"/>
          </a:xfrm>
          <a:prstGeom prst="rect">
            <a:avLst/>
          </a:prstGeom>
        </p:spPr>
        <p:txBody>
          <a:bodyPr anchor="ctr"/>
          <a:lstStyle>
            <a:lvl1pPr>
              <a:defRPr sz="1438">
                <a:latin typeface="Simplon BP Regular" pitchFamily="2" charset="0"/>
              </a:defRPr>
            </a:lvl1pPr>
          </a:lstStyle>
          <a:p>
            <a:pPr algn="ctr" fontAlgn="auto">
              <a:spcBef>
                <a:spcPts val="0"/>
              </a:spcBef>
              <a:spcAft>
                <a:spcPts val="0"/>
              </a:spcAft>
            </a:pPr>
            <a:fld id="{B2531E6E-6E7D-4785-BFDF-BAABB6C6AA33}" type="slidenum">
              <a:rPr lang="pt-BR" smtClean="0">
                <a:solidFill>
                  <a:prstClr val="black"/>
                </a:solidFill>
              </a:rPr>
              <a:pPr algn="ctr" fontAlgn="auto">
                <a:spcBef>
                  <a:spcPts val="0"/>
                </a:spcBef>
                <a:spcAft>
                  <a:spcPts val="0"/>
                </a:spcAft>
              </a:pPr>
              <a:t>‹nº›</a:t>
            </a:fld>
            <a:endParaRPr lang="pt-BR" dirty="0">
              <a:solidFill>
                <a:prstClr val="black"/>
              </a:solidFill>
            </a:endParaRPr>
          </a:p>
        </p:txBody>
      </p:sp>
      <p:sp>
        <p:nvSpPr>
          <p:cNvPr id="7" name="Title 2"/>
          <p:cNvSpPr>
            <a:spLocks noGrp="1"/>
          </p:cNvSpPr>
          <p:nvPr>
            <p:ph type="title"/>
          </p:nvPr>
        </p:nvSpPr>
        <p:spPr>
          <a:xfrm>
            <a:off x="82981" y="81556"/>
            <a:ext cx="10983529" cy="564533"/>
          </a:xfrm>
          <a:prstGeom prst="rect">
            <a:avLst/>
          </a:prstGeom>
        </p:spPr>
        <p:txBody>
          <a:bodyPr lIns="0" tIns="0" rIns="0" bIns="0" anchor="ctr" anchorCtr="0"/>
          <a:lstStyle>
            <a:lvl1pPr>
              <a:defRPr sz="2614" b="0" i="0">
                <a:solidFill>
                  <a:srgbClr val="00AAAD"/>
                </a:solidFill>
                <a:latin typeface="Simplon Oi Headline" pitchFamily="50" charset="0"/>
              </a:defRPr>
            </a:lvl1pPr>
          </a:lstStyle>
          <a:p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60901069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Só image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/>
          </p:cNvGraphicFramePr>
          <p:nvPr userDrawn="1">
            <p:custDataLst>
              <p:tags r:id="rId2"/>
            </p:custDataLst>
            <p:extLst/>
          </p:nvPr>
        </p:nvGraphicFramePr>
        <p:xfrm>
          <a:off x="2077" y="2076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9289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077" y="2076"/>
                        <a:ext cx="2074" cy="20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 Placeholder 1"/>
          <p:cNvSpPr>
            <a:spLocks noGrp="1"/>
          </p:cNvSpPr>
          <p:nvPr>
            <p:ph type="sldNum" sz="quarter" idx="12"/>
          </p:nvPr>
        </p:nvSpPr>
        <p:spPr>
          <a:xfrm>
            <a:off x="11212667" y="6443492"/>
            <a:ext cx="698142" cy="212963"/>
          </a:xfrm>
          <a:prstGeom prst="rect">
            <a:avLst/>
          </a:prstGeom>
        </p:spPr>
        <p:txBody>
          <a:bodyPr anchor="ctr"/>
          <a:lstStyle>
            <a:lvl1pPr>
              <a:defRPr sz="1438">
                <a:latin typeface="Simplon BP Regular" pitchFamily="2" charset="0"/>
              </a:defRPr>
            </a:lvl1pPr>
          </a:lstStyle>
          <a:p>
            <a:pPr algn="ctr" fontAlgn="auto">
              <a:spcBef>
                <a:spcPts val="0"/>
              </a:spcBef>
              <a:spcAft>
                <a:spcPts val="0"/>
              </a:spcAft>
            </a:pPr>
            <a:fld id="{B2531E6E-6E7D-4785-BFDF-BAABB6C6AA33}" type="slidenum">
              <a:rPr lang="pt-BR" smtClean="0">
                <a:solidFill>
                  <a:prstClr val="black"/>
                </a:solidFill>
              </a:rPr>
              <a:pPr algn="ctr" fontAlgn="auto">
                <a:spcBef>
                  <a:spcPts val="0"/>
                </a:spcBef>
                <a:spcAft>
                  <a:spcPts val="0"/>
                </a:spcAft>
              </a:pPr>
              <a:t>‹nº›</a:t>
            </a:fld>
            <a:endParaRPr lang="pt-BR" dirty="0">
              <a:solidFill>
                <a:prstClr val="black"/>
              </a:solidFill>
            </a:endParaRPr>
          </a:p>
        </p:txBody>
      </p:sp>
      <p:sp>
        <p:nvSpPr>
          <p:cNvPr id="7" name="Title 2"/>
          <p:cNvSpPr>
            <a:spLocks noGrp="1"/>
          </p:cNvSpPr>
          <p:nvPr>
            <p:ph type="title"/>
          </p:nvPr>
        </p:nvSpPr>
        <p:spPr>
          <a:xfrm>
            <a:off x="82981" y="81556"/>
            <a:ext cx="10983529" cy="564533"/>
          </a:xfrm>
          <a:prstGeom prst="rect">
            <a:avLst/>
          </a:prstGeom>
        </p:spPr>
        <p:txBody>
          <a:bodyPr lIns="0" tIns="0" rIns="0" bIns="0" anchor="ctr" anchorCtr="0"/>
          <a:lstStyle>
            <a:lvl1pPr>
              <a:defRPr sz="2614" b="0" i="0">
                <a:solidFill>
                  <a:srgbClr val="FF7900"/>
                </a:solidFill>
                <a:latin typeface="Simplon Oi Headline" pitchFamily="50" charset="0"/>
              </a:defRPr>
            </a:lvl1pPr>
          </a:lstStyle>
          <a:p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43807809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Só image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/>
          </p:cNvGraphicFramePr>
          <p:nvPr userDrawn="1">
            <p:custDataLst>
              <p:tags r:id="rId2"/>
            </p:custDataLst>
            <p:extLst/>
          </p:nvPr>
        </p:nvGraphicFramePr>
        <p:xfrm>
          <a:off x="2077" y="2076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9391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077" y="2076"/>
                        <a:ext cx="2074" cy="20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 Placeholder 1"/>
          <p:cNvSpPr>
            <a:spLocks noGrp="1"/>
          </p:cNvSpPr>
          <p:nvPr>
            <p:ph type="sldNum" sz="quarter" idx="12"/>
          </p:nvPr>
        </p:nvSpPr>
        <p:spPr>
          <a:xfrm>
            <a:off x="11212667" y="6443492"/>
            <a:ext cx="698142" cy="212963"/>
          </a:xfrm>
          <a:prstGeom prst="rect">
            <a:avLst/>
          </a:prstGeom>
        </p:spPr>
        <p:txBody>
          <a:bodyPr anchor="ctr"/>
          <a:lstStyle>
            <a:lvl1pPr>
              <a:defRPr sz="1438">
                <a:latin typeface="Simplon BP Regular" pitchFamily="2" charset="0"/>
              </a:defRPr>
            </a:lvl1pPr>
          </a:lstStyle>
          <a:p>
            <a:pPr algn="ctr" fontAlgn="auto">
              <a:spcBef>
                <a:spcPts val="0"/>
              </a:spcBef>
              <a:spcAft>
                <a:spcPts val="0"/>
              </a:spcAft>
            </a:pPr>
            <a:fld id="{B2531E6E-6E7D-4785-BFDF-BAABB6C6AA33}" type="slidenum">
              <a:rPr lang="pt-BR" smtClean="0">
                <a:solidFill>
                  <a:prstClr val="black"/>
                </a:solidFill>
              </a:rPr>
              <a:pPr algn="ctr" fontAlgn="auto">
                <a:spcBef>
                  <a:spcPts val="0"/>
                </a:spcBef>
                <a:spcAft>
                  <a:spcPts val="0"/>
                </a:spcAft>
              </a:pPr>
              <a:t>‹nº›</a:t>
            </a:fld>
            <a:endParaRPr lang="pt-BR" dirty="0">
              <a:solidFill>
                <a:prstClr val="black"/>
              </a:solidFill>
            </a:endParaRPr>
          </a:p>
        </p:txBody>
      </p:sp>
      <p:sp>
        <p:nvSpPr>
          <p:cNvPr id="7" name="Title 2"/>
          <p:cNvSpPr>
            <a:spLocks noGrp="1"/>
          </p:cNvSpPr>
          <p:nvPr>
            <p:ph type="title"/>
          </p:nvPr>
        </p:nvSpPr>
        <p:spPr>
          <a:xfrm>
            <a:off x="82981" y="81556"/>
            <a:ext cx="10983529" cy="564533"/>
          </a:xfrm>
          <a:prstGeom prst="rect">
            <a:avLst/>
          </a:prstGeom>
        </p:spPr>
        <p:txBody>
          <a:bodyPr lIns="0" tIns="0" rIns="0" bIns="0" anchor="ctr" anchorCtr="0"/>
          <a:lstStyle>
            <a:lvl1pPr>
              <a:defRPr sz="2614" b="0" i="0">
                <a:solidFill>
                  <a:srgbClr val="FF7900"/>
                </a:solidFill>
                <a:latin typeface="Simplon Oi Headline" pitchFamily="50" charset="0"/>
              </a:defRPr>
            </a:lvl1pPr>
          </a:lstStyle>
          <a:p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22776876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Só image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/>
          </p:cNvGraphicFramePr>
          <p:nvPr userDrawn="1">
            <p:custDataLst>
              <p:tags r:id="rId2"/>
            </p:custDataLst>
            <p:extLst/>
          </p:nvPr>
        </p:nvGraphicFramePr>
        <p:xfrm>
          <a:off x="2077" y="2076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9494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077" y="2076"/>
                        <a:ext cx="2074" cy="20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 Placeholder 1"/>
          <p:cNvSpPr>
            <a:spLocks noGrp="1"/>
          </p:cNvSpPr>
          <p:nvPr>
            <p:ph type="sldNum" sz="quarter" idx="12"/>
          </p:nvPr>
        </p:nvSpPr>
        <p:spPr>
          <a:xfrm>
            <a:off x="11212667" y="6443492"/>
            <a:ext cx="698142" cy="212963"/>
          </a:xfrm>
          <a:prstGeom prst="rect">
            <a:avLst/>
          </a:prstGeom>
        </p:spPr>
        <p:txBody>
          <a:bodyPr anchor="ctr"/>
          <a:lstStyle>
            <a:lvl1pPr>
              <a:defRPr sz="1438">
                <a:latin typeface="Simplon BP Regular" pitchFamily="2" charset="0"/>
              </a:defRPr>
            </a:lvl1pPr>
          </a:lstStyle>
          <a:p>
            <a:pPr algn="ctr" fontAlgn="auto">
              <a:spcBef>
                <a:spcPts val="0"/>
              </a:spcBef>
              <a:spcAft>
                <a:spcPts val="0"/>
              </a:spcAft>
            </a:pPr>
            <a:fld id="{B2531E6E-6E7D-4785-BFDF-BAABB6C6AA33}" type="slidenum">
              <a:rPr lang="pt-BR" smtClean="0">
                <a:solidFill>
                  <a:prstClr val="black"/>
                </a:solidFill>
              </a:rPr>
              <a:pPr algn="ctr" fontAlgn="auto">
                <a:spcBef>
                  <a:spcPts val="0"/>
                </a:spcBef>
                <a:spcAft>
                  <a:spcPts val="0"/>
                </a:spcAft>
              </a:pPr>
              <a:t>‹nº›</a:t>
            </a:fld>
            <a:endParaRPr lang="pt-BR" dirty="0">
              <a:solidFill>
                <a:prstClr val="black"/>
              </a:solidFill>
            </a:endParaRPr>
          </a:p>
        </p:txBody>
      </p:sp>
      <p:sp>
        <p:nvSpPr>
          <p:cNvPr id="7" name="Title 2"/>
          <p:cNvSpPr>
            <a:spLocks noGrp="1"/>
          </p:cNvSpPr>
          <p:nvPr>
            <p:ph type="title"/>
          </p:nvPr>
        </p:nvSpPr>
        <p:spPr>
          <a:xfrm>
            <a:off x="82981" y="81556"/>
            <a:ext cx="10983529" cy="564533"/>
          </a:xfrm>
          <a:prstGeom prst="rect">
            <a:avLst/>
          </a:prstGeom>
        </p:spPr>
        <p:txBody>
          <a:bodyPr lIns="0" tIns="0" rIns="0" bIns="0" anchor="ctr" anchorCtr="0"/>
          <a:lstStyle>
            <a:lvl1pPr>
              <a:defRPr sz="2614" b="0" i="0">
                <a:solidFill>
                  <a:srgbClr val="FF7900"/>
                </a:solidFill>
                <a:latin typeface="Simplon Oi Headline" pitchFamily="50" charset="0"/>
              </a:defRPr>
            </a:lvl1pPr>
          </a:lstStyle>
          <a:p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423393723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08" y="1854632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0314327"/>
      </p:ext>
    </p:extLst>
  </p:cSld>
  <p:clrMapOvr>
    <a:masterClrMapping/>
  </p:clrMapOvr>
</p:sldLayout>
</file>

<file path=ppt/slideLayouts/slideLayout17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Só image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077" y="2076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9596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077" y="2076"/>
                        <a:ext cx="2074" cy="20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 Placeholder 1"/>
          <p:cNvSpPr>
            <a:spLocks noGrp="1"/>
          </p:cNvSpPr>
          <p:nvPr>
            <p:ph type="sldNum" sz="quarter" idx="12"/>
          </p:nvPr>
        </p:nvSpPr>
        <p:spPr>
          <a:xfrm>
            <a:off x="11212667" y="6443492"/>
            <a:ext cx="698142" cy="212963"/>
          </a:xfrm>
          <a:prstGeom prst="rect">
            <a:avLst/>
          </a:prstGeom>
        </p:spPr>
        <p:txBody>
          <a:bodyPr anchor="ctr"/>
          <a:lstStyle>
            <a:lvl1pPr>
              <a:defRPr sz="1438">
                <a:latin typeface="Simplon BP Regular" pitchFamily="2" charset="0"/>
              </a:defRPr>
            </a:lvl1pPr>
          </a:lstStyle>
          <a:p>
            <a:pPr algn="ctr" fontAlgn="auto">
              <a:spcBef>
                <a:spcPts val="0"/>
              </a:spcBef>
              <a:spcAft>
                <a:spcPts val="0"/>
              </a:spcAft>
            </a:pPr>
            <a:fld id="{B2531E6E-6E7D-4785-BFDF-BAABB6C6AA33}" type="slidenum">
              <a:rPr lang="pt-BR" smtClean="0">
                <a:solidFill>
                  <a:prstClr val="black"/>
                </a:solidFill>
              </a:rPr>
              <a:pPr algn="ctr" fontAlgn="auto">
                <a:spcBef>
                  <a:spcPts val="0"/>
                </a:spcBef>
                <a:spcAft>
                  <a:spcPts val="0"/>
                </a:spcAft>
              </a:pPr>
              <a:t>‹nº›</a:t>
            </a:fld>
            <a:endParaRPr lang="pt-BR" dirty="0">
              <a:solidFill>
                <a:prstClr val="black"/>
              </a:solidFill>
            </a:endParaRPr>
          </a:p>
        </p:txBody>
      </p:sp>
      <p:sp>
        <p:nvSpPr>
          <p:cNvPr id="7" name="Title 2"/>
          <p:cNvSpPr>
            <a:spLocks noGrp="1"/>
          </p:cNvSpPr>
          <p:nvPr>
            <p:ph type="title"/>
          </p:nvPr>
        </p:nvSpPr>
        <p:spPr>
          <a:xfrm>
            <a:off x="82981" y="81556"/>
            <a:ext cx="10983529" cy="564533"/>
          </a:xfrm>
          <a:prstGeom prst="rect">
            <a:avLst/>
          </a:prstGeom>
        </p:spPr>
        <p:txBody>
          <a:bodyPr lIns="0" tIns="0" rIns="0" bIns="0" anchor="ctr" anchorCtr="0"/>
          <a:lstStyle>
            <a:lvl1pPr>
              <a:defRPr sz="2614" b="0" i="0">
                <a:solidFill>
                  <a:srgbClr val="00AAAD"/>
                </a:solidFill>
                <a:latin typeface="Simplon Oi Headline" pitchFamily="50" charset="0"/>
              </a:defRPr>
            </a:lvl1pPr>
          </a:lstStyle>
          <a:p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65248943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Só image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/>
          </p:cNvGraphicFramePr>
          <p:nvPr userDrawn="1">
            <p:custDataLst>
              <p:tags r:id="rId2"/>
            </p:custDataLst>
            <p:extLst/>
          </p:nvPr>
        </p:nvGraphicFramePr>
        <p:xfrm>
          <a:off x="2077" y="2076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9699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077" y="2076"/>
                        <a:ext cx="2074" cy="20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 Placeholder 1"/>
          <p:cNvSpPr>
            <a:spLocks noGrp="1"/>
          </p:cNvSpPr>
          <p:nvPr>
            <p:ph type="sldNum" sz="quarter" idx="12"/>
          </p:nvPr>
        </p:nvSpPr>
        <p:spPr>
          <a:xfrm>
            <a:off x="11212667" y="6443492"/>
            <a:ext cx="698142" cy="212963"/>
          </a:xfrm>
          <a:prstGeom prst="rect">
            <a:avLst/>
          </a:prstGeom>
        </p:spPr>
        <p:txBody>
          <a:bodyPr anchor="ctr"/>
          <a:lstStyle>
            <a:lvl1pPr>
              <a:defRPr sz="1438">
                <a:latin typeface="Simplon BP Regular" pitchFamily="2" charset="0"/>
              </a:defRPr>
            </a:lvl1pPr>
          </a:lstStyle>
          <a:p>
            <a:pPr algn="ctr" fontAlgn="auto">
              <a:spcBef>
                <a:spcPts val="0"/>
              </a:spcBef>
              <a:spcAft>
                <a:spcPts val="0"/>
              </a:spcAft>
            </a:pPr>
            <a:fld id="{B2531E6E-6E7D-4785-BFDF-BAABB6C6AA33}" type="slidenum">
              <a:rPr lang="pt-BR" smtClean="0">
                <a:solidFill>
                  <a:prstClr val="black"/>
                </a:solidFill>
              </a:rPr>
              <a:pPr algn="ctr" fontAlgn="auto">
                <a:spcBef>
                  <a:spcPts val="0"/>
                </a:spcBef>
                <a:spcAft>
                  <a:spcPts val="0"/>
                </a:spcAft>
              </a:pPr>
              <a:t>‹nº›</a:t>
            </a:fld>
            <a:endParaRPr lang="pt-BR" dirty="0">
              <a:solidFill>
                <a:prstClr val="black"/>
              </a:solidFill>
            </a:endParaRPr>
          </a:p>
        </p:txBody>
      </p:sp>
      <p:sp>
        <p:nvSpPr>
          <p:cNvPr id="7" name="Title 2"/>
          <p:cNvSpPr>
            <a:spLocks noGrp="1"/>
          </p:cNvSpPr>
          <p:nvPr>
            <p:ph type="title"/>
          </p:nvPr>
        </p:nvSpPr>
        <p:spPr>
          <a:xfrm>
            <a:off x="82981" y="81556"/>
            <a:ext cx="10983529" cy="564533"/>
          </a:xfrm>
          <a:prstGeom prst="rect">
            <a:avLst/>
          </a:prstGeom>
        </p:spPr>
        <p:txBody>
          <a:bodyPr lIns="0" tIns="0" rIns="0" bIns="0" anchor="ctr" anchorCtr="0"/>
          <a:lstStyle>
            <a:lvl1pPr>
              <a:defRPr sz="2614" b="0" i="0">
                <a:solidFill>
                  <a:srgbClr val="FF7900"/>
                </a:solidFill>
                <a:latin typeface="Simplon Oi Headline" pitchFamily="50" charset="0"/>
              </a:defRPr>
            </a:lvl1pPr>
          </a:lstStyle>
          <a:p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89348196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55" y="358970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54" y="1854633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55" y="1290133"/>
            <a:ext cx="10725159" cy="470918"/>
          </a:xfrm>
        </p:spPr>
        <p:txBody>
          <a:bodyPr/>
          <a:lstStyle>
            <a:lvl1pPr marL="0" indent="0">
              <a:lnSpc>
                <a:spcPts val="2058"/>
              </a:lnSpc>
              <a:buNone/>
              <a:defRPr sz="2600">
                <a:solidFill>
                  <a:srgbClr val="4D4D4D"/>
                </a:solidFill>
              </a:defRPr>
            </a:lvl1pPr>
            <a:lvl2pPr marL="245239" indent="0">
              <a:buNone/>
              <a:defRPr sz="2700">
                <a:solidFill>
                  <a:schemeClr val="accent3"/>
                </a:solidFill>
              </a:defRPr>
            </a:lvl2pPr>
            <a:lvl3pPr marL="473986" indent="0">
              <a:buNone/>
              <a:defRPr sz="2700">
                <a:solidFill>
                  <a:schemeClr val="accent3"/>
                </a:solidFill>
              </a:defRPr>
            </a:lvl3pPr>
            <a:lvl4pPr marL="702737" indent="0">
              <a:buNone/>
              <a:defRPr sz="2700">
                <a:solidFill>
                  <a:schemeClr val="accent3"/>
                </a:solidFill>
              </a:defRPr>
            </a:lvl4pPr>
            <a:lvl5pPr marL="931491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348036054"/>
      </p:ext>
    </p:extLst>
  </p:cSld>
  <p:clrMapOvr>
    <a:masterClrMapping/>
  </p:clrMapOvr>
</p:sldLayout>
</file>

<file path=ppt/slideLayouts/slideLayout17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54" y="1854633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7301619"/>
      </p:ext>
    </p:extLst>
  </p:cSld>
  <p:clrMapOvr>
    <a:masterClrMapping/>
  </p:clrMapOvr>
</p:sldLayout>
</file>

<file path=ppt/slideLayouts/slideLayout17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43030" name="Slide do think-cell" r:id="rId4" imgW="270" imgH="270" progId="TCLayout.ActiveDocument.1">
                  <p:embed/>
                </p:oleObj>
              </mc:Choice>
              <mc:Fallback>
                <p:oleObj name="Slide do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24849047"/>
      </p:ext>
    </p:extLst>
  </p:cSld>
  <p:clrMapOvr>
    <a:masterClrMapping/>
  </p:clrMapOvr>
</p:sldLayout>
</file>

<file path=ppt/slideLayouts/slideLayout17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81" y="1854633"/>
            <a:ext cx="5080446" cy="451832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854705"/>
            <a:ext cx="5080448" cy="451832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2055" y="1290133"/>
            <a:ext cx="10725159" cy="470918"/>
          </a:xfrm>
        </p:spPr>
        <p:txBody>
          <a:bodyPr/>
          <a:lstStyle>
            <a:lvl1pPr marL="0" indent="0">
              <a:lnSpc>
                <a:spcPts val="2058"/>
              </a:lnSpc>
              <a:buNone/>
              <a:defRPr sz="2600">
                <a:solidFill>
                  <a:srgbClr val="4D4D4D"/>
                </a:solidFill>
              </a:defRPr>
            </a:lvl1pPr>
            <a:lvl2pPr marL="245239" indent="0">
              <a:buNone/>
              <a:defRPr sz="2700">
                <a:solidFill>
                  <a:schemeClr val="accent3"/>
                </a:solidFill>
              </a:defRPr>
            </a:lvl2pPr>
            <a:lvl3pPr marL="473986" indent="0">
              <a:buNone/>
              <a:defRPr sz="2700">
                <a:solidFill>
                  <a:schemeClr val="accent3"/>
                </a:solidFill>
              </a:defRPr>
            </a:lvl3pPr>
            <a:lvl4pPr marL="702737" indent="0">
              <a:buNone/>
              <a:defRPr sz="2700">
                <a:solidFill>
                  <a:schemeClr val="accent3"/>
                </a:solidFill>
              </a:defRPr>
            </a:lvl4pPr>
            <a:lvl5pPr marL="931491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426045759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17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9_Blank">
    <p:bg>
      <p:bgPr>
        <a:gradFill flip="none" rotWithShape="1">
          <a:gsLst>
            <a:gs pos="0">
              <a:srgbClr val="00CEFF">
                <a:alpha val="30000"/>
              </a:srgbClr>
            </a:gs>
            <a:gs pos="80000">
              <a:schemeClr val="bg1"/>
            </a:gs>
          </a:gsLst>
          <a:lin ang="189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422136" y="349327"/>
            <a:ext cx="5909907" cy="70986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703"/>
              </a:lnSpc>
              <a:defRPr sz="4703" baseline="0">
                <a:solidFill>
                  <a:srgbClr val="A02BFF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smtClean="0"/>
              <a:t>Obrigado.</a:t>
            </a:r>
            <a:endParaRPr lang="en-US" dirty="0"/>
          </a:p>
        </p:txBody>
      </p:sp>
      <p:pic>
        <p:nvPicPr>
          <p:cNvPr id="5" name="Picture 4" descr="obrigado-02.png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4926"/>
          <a:stretch/>
        </p:blipFill>
        <p:spPr>
          <a:xfrm>
            <a:off x="1009324" y="-17372"/>
            <a:ext cx="4049938" cy="6738849"/>
          </a:xfrm>
          <a:prstGeom prst="rect">
            <a:avLst/>
          </a:prstGeom>
        </p:spPr>
      </p:pic>
      <p:pic>
        <p:nvPicPr>
          <p:cNvPr id="6" name="Picture 5" descr="obrigado-02.png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1530"/>
          <a:stretch/>
        </p:blipFill>
        <p:spPr>
          <a:xfrm>
            <a:off x="7181539" y="-120699"/>
            <a:ext cx="3456507" cy="67388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7099115"/>
      </p:ext>
    </p:extLst>
  </p:cSld>
  <p:clrMapOvr>
    <a:masterClrMapping/>
  </p:clrMapOvr>
</p:sldLayout>
</file>

<file path=ppt/slideLayouts/slideLayout17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Section Header">
    <p:bg>
      <p:bgPr>
        <a:gradFill flip="none" rotWithShape="1">
          <a:gsLst>
            <a:gs pos="0">
              <a:srgbClr val="00CEFF">
                <a:alpha val="30000"/>
              </a:srgbClr>
            </a:gs>
            <a:gs pos="80000">
              <a:schemeClr val="bg1"/>
            </a:gs>
          </a:gsLst>
          <a:lin ang="189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422139" y="349327"/>
            <a:ext cx="4970420" cy="173850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703"/>
              </a:lnSpc>
              <a:defRPr sz="4703">
                <a:solidFill>
                  <a:srgbClr val="A02BFF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</a:t>
            </a:r>
            <a:br>
              <a:rPr lang="en-US" dirty="0" smtClean="0"/>
            </a:br>
            <a:r>
              <a:rPr lang="en-US" dirty="0" smtClean="0"/>
              <a:t>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endParaRPr lang="en-US" dirty="0"/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17" hasCustomPrompt="1"/>
          </p:nvPr>
        </p:nvSpPr>
        <p:spPr>
          <a:xfrm>
            <a:off x="422135" y="2398566"/>
            <a:ext cx="4970423" cy="96217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597451" rtl="0" eaLnBrk="1" fontAlgn="auto" latinLnBrk="0" hangingPunct="1">
              <a:lnSpc>
                <a:spcPts val="2352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352" cap="all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745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smtClean="0"/>
              <a:t>has </a:t>
            </a:r>
            <a:br>
              <a:rPr lang="en-US" dirty="0" smtClean="0"/>
            </a:br>
            <a:r>
              <a:rPr lang="en-US" dirty="0" smtClean="0"/>
              <a:t>id </a:t>
            </a:r>
            <a:r>
              <a:rPr lang="en-US" dirty="0" err="1" smtClean="0"/>
              <a:t>cibo</a:t>
            </a:r>
            <a:r>
              <a:rPr lang="en-US" dirty="0" smtClean="0"/>
              <a:t> </a:t>
            </a:r>
            <a:r>
              <a:rPr lang="en-US" dirty="0" err="1" smtClean="0"/>
              <a:t>quidam</a:t>
            </a:r>
            <a:r>
              <a:rPr lang="en-US" dirty="0" smtClean="0"/>
              <a:t> </a:t>
            </a:r>
            <a:r>
              <a:rPr lang="en-US" dirty="0" err="1" smtClean="0"/>
              <a:t>facilis</a:t>
            </a:r>
            <a:endParaRPr lang="en-US" dirty="0" smtClean="0"/>
          </a:p>
        </p:txBody>
      </p:sp>
      <p:pic>
        <p:nvPicPr>
          <p:cNvPr id="12" name="Picture 11" descr="BolhaExpandida2_roxa-01.png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9" r="81018"/>
          <a:stretch/>
        </p:blipFill>
        <p:spPr>
          <a:xfrm>
            <a:off x="0" y="-33667"/>
            <a:ext cx="1659456" cy="6755143"/>
          </a:xfrm>
          <a:prstGeom prst="rect">
            <a:avLst/>
          </a:prstGeom>
        </p:spPr>
      </p:pic>
      <p:pic>
        <p:nvPicPr>
          <p:cNvPr id="14" name="Picture 13" descr="BolhaExpandida2_roxa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98494" y="414905"/>
            <a:ext cx="5118203" cy="54887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1398978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op_bodydou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80" y="1290358"/>
            <a:ext cx="5080446" cy="5082596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290359"/>
            <a:ext cx="5080448" cy="5082597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7456" y="6371918"/>
            <a:ext cx="10176095" cy="28226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68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3552" y="6371918"/>
            <a:ext cx="578105" cy="28226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68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5" hasCustomPrompt="1"/>
          </p:nvPr>
        </p:nvSpPr>
        <p:spPr>
          <a:xfrm>
            <a:off x="611979" y="161815"/>
            <a:ext cx="10725159" cy="188783"/>
          </a:xfrm>
        </p:spPr>
        <p:txBody>
          <a:bodyPr anchor="b"/>
          <a:lstStyle>
            <a:lvl1pPr marL="0" indent="0">
              <a:buNone/>
              <a:defRPr b="1">
                <a:solidFill>
                  <a:schemeClr val="tx2"/>
                </a:solidFill>
              </a:defRPr>
            </a:lvl1pPr>
            <a:lvl2pPr marL="246869" indent="0">
              <a:buNone/>
              <a:defRPr b="1"/>
            </a:lvl2pPr>
            <a:lvl3pPr marL="477143" indent="0">
              <a:buNone/>
              <a:defRPr b="1"/>
            </a:lvl3pPr>
            <a:lvl4pPr marL="707417" indent="0">
              <a:buNone/>
              <a:defRPr b="1"/>
            </a:lvl4pPr>
            <a:lvl5pPr marL="937690" indent="0">
              <a:buNone/>
              <a:defRPr b="1"/>
            </a:lvl5pPr>
          </a:lstStyle>
          <a:p>
            <a:pPr lvl="0"/>
            <a:r>
              <a:rPr lang="en-US" dirty="0" smtClean="0"/>
              <a:t>&lt;</a:t>
            </a:r>
            <a:r>
              <a:rPr lang="en-US" dirty="0" err="1" smtClean="0"/>
              <a:t>subtitulo</a:t>
            </a:r>
            <a:r>
              <a:rPr lang="en-US" dirty="0" smtClean="0"/>
              <a:t>&gt;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41309550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17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5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422137" y="2848723"/>
            <a:ext cx="5577332" cy="1562433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597451" rtl="0" eaLnBrk="1" fontAlgn="auto" latinLnBrk="0" hangingPunct="1">
              <a:lnSpc>
                <a:spcPts val="183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3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7451" rtl="0" eaLnBrk="1" fontAlgn="auto" latinLnBrk="0" hangingPunct="1">
              <a:lnSpc>
                <a:spcPts val="183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7451" rtl="0" eaLnBrk="1" fontAlgn="auto" latinLnBrk="0" hangingPunct="1">
              <a:lnSpc>
                <a:spcPts val="183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7451" rtl="0" eaLnBrk="1" fontAlgn="auto" latinLnBrk="0" hangingPunct="1">
              <a:lnSpc>
                <a:spcPts val="183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  <p:sp>
        <p:nvSpPr>
          <p:cNvPr id="10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422135" y="1790555"/>
            <a:ext cx="4970423" cy="73342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597451" rtl="0" eaLnBrk="1" fontAlgn="auto" latinLnBrk="0" hangingPunct="1">
              <a:lnSpc>
                <a:spcPts val="2352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352" cap="all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745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smtClean="0"/>
              <a:t>has </a:t>
            </a:r>
            <a:br>
              <a:rPr lang="en-US" dirty="0" smtClean="0"/>
            </a:br>
            <a:r>
              <a:rPr lang="en-US" dirty="0" smtClean="0"/>
              <a:t>id </a:t>
            </a:r>
            <a:r>
              <a:rPr lang="en-US" dirty="0" err="1" smtClean="0"/>
              <a:t>cibo</a:t>
            </a:r>
            <a:r>
              <a:rPr lang="en-US" dirty="0" smtClean="0"/>
              <a:t> </a:t>
            </a:r>
            <a:r>
              <a:rPr lang="en-US" dirty="0" err="1" smtClean="0"/>
              <a:t>quidam</a:t>
            </a:r>
            <a:r>
              <a:rPr lang="en-US" dirty="0" smtClean="0"/>
              <a:t> </a:t>
            </a:r>
            <a:r>
              <a:rPr lang="en-US" dirty="0" err="1" smtClean="0"/>
              <a:t>facilis</a:t>
            </a:r>
            <a:endParaRPr lang="en-US" dirty="0"/>
          </a:p>
        </p:txBody>
      </p: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422139" y="349327"/>
            <a:ext cx="4970420" cy="123378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703"/>
              </a:lnSpc>
              <a:defRPr sz="3659">
                <a:solidFill>
                  <a:srgbClr val="4D4D4D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endParaRPr lang="en-US" dirty="0"/>
          </a:p>
        </p:txBody>
      </p:sp>
      <p:pic>
        <p:nvPicPr>
          <p:cNvPr id="7" name="Picture 4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969" t="20945" r="25751" b="20955"/>
          <a:stretch/>
        </p:blipFill>
        <p:spPr bwMode="auto">
          <a:xfrm>
            <a:off x="10661106" y="408480"/>
            <a:ext cx="894231" cy="7457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4" name="Espaço Reservado para Texto 2"/>
          <p:cNvSpPr>
            <a:spLocks noGrp="1"/>
          </p:cNvSpPr>
          <p:nvPr>
            <p:ph type="body" sz="quarter" idx="20" hasCustomPrompt="1"/>
          </p:nvPr>
        </p:nvSpPr>
        <p:spPr>
          <a:xfrm>
            <a:off x="8649530" y="6259799"/>
            <a:ext cx="3041593" cy="296055"/>
          </a:xfrm>
          <a:prstGeom prst="rect">
            <a:avLst/>
          </a:prstGeom>
        </p:spPr>
        <p:txBody>
          <a:bodyPr/>
          <a:lstStyle>
            <a:lvl1pPr marL="0" marR="0" indent="0" algn="l" defTabSz="597451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306">
                <a:solidFill>
                  <a:schemeClr val="bg2"/>
                </a:solidFill>
                <a:latin typeface="+mn-lt"/>
              </a:defRPr>
            </a:lvl1pPr>
            <a:lvl2pPr marL="597451" indent="0">
              <a:buNone/>
              <a:defRPr/>
            </a:lvl2pPr>
            <a:lvl3pPr marL="1194905" indent="0">
              <a:buNone/>
              <a:defRPr/>
            </a:lvl3pPr>
            <a:lvl4pPr marL="1792355" indent="0">
              <a:buNone/>
              <a:defRPr/>
            </a:lvl4pPr>
            <a:lvl5pPr marL="2389806" indent="0">
              <a:buNone/>
              <a:defRPr/>
            </a:lvl5pPr>
          </a:lstStyle>
          <a:p>
            <a:r>
              <a:rPr lang="en-US" dirty="0" smtClean="0">
                <a:latin typeface="+mn-lt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/>
              <a:t>‹nº›</a:t>
            </a:fld>
            <a:endParaRPr lang="en-US" dirty="0">
              <a:latin typeface="Simplon BP Bold"/>
              <a:cs typeface="Simplon BP Bold"/>
            </a:endParaRPr>
          </a:p>
        </p:txBody>
      </p:sp>
    </p:spTree>
    <p:extLst>
      <p:ext uri="{BB962C8B-B14F-4D97-AF65-F5344CB8AC3E}">
        <p14:creationId xmlns:p14="http://schemas.microsoft.com/office/powerpoint/2010/main" val="529520013"/>
      </p:ext>
    </p:extLst>
  </p:cSld>
  <p:clrMapOvr>
    <a:masterClrMapping/>
  </p:clrMapOvr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67706845"/>
      </p:ext>
    </p:extLst>
  </p:cSld>
  <p:clrMapOvr>
    <a:masterClrMapping/>
  </p:clrMapOvr>
</p:sldLayout>
</file>

<file path=ppt/slideLayouts/slideLayout175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176174" y="136950"/>
            <a:ext cx="11525915" cy="341869"/>
          </a:xfrm>
          <a:prstGeom prst="rect">
            <a:avLst/>
          </a:prstGeom>
        </p:spPr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9712058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5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Só image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/>
          </p:cNvGraphicFramePr>
          <p:nvPr userDrawn="1">
            <p:custDataLst>
              <p:tags r:id="rId2"/>
            </p:custDataLst>
            <p:extLst/>
          </p:nvPr>
        </p:nvGraphicFramePr>
        <p:xfrm>
          <a:off x="2077" y="2076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4405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077" y="2076"/>
                        <a:ext cx="2074" cy="20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 Placeholder 1"/>
          <p:cNvSpPr>
            <a:spLocks noGrp="1"/>
          </p:cNvSpPr>
          <p:nvPr>
            <p:ph type="sldNum" sz="quarter" idx="12"/>
          </p:nvPr>
        </p:nvSpPr>
        <p:spPr>
          <a:xfrm>
            <a:off x="11212667" y="6443493"/>
            <a:ext cx="698142" cy="212963"/>
          </a:xfrm>
          <a:prstGeom prst="rect">
            <a:avLst/>
          </a:prstGeom>
        </p:spPr>
        <p:txBody>
          <a:bodyPr anchor="ctr"/>
          <a:lstStyle>
            <a:lvl1pPr>
              <a:defRPr sz="1470">
                <a:latin typeface="Simplon BP Regular" pitchFamily="2" charset="0"/>
              </a:defRPr>
            </a:lvl1pPr>
          </a:lstStyle>
          <a:p>
            <a:pPr algn="ctr"/>
            <a:fld id="{B2531E6E-6E7D-4785-BFDF-BAABB6C6AA33}" type="slidenum">
              <a:rPr lang="pt-BR" smtClean="0">
                <a:solidFill>
                  <a:prstClr val="black"/>
                </a:solidFill>
              </a:rPr>
              <a:pPr algn="ctr"/>
              <a:t>‹nº›</a:t>
            </a:fld>
            <a:endParaRPr lang="pt-BR" dirty="0">
              <a:solidFill>
                <a:prstClr val="black"/>
              </a:solidFill>
            </a:endParaRPr>
          </a:p>
        </p:txBody>
      </p:sp>
      <p:sp>
        <p:nvSpPr>
          <p:cNvPr id="7" name="Title 2"/>
          <p:cNvSpPr>
            <a:spLocks noGrp="1"/>
          </p:cNvSpPr>
          <p:nvPr>
            <p:ph type="title"/>
          </p:nvPr>
        </p:nvSpPr>
        <p:spPr>
          <a:xfrm>
            <a:off x="82982" y="81557"/>
            <a:ext cx="10983529" cy="564533"/>
          </a:xfrm>
          <a:prstGeom prst="rect">
            <a:avLst/>
          </a:prstGeom>
        </p:spPr>
        <p:txBody>
          <a:bodyPr lIns="0" tIns="0" rIns="0" bIns="0" anchor="ctr" anchorCtr="0"/>
          <a:lstStyle>
            <a:lvl1pPr>
              <a:defRPr sz="2646" b="0" i="0">
                <a:solidFill>
                  <a:srgbClr val="FF7900"/>
                </a:solidFill>
                <a:latin typeface="Simplon Oi Headline" pitchFamily="50" charset="0"/>
              </a:defRPr>
            </a:lvl1pPr>
          </a:lstStyle>
          <a:p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75232727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1978" y="358895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1977" y="1854630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7455" y="6371917"/>
            <a:ext cx="10176095" cy="28226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68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3552" y="6371917"/>
            <a:ext cx="578105" cy="28226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68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1978" y="819634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14">
                <a:solidFill>
                  <a:srgbClr val="4D4D4D"/>
                </a:solidFill>
              </a:defRPr>
            </a:lvl1pPr>
            <a:lvl2pPr marL="246870" indent="0">
              <a:buNone/>
              <a:defRPr sz="2744">
                <a:solidFill>
                  <a:schemeClr val="accent3"/>
                </a:solidFill>
              </a:defRPr>
            </a:lvl2pPr>
            <a:lvl3pPr marL="477145" indent="0">
              <a:buNone/>
              <a:defRPr sz="2744">
                <a:solidFill>
                  <a:schemeClr val="accent3"/>
                </a:solidFill>
              </a:defRPr>
            </a:lvl3pPr>
            <a:lvl4pPr marL="707419" indent="0">
              <a:buNone/>
              <a:defRPr sz="2744">
                <a:solidFill>
                  <a:schemeClr val="accent3"/>
                </a:solidFill>
              </a:defRPr>
            </a:lvl4pPr>
            <a:lvl5pPr marL="937694" indent="0">
              <a:buNone/>
              <a:defRPr sz="2744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44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44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44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44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44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44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44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44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44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3055268230"/>
      </p:ext>
    </p:extLst>
  </p:cSld>
  <p:clrMapOvr>
    <a:masterClrMapping/>
  </p:clrMapOvr>
</p:sldLayout>
</file>

<file path=ppt/slideLayouts/slideLayout17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1978" y="358895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7455" y="6371917"/>
            <a:ext cx="10176095" cy="28226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68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3552" y="6371917"/>
            <a:ext cx="578105" cy="28226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68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1978" y="819634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14">
                <a:solidFill>
                  <a:srgbClr val="4D4D4D"/>
                </a:solidFill>
              </a:defRPr>
            </a:lvl1pPr>
            <a:lvl2pPr marL="246870" indent="0">
              <a:buNone/>
              <a:defRPr sz="2744">
                <a:solidFill>
                  <a:schemeClr val="accent3"/>
                </a:solidFill>
              </a:defRPr>
            </a:lvl2pPr>
            <a:lvl3pPr marL="477145" indent="0">
              <a:buNone/>
              <a:defRPr sz="2744">
                <a:solidFill>
                  <a:schemeClr val="accent3"/>
                </a:solidFill>
              </a:defRPr>
            </a:lvl3pPr>
            <a:lvl4pPr marL="707419" indent="0">
              <a:buNone/>
              <a:defRPr sz="2744">
                <a:solidFill>
                  <a:schemeClr val="accent3"/>
                </a:solidFill>
              </a:defRPr>
            </a:lvl4pPr>
            <a:lvl5pPr marL="937694" indent="0">
              <a:buNone/>
              <a:defRPr sz="2744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44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44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44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44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44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44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44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44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44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924494258"/>
      </p:ext>
    </p:extLst>
  </p:cSld>
  <p:clrMapOvr>
    <a:masterClrMapping/>
  </p:clrMapOvr>
</p:sldLayout>
</file>

<file path=ppt/slideLayouts/slideLayout17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1978" y="358895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1977" y="1854630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7455" y="6371917"/>
            <a:ext cx="10176095" cy="28226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68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3552" y="6371917"/>
            <a:ext cx="578105" cy="28226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68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1978" y="1290131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14">
                <a:solidFill>
                  <a:srgbClr val="4D4D4D"/>
                </a:solidFill>
              </a:defRPr>
            </a:lvl1pPr>
            <a:lvl2pPr marL="246870" indent="0">
              <a:buNone/>
              <a:defRPr sz="2744">
                <a:solidFill>
                  <a:schemeClr val="accent3"/>
                </a:solidFill>
              </a:defRPr>
            </a:lvl2pPr>
            <a:lvl3pPr marL="477145" indent="0">
              <a:buNone/>
              <a:defRPr sz="2744">
                <a:solidFill>
                  <a:schemeClr val="accent3"/>
                </a:solidFill>
              </a:defRPr>
            </a:lvl3pPr>
            <a:lvl4pPr marL="707419" indent="0">
              <a:buNone/>
              <a:defRPr sz="2744">
                <a:solidFill>
                  <a:schemeClr val="accent3"/>
                </a:solidFill>
              </a:defRPr>
            </a:lvl4pPr>
            <a:lvl5pPr marL="937694" indent="0">
              <a:buNone/>
              <a:defRPr sz="2744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44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44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44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44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44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44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44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44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44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3819139745"/>
      </p:ext>
    </p:extLst>
  </p:cSld>
  <p:clrMapOvr>
    <a:masterClrMapping/>
  </p:clrMapOvr>
</p:sldLayout>
</file>

<file path=ppt/slideLayouts/slideLayout17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1977" y="1854630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7455" y="6371917"/>
            <a:ext cx="10176095" cy="28226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68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3552" y="6371917"/>
            <a:ext cx="578105" cy="28226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68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62744650"/>
      </p:ext>
    </p:extLst>
  </p:cSld>
  <p:clrMapOvr>
    <a:masterClrMapping/>
  </p:clrMapOvr>
</p:sldLayout>
</file>

<file path=ppt/slideLayouts/slideLayout17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7455" y="6371917"/>
            <a:ext cx="10176095" cy="28226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68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3552" y="6371917"/>
            <a:ext cx="578105" cy="28226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68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22879549"/>
      </p:ext>
    </p:extLst>
  </p:cSld>
  <p:clrMapOvr>
    <a:masterClrMapping/>
  </p:clrMapOvr>
</p:sldLayout>
</file>

<file path=ppt/slideLayouts/slideLayout17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orytelling: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79" y="1854630"/>
            <a:ext cx="5080446" cy="451832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854630"/>
            <a:ext cx="5080448" cy="451832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7455" y="6371917"/>
            <a:ext cx="10176095" cy="28226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68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3552" y="6371917"/>
            <a:ext cx="578105" cy="28226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68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1978" y="1290131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14">
                <a:solidFill>
                  <a:srgbClr val="4D4D4D"/>
                </a:solidFill>
              </a:defRPr>
            </a:lvl1pPr>
            <a:lvl2pPr marL="246870" indent="0">
              <a:buNone/>
              <a:defRPr sz="2744">
                <a:solidFill>
                  <a:schemeClr val="accent3"/>
                </a:solidFill>
              </a:defRPr>
            </a:lvl2pPr>
            <a:lvl3pPr marL="477145" indent="0">
              <a:buNone/>
              <a:defRPr sz="2744">
                <a:solidFill>
                  <a:schemeClr val="accent3"/>
                </a:solidFill>
              </a:defRPr>
            </a:lvl3pPr>
            <a:lvl4pPr marL="707419" indent="0">
              <a:buNone/>
              <a:defRPr sz="2744">
                <a:solidFill>
                  <a:schemeClr val="accent3"/>
                </a:solidFill>
              </a:defRPr>
            </a:lvl4pPr>
            <a:lvl5pPr marL="937694" indent="0">
              <a:buNone/>
              <a:defRPr sz="2744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44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44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44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44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44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44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44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44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44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397637886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17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m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076" y="2076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6529" name="Slide do think-cell" r:id="rId4" imgW="270" imgH="270" progId="TCLayout.ActiveDocument.1">
                  <p:embed/>
                </p:oleObj>
              </mc:Choice>
              <mc:Fallback>
                <p:oleObj name="Slide do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076" y="2076"/>
                        <a:ext cx="2074" cy="20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1978" y="358895"/>
            <a:ext cx="10725159" cy="931463"/>
          </a:xfrm>
        </p:spPr>
        <p:txBody>
          <a:bodyPr/>
          <a:lstStyle/>
          <a:p>
            <a:r>
              <a:rPr lang="pt-PT" dirty="0" err="1"/>
              <a:t>Click</a:t>
            </a:r>
            <a:r>
              <a:rPr lang="pt-PT" dirty="0"/>
              <a:t> to </a:t>
            </a:r>
            <a:r>
              <a:rPr lang="pt-PT" dirty="0" err="1"/>
              <a:t>edit</a:t>
            </a:r>
            <a:r>
              <a:rPr lang="pt-PT" dirty="0"/>
              <a:t> </a:t>
            </a:r>
            <a:r>
              <a:rPr lang="pt-PT" dirty="0" err="1"/>
              <a:t>title</a:t>
            </a:r>
            <a:r>
              <a:rPr lang="pt-PT" dirty="0"/>
              <a:t> </a:t>
            </a:r>
            <a:r>
              <a:rPr lang="pt-PT" dirty="0" err="1"/>
              <a:t>style</a:t>
            </a:r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7455" y="6371917"/>
            <a:ext cx="10176095" cy="28226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68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3552" y="6371917"/>
            <a:ext cx="578105" cy="28226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68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06292423"/>
      </p:ext>
    </p:extLst>
  </p:cSld>
  <p:clrMapOvr>
    <a:masterClrMapping/>
  </p:clrMapOvr>
</p:sldLayout>
</file>

<file path=ppt/slideLayouts/slideLayout17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mple_bod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1978" y="358895"/>
            <a:ext cx="10725159" cy="931463"/>
          </a:xfrm>
        </p:spPr>
        <p:txBody>
          <a:bodyPr/>
          <a:lstStyle/>
          <a:p>
            <a:r>
              <a:rPr lang="pt-PT" dirty="0" err="1"/>
              <a:t>Click</a:t>
            </a:r>
            <a:r>
              <a:rPr lang="pt-PT" dirty="0"/>
              <a:t> to </a:t>
            </a:r>
            <a:r>
              <a:rPr lang="pt-PT" dirty="0" err="1"/>
              <a:t>edit</a:t>
            </a:r>
            <a:r>
              <a:rPr lang="pt-PT" dirty="0"/>
              <a:t> </a:t>
            </a:r>
            <a:r>
              <a:rPr lang="pt-PT" dirty="0" err="1"/>
              <a:t>title</a:t>
            </a:r>
            <a:r>
              <a:rPr lang="pt-PT" dirty="0"/>
              <a:t> </a:t>
            </a:r>
            <a:r>
              <a:rPr lang="pt-PT" dirty="0" err="1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1977" y="1290358"/>
            <a:ext cx="10725159" cy="5082597"/>
          </a:xfrm>
        </p:spPr>
        <p:txBody>
          <a:bodyPr/>
          <a:lstStyle/>
          <a:p>
            <a:pPr lvl="0"/>
            <a:r>
              <a:rPr lang="pt-PT" dirty="0" err="1"/>
              <a:t>Click</a:t>
            </a:r>
            <a:r>
              <a:rPr lang="pt-PT" dirty="0"/>
              <a:t> to </a:t>
            </a:r>
            <a:r>
              <a:rPr lang="pt-PT" dirty="0" err="1"/>
              <a:t>edit</a:t>
            </a:r>
            <a:r>
              <a:rPr lang="pt-PT" dirty="0"/>
              <a:t> Master </a:t>
            </a:r>
            <a:r>
              <a:rPr lang="pt-PT" dirty="0" err="1"/>
              <a:t>text</a:t>
            </a:r>
            <a:r>
              <a:rPr lang="pt-PT" dirty="0"/>
              <a:t> </a:t>
            </a:r>
            <a:r>
              <a:rPr lang="pt-PT" dirty="0" err="1"/>
              <a:t>styles</a:t>
            </a:r>
            <a:endParaRPr lang="pt-PT" dirty="0"/>
          </a:p>
          <a:p>
            <a:pPr lvl="1"/>
            <a:r>
              <a:rPr lang="pt-PT" dirty="0" err="1"/>
              <a:t>Second</a:t>
            </a:r>
            <a:r>
              <a:rPr lang="pt-PT" dirty="0"/>
              <a:t> </a:t>
            </a:r>
            <a:r>
              <a:rPr lang="pt-PT" dirty="0" err="1"/>
              <a:t>level</a:t>
            </a:r>
            <a:endParaRPr lang="pt-PT" dirty="0"/>
          </a:p>
          <a:p>
            <a:pPr lvl="2"/>
            <a:r>
              <a:rPr lang="pt-PT" dirty="0" err="1"/>
              <a:t>Third</a:t>
            </a:r>
            <a:r>
              <a:rPr lang="pt-PT" dirty="0"/>
              <a:t> </a:t>
            </a:r>
            <a:r>
              <a:rPr lang="pt-PT" dirty="0" err="1"/>
              <a:t>level</a:t>
            </a:r>
            <a:endParaRPr lang="pt-PT" dirty="0"/>
          </a:p>
          <a:p>
            <a:pPr lvl="3"/>
            <a:r>
              <a:rPr lang="pt-PT" dirty="0" err="1"/>
              <a:t>Fourth</a:t>
            </a:r>
            <a:r>
              <a:rPr lang="pt-PT" dirty="0"/>
              <a:t> </a:t>
            </a:r>
            <a:r>
              <a:rPr lang="pt-PT" dirty="0" err="1"/>
              <a:t>level</a:t>
            </a:r>
            <a:endParaRPr lang="pt-PT" dirty="0"/>
          </a:p>
          <a:p>
            <a:pPr lvl="4"/>
            <a:r>
              <a:rPr lang="pt-PT" dirty="0" err="1"/>
              <a:t>Fifth</a:t>
            </a:r>
            <a:r>
              <a:rPr lang="pt-PT" dirty="0"/>
              <a:t> </a:t>
            </a:r>
            <a:r>
              <a:rPr lang="pt-PT" dirty="0" err="1"/>
              <a:t>level</a:t>
            </a:r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7455" y="6371917"/>
            <a:ext cx="10176095" cy="28226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68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3552" y="6371917"/>
            <a:ext cx="578105" cy="28226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68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84525626"/>
      </p:ext>
    </p:extLst>
  </p:cSld>
  <p:clrMapOvr>
    <a:masterClrMapping/>
  </p:clrMapOvr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80" y="1854632"/>
            <a:ext cx="5080446" cy="451832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854661"/>
            <a:ext cx="5080448" cy="451832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2008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6182" indent="0">
              <a:buNone/>
              <a:defRPr sz="2700">
                <a:solidFill>
                  <a:schemeClr val="accent3"/>
                </a:solidFill>
              </a:defRPr>
            </a:lvl2pPr>
            <a:lvl3pPr marL="475813" indent="0">
              <a:buNone/>
              <a:defRPr sz="2700">
                <a:solidFill>
                  <a:schemeClr val="accent3"/>
                </a:solidFill>
              </a:defRPr>
            </a:lvl3pPr>
            <a:lvl4pPr marL="705448" indent="0">
              <a:buNone/>
              <a:defRPr sz="2700">
                <a:solidFill>
                  <a:schemeClr val="accent3"/>
                </a:solidFill>
              </a:defRPr>
            </a:lvl4pPr>
            <a:lvl5pPr marL="935089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14050800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17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mple_bodydou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/>
              <a:t>Click</a:t>
            </a:r>
            <a:r>
              <a:rPr lang="pt-PT" dirty="0"/>
              <a:t> to </a:t>
            </a:r>
            <a:r>
              <a:rPr lang="pt-PT" dirty="0" err="1"/>
              <a:t>edit</a:t>
            </a:r>
            <a:r>
              <a:rPr lang="pt-PT" dirty="0"/>
              <a:t> </a:t>
            </a:r>
            <a:r>
              <a:rPr lang="pt-PT" dirty="0" err="1"/>
              <a:t>title</a:t>
            </a:r>
            <a:r>
              <a:rPr lang="pt-PT" dirty="0"/>
              <a:t> </a:t>
            </a:r>
            <a:r>
              <a:rPr lang="pt-PT" dirty="0" err="1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79" y="1290358"/>
            <a:ext cx="5080446" cy="5082596"/>
          </a:xfrm>
        </p:spPr>
        <p:txBody>
          <a:bodyPr/>
          <a:lstStyle/>
          <a:p>
            <a:pPr lvl="0"/>
            <a:r>
              <a:rPr lang="pt-PT"/>
              <a:t>Click</a:t>
            </a:r>
            <a:r>
              <a:rPr lang="pt-PT" dirty="0"/>
              <a:t> to </a:t>
            </a:r>
            <a:r>
              <a:rPr lang="pt-PT" dirty="0" err="1"/>
              <a:t>edit</a:t>
            </a:r>
            <a:r>
              <a:rPr lang="pt-PT" dirty="0"/>
              <a:t> Master </a:t>
            </a:r>
            <a:r>
              <a:rPr lang="pt-PT" dirty="0" err="1"/>
              <a:t>text</a:t>
            </a:r>
            <a:r>
              <a:rPr lang="pt-PT" dirty="0"/>
              <a:t> </a:t>
            </a:r>
            <a:r>
              <a:rPr lang="pt-PT" dirty="0" err="1"/>
              <a:t>styles</a:t>
            </a:r>
            <a:endParaRPr lang="pt-PT" dirty="0"/>
          </a:p>
          <a:p>
            <a:pPr lvl="1"/>
            <a:r>
              <a:rPr lang="pt-PT" dirty="0" err="1"/>
              <a:t>Second</a:t>
            </a:r>
            <a:r>
              <a:rPr lang="pt-PT" dirty="0"/>
              <a:t> </a:t>
            </a:r>
            <a:r>
              <a:rPr lang="pt-PT" dirty="0" err="1"/>
              <a:t>level</a:t>
            </a:r>
            <a:endParaRPr lang="pt-PT" dirty="0"/>
          </a:p>
          <a:p>
            <a:pPr lvl="2"/>
            <a:r>
              <a:rPr lang="pt-PT" dirty="0" err="1"/>
              <a:t>Third</a:t>
            </a:r>
            <a:r>
              <a:rPr lang="pt-PT" dirty="0"/>
              <a:t> </a:t>
            </a:r>
            <a:r>
              <a:rPr lang="pt-PT" dirty="0" err="1"/>
              <a:t>level</a:t>
            </a:r>
            <a:endParaRPr lang="pt-PT" dirty="0"/>
          </a:p>
          <a:p>
            <a:pPr lvl="3"/>
            <a:r>
              <a:rPr lang="pt-PT" dirty="0" err="1"/>
              <a:t>Fourth</a:t>
            </a:r>
            <a:r>
              <a:rPr lang="pt-PT" dirty="0"/>
              <a:t> </a:t>
            </a:r>
            <a:r>
              <a:rPr lang="pt-PT" dirty="0" err="1"/>
              <a:t>level</a:t>
            </a:r>
            <a:endParaRPr lang="pt-PT" dirty="0"/>
          </a:p>
          <a:p>
            <a:pPr lvl="4"/>
            <a:r>
              <a:rPr lang="pt-PT" dirty="0" err="1"/>
              <a:t>Fifth</a:t>
            </a:r>
            <a:r>
              <a:rPr lang="pt-PT" dirty="0"/>
              <a:t> </a:t>
            </a:r>
            <a:r>
              <a:rPr lang="pt-PT" dirty="0" err="1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290358"/>
            <a:ext cx="5080448" cy="5082597"/>
          </a:xfrm>
        </p:spPr>
        <p:txBody>
          <a:bodyPr/>
          <a:lstStyle/>
          <a:p>
            <a:pPr lvl="0"/>
            <a:r>
              <a:rPr lang="pt-PT"/>
              <a:t>Click to edit Master text styles</a:t>
            </a:r>
          </a:p>
          <a:p>
            <a:pPr lvl="1"/>
            <a:r>
              <a:rPr lang="pt-PT"/>
              <a:t>Second level</a:t>
            </a:r>
          </a:p>
          <a:p>
            <a:pPr lvl="2"/>
            <a:r>
              <a:rPr lang="pt-PT"/>
              <a:t>Third level</a:t>
            </a:r>
          </a:p>
          <a:p>
            <a:pPr lvl="3"/>
            <a:r>
              <a:rPr lang="pt-PT"/>
              <a:t>Fourth level</a:t>
            </a:r>
          </a:p>
          <a:p>
            <a:pPr lvl="4"/>
            <a:r>
              <a:rPr lang="pt-PT"/>
              <a:t>Fifth level</a:t>
            </a:r>
            <a:endParaRPr lang="en-US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7455" y="6371917"/>
            <a:ext cx="10176095" cy="28226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68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3552" y="6371917"/>
            <a:ext cx="578105" cy="28226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68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8737570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17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076" y="2076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7553" name="Slide do think-cell" r:id="rId4" imgW="270" imgH="270" progId="TCLayout.ActiveDocument.1">
                  <p:embed/>
                </p:oleObj>
              </mc:Choice>
              <mc:Fallback>
                <p:oleObj name="Slide do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076" y="2076"/>
                        <a:ext cx="2074" cy="20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1978" y="358895"/>
            <a:ext cx="10725159" cy="931463"/>
          </a:xfrm>
        </p:spPr>
        <p:txBody>
          <a:bodyPr/>
          <a:lstStyle/>
          <a:p>
            <a:r>
              <a:rPr lang="pt-PT" dirty="0" err="1"/>
              <a:t>Click</a:t>
            </a:r>
            <a:r>
              <a:rPr lang="pt-PT" dirty="0"/>
              <a:t> to </a:t>
            </a:r>
            <a:r>
              <a:rPr lang="pt-PT" dirty="0" err="1"/>
              <a:t>edit</a:t>
            </a:r>
            <a:r>
              <a:rPr lang="pt-PT" dirty="0"/>
              <a:t> </a:t>
            </a:r>
            <a:r>
              <a:rPr lang="pt-PT" dirty="0" err="1"/>
              <a:t>title</a:t>
            </a:r>
            <a:r>
              <a:rPr lang="pt-PT" dirty="0"/>
              <a:t> </a:t>
            </a:r>
            <a:r>
              <a:rPr lang="pt-PT" dirty="0" err="1"/>
              <a:t>style</a:t>
            </a:r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7455" y="6371917"/>
            <a:ext cx="10176095" cy="28226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68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3552" y="6371917"/>
            <a:ext cx="578105" cy="28226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68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5" hasCustomPrompt="1"/>
          </p:nvPr>
        </p:nvSpPr>
        <p:spPr>
          <a:xfrm>
            <a:off x="611978" y="161814"/>
            <a:ext cx="10725159" cy="188783"/>
          </a:xfrm>
        </p:spPr>
        <p:txBody>
          <a:bodyPr anchor="b"/>
          <a:lstStyle>
            <a:lvl1pPr marL="0" indent="0">
              <a:buNone/>
              <a:defRPr b="1">
                <a:solidFill>
                  <a:schemeClr val="tx2"/>
                </a:solidFill>
              </a:defRPr>
            </a:lvl1pPr>
            <a:lvl2pPr marL="246870" indent="0">
              <a:buNone/>
              <a:defRPr b="1"/>
            </a:lvl2pPr>
            <a:lvl3pPr marL="477145" indent="0">
              <a:buNone/>
              <a:defRPr b="1"/>
            </a:lvl3pPr>
            <a:lvl4pPr marL="707419" indent="0">
              <a:buNone/>
              <a:defRPr b="1"/>
            </a:lvl4pPr>
            <a:lvl5pPr marL="937694" indent="0">
              <a:buNone/>
              <a:defRPr b="1"/>
            </a:lvl5pPr>
          </a:lstStyle>
          <a:p>
            <a:pPr lvl="0"/>
            <a:r>
              <a:rPr lang="en-US" dirty="0"/>
              <a:t>&lt;</a:t>
            </a:r>
            <a:r>
              <a:rPr lang="en-US" dirty="0" err="1"/>
              <a:t>subtitulo</a:t>
            </a:r>
            <a:r>
              <a:rPr lang="en-US" dirty="0"/>
              <a:t>&gt;</a:t>
            </a:r>
          </a:p>
        </p:txBody>
      </p:sp>
    </p:spTree>
    <p:extLst>
      <p:ext uri="{BB962C8B-B14F-4D97-AF65-F5344CB8AC3E}">
        <p14:creationId xmlns:p14="http://schemas.microsoft.com/office/powerpoint/2010/main" val="806300698"/>
      </p:ext>
    </p:extLst>
  </p:cSld>
  <p:clrMapOvr>
    <a:masterClrMapping/>
  </p:clrMapOvr>
</p:sldLayout>
</file>

<file path=ppt/slideLayouts/slideLayout17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_bod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1978" y="358895"/>
            <a:ext cx="10725159" cy="931463"/>
          </a:xfrm>
        </p:spPr>
        <p:txBody>
          <a:bodyPr/>
          <a:lstStyle/>
          <a:p>
            <a:r>
              <a:rPr lang="pt-PT" dirty="0" err="1"/>
              <a:t>Click</a:t>
            </a:r>
            <a:r>
              <a:rPr lang="pt-PT" dirty="0"/>
              <a:t> to </a:t>
            </a:r>
            <a:r>
              <a:rPr lang="pt-PT" dirty="0" err="1"/>
              <a:t>edit</a:t>
            </a:r>
            <a:r>
              <a:rPr lang="pt-PT" dirty="0"/>
              <a:t> </a:t>
            </a:r>
            <a:r>
              <a:rPr lang="pt-PT" dirty="0" err="1"/>
              <a:t>title</a:t>
            </a:r>
            <a:r>
              <a:rPr lang="pt-PT" dirty="0"/>
              <a:t> </a:t>
            </a:r>
            <a:r>
              <a:rPr lang="pt-PT" dirty="0" err="1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1977" y="1290358"/>
            <a:ext cx="10725159" cy="5082597"/>
          </a:xfrm>
        </p:spPr>
        <p:txBody>
          <a:bodyPr/>
          <a:lstStyle/>
          <a:p>
            <a:pPr lvl="0"/>
            <a:r>
              <a:rPr lang="pt-PT" dirty="0" err="1"/>
              <a:t>Click</a:t>
            </a:r>
            <a:r>
              <a:rPr lang="pt-PT" dirty="0"/>
              <a:t> to </a:t>
            </a:r>
            <a:r>
              <a:rPr lang="pt-PT" dirty="0" err="1"/>
              <a:t>edit</a:t>
            </a:r>
            <a:r>
              <a:rPr lang="pt-PT" dirty="0"/>
              <a:t> Master </a:t>
            </a:r>
            <a:r>
              <a:rPr lang="pt-PT" dirty="0" err="1"/>
              <a:t>text</a:t>
            </a:r>
            <a:r>
              <a:rPr lang="pt-PT" dirty="0"/>
              <a:t> </a:t>
            </a:r>
            <a:r>
              <a:rPr lang="pt-PT" dirty="0" err="1"/>
              <a:t>styles</a:t>
            </a:r>
            <a:endParaRPr lang="pt-PT" dirty="0"/>
          </a:p>
          <a:p>
            <a:pPr lvl="1"/>
            <a:r>
              <a:rPr lang="pt-PT" dirty="0" err="1"/>
              <a:t>Second</a:t>
            </a:r>
            <a:r>
              <a:rPr lang="pt-PT" dirty="0"/>
              <a:t> </a:t>
            </a:r>
            <a:r>
              <a:rPr lang="pt-PT" dirty="0" err="1"/>
              <a:t>level</a:t>
            </a:r>
            <a:endParaRPr lang="pt-PT" dirty="0"/>
          </a:p>
          <a:p>
            <a:pPr lvl="2"/>
            <a:r>
              <a:rPr lang="pt-PT" dirty="0" err="1"/>
              <a:t>Third</a:t>
            </a:r>
            <a:r>
              <a:rPr lang="pt-PT" dirty="0"/>
              <a:t> </a:t>
            </a:r>
            <a:r>
              <a:rPr lang="pt-PT" dirty="0" err="1"/>
              <a:t>level</a:t>
            </a:r>
            <a:endParaRPr lang="pt-PT" dirty="0"/>
          </a:p>
          <a:p>
            <a:pPr lvl="3"/>
            <a:r>
              <a:rPr lang="pt-PT" dirty="0" err="1"/>
              <a:t>Fourth</a:t>
            </a:r>
            <a:r>
              <a:rPr lang="pt-PT" dirty="0"/>
              <a:t> </a:t>
            </a:r>
            <a:r>
              <a:rPr lang="pt-PT" dirty="0" err="1"/>
              <a:t>level</a:t>
            </a:r>
            <a:endParaRPr lang="pt-PT" dirty="0"/>
          </a:p>
          <a:p>
            <a:pPr lvl="4"/>
            <a:r>
              <a:rPr lang="pt-PT" dirty="0" err="1"/>
              <a:t>Fifth</a:t>
            </a:r>
            <a:r>
              <a:rPr lang="pt-PT" dirty="0"/>
              <a:t> </a:t>
            </a:r>
            <a:r>
              <a:rPr lang="pt-PT" dirty="0" err="1"/>
              <a:t>level</a:t>
            </a:r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7455" y="6371917"/>
            <a:ext cx="10176095" cy="28226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68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3552" y="6371917"/>
            <a:ext cx="578105" cy="28226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68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5" hasCustomPrompt="1"/>
          </p:nvPr>
        </p:nvSpPr>
        <p:spPr>
          <a:xfrm>
            <a:off x="611978" y="161814"/>
            <a:ext cx="10725159" cy="188783"/>
          </a:xfrm>
        </p:spPr>
        <p:txBody>
          <a:bodyPr anchor="b"/>
          <a:lstStyle>
            <a:lvl1pPr marL="0" indent="0">
              <a:buNone/>
              <a:defRPr b="1">
                <a:solidFill>
                  <a:schemeClr val="tx2"/>
                </a:solidFill>
              </a:defRPr>
            </a:lvl1pPr>
            <a:lvl2pPr marL="246870" indent="0">
              <a:buNone/>
              <a:defRPr b="1"/>
            </a:lvl2pPr>
            <a:lvl3pPr marL="477145" indent="0">
              <a:buNone/>
              <a:defRPr b="1"/>
            </a:lvl3pPr>
            <a:lvl4pPr marL="707419" indent="0">
              <a:buNone/>
              <a:defRPr b="1"/>
            </a:lvl4pPr>
            <a:lvl5pPr marL="937694" indent="0">
              <a:buNone/>
              <a:defRPr b="1"/>
            </a:lvl5pPr>
          </a:lstStyle>
          <a:p>
            <a:pPr lvl="0"/>
            <a:r>
              <a:rPr lang="en-US" dirty="0"/>
              <a:t>&lt;</a:t>
            </a:r>
            <a:r>
              <a:rPr lang="en-US" dirty="0" err="1"/>
              <a:t>subtitulo</a:t>
            </a:r>
            <a:r>
              <a:rPr lang="en-US" dirty="0"/>
              <a:t>&gt;</a:t>
            </a:r>
          </a:p>
        </p:txBody>
      </p:sp>
    </p:spTree>
    <p:extLst>
      <p:ext uri="{BB962C8B-B14F-4D97-AF65-F5344CB8AC3E}">
        <p14:creationId xmlns:p14="http://schemas.microsoft.com/office/powerpoint/2010/main" val="3746040867"/>
      </p:ext>
    </p:extLst>
  </p:cSld>
  <p:clrMapOvr>
    <a:masterClrMapping/>
  </p:clrMapOvr>
</p:sldLayout>
</file>

<file path=ppt/slideLayouts/slideLayout17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_bodydou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/>
              <a:t>Click</a:t>
            </a:r>
            <a:r>
              <a:rPr lang="pt-PT" dirty="0"/>
              <a:t> to </a:t>
            </a:r>
            <a:r>
              <a:rPr lang="pt-PT" dirty="0" err="1"/>
              <a:t>edit</a:t>
            </a:r>
            <a:r>
              <a:rPr lang="pt-PT" dirty="0"/>
              <a:t> </a:t>
            </a:r>
            <a:r>
              <a:rPr lang="pt-PT" dirty="0" err="1"/>
              <a:t>title</a:t>
            </a:r>
            <a:r>
              <a:rPr lang="pt-PT" dirty="0"/>
              <a:t> </a:t>
            </a:r>
            <a:r>
              <a:rPr lang="pt-PT" dirty="0" err="1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79" y="1290358"/>
            <a:ext cx="5080446" cy="5082596"/>
          </a:xfrm>
        </p:spPr>
        <p:txBody>
          <a:bodyPr/>
          <a:lstStyle/>
          <a:p>
            <a:pPr lvl="0"/>
            <a:r>
              <a:rPr lang="pt-PT"/>
              <a:t>Click</a:t>
            </a:r>
            <a:r>
              <a:rPr lang="pt-PT" dirty="0"/>
              <a:t> to </a:t>
            </a:r>
            <a:r>
              <a:rPr lang="pt-PT" dirty="0" err="1"/>
              <a:t>edit</a:t>
            </a:r>
            <a:r>
              <a:rPr lang="pt-PT" dirty="0"/>
              <a:t> Master </a:t>
            </a:r>
            <a:r>
              <a:rPr lang="pt-PT" dirty="0" err="1"/>
              <a:t>text</a:t>
            </a:r>
            <a:r>
              <a:rPr lang="pt-PT" dirty="0"/>
              <a:t> </a:t>
            </a:r>
            <a:r>
              <a:rPr lang="pt-PT" dirty="0" err="1"/>
              <a:t>styles</a:t>
            </a:r>
            <a:endParaRPr lang="pt-PT" dirty="0"/>
          </a:p>
          <a:p>
            <a:pPr lvl="1"/>
            <a:r>
              <a:rPr lang="pt-PT" dirty="0" err="1"/>
              <a:t>Second</a:t>
            </a:r>
            <a:r>
              <a:rPr lang="pt-PT" dirty="0"/>
              <a:t> </a:t>
            </a:r>
            <a:r>
              <a:rPr lang="pt-PT" dirty="0" err="1"/>
              <a:t>level</a:t>
            </a:r>
            <a:endParaRPr lang="pt-PT" dirty="0"/>
          </a:p>
          <a:p>
            <a:pPr lvl="2"/>
            <a:r>
              <a:rPr lang="pt-PT" dirty="0" err="1"/>
              <a:t>Third</a:t>
            </a:r>
            <a:r>
              <a:rPr lang="pt-PT" dirty="0"/>
              <a:t> </a:t>
            </a:r>
            <a:r>
              <a:rPr lang="pt-PT" dirty="0" err="1"/>
              <a:t>level</a:t>
            </a:r>
            <a:endParaRPr lang="pt-PT" dirty="0"/>
          </a:p>
          <a:p>
            <a:pPr lvl="3"/>
            <a:r>
              <a:rPr lang="pt-PT" dirty="0" err="1"/>
              <a:t>Fourth</a:t>
            </a:r>
            <a:r>
              <a:rPr lang="pt-PT" dirty="0"/>
              <a:t> </a:t>
            </a:r>
            <a:r>
              <a:rPr lang="pt-PT" dirty="0" err="1"/>
              <a:t>level</a:t>
            </a:r>
            <a:endParaRPr lang="pt-PT" dirty="0"/>
          </a:p>
          <a:p>
            <a:pPr lvl="4"/>
            <a:r>
              <a:rPr lang="pt-PT" dirty="0" err="1"/>
              <a:t>Fifth</a:t>
            </a:r>
            <a:r>
              <a:rPr lang="pt-PT" dirty="0"/>
              <a:t> </a:t>
            </a:r>
            <a:r>
              <a:rPr lang="pt-PT" dirty="0" err="1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290358"/>
            <a:ext cx="5080448" cy="5082597"/>
          </a:xfrm>
        </p:spPr>
        <p:txBody>
          <a:bodyPr/>
          <a:lstStyle/>
          <a:p>
            <a:pPr lvl="0"/>
            <a:r>
              <a:rPr lang="pt-PT"/>
              <a:t>Click to edit Master text styles</a:t>
            </a:r>
          </a:p>
          <a:p>
            <a:pPr lvl="1"/>
            <a:r>
              <a:rPr lang="pt-PT"/>
              <a:t>Second level</a:t>
            </a:r>
          </a:p>
          <a:p>
            <a:pPr lvl="2"/>
            <a:r>
              <a:rPr lang="pt-PT"/>
              <a:t>Third level</a:t>
            </a:r>
          </a:p>
          <a:p>
            <a:pPr lvl="3"/>
            <a:r>
              <a:rPr lang="pt-PT"/>
              <a:t>Fourth level</a:t>
            </a:r>
          </a:p>
          <a:p>
            <a:pPr lvl="4"/>
            <a:r>
              <a:rPr lang="pt-PT"/>
              <a:t>Fifth level</a:t>
            </a:r>
            <a:endParaRPr lang="en-US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7455" y="6371917"/>
            <a:ext cx="10176095" cy="28226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68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3552" y="6371917"/>
            <a:ext cx="578105" cy="28226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68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5" hasCustomPrompt="1"/>
          </p:nvPr>
        </p:nvSpPr>
        <p:spPr>
          <a:xfrm>
            <a:off x="611978" y="161814"/>
            <a:ext cx="10725159" cy="188783"/>
          </a:xfrm>
        </p:spPr>
        <p:txBody>
          <a:bodyPr anchor="b"/>
          <a:lstStyle>
            <a:lvl1pPr marL="0" indent="0">
              <a:buNone/>
              <a:defRPr b="1">
                <a:solidFill>
                  <a:schemeClr val="tx2"/>
                </a:solidFill>
              </a:defRPr>
            </a:lvl1pPr>
            <a:lvl2pPr marL="246870" indent="0">
              <a:buNone/>
              <a:defRPr b="1"/>
            </a:lvl2pPr>
            <a:lvl3pPr marL="477145" indent="0">
              <a:buNone/>
              <a:defRPr b="1"/>
            </a:lvl3pPr>
            <a:lvl4pPr marL="707419" indent="0">
              <a:buNone/>
              <a:defRPr b="1"/>
            </a:lvl4pPr>
            <a:lvl5pPr marL="937694" indent="0">
              <a:buNone/>
              <a:defRPr b="1"/>
            </a:lvl5pPr>
          </a:lstStyle>
          <a:p>
            <a:pPr lvl="0"/>
            <a:r>
              <a:rPr lang="en-US" dirty="0"/>
              <a:t>&lt;</a:t>
            </a:r>
            <a:r>
              <a:rPr lang="en-US" dirty="0" err="1"/>
              <a:t>subtitulo</a:t>
            </a:r>
            <a:r>
              <a:rPr lang="en-US" dirty="0"/>
              <a:t>&gt;</a:t>
            </a:r>
          </a:p>
        </p:txBody>
      </p:sp>
    </p:spTree>
    <p:extLst>
      <p:ext uri="{BB962C8B-B14F-4D97-AF65-F5344CB8AC3E}">
        <p14:creationId xmlns:p14="http://schemas.microsoft.com/office/powerpoint/2010/main" val="216587816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17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t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076" y="2076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8577" name="Slide do think-cell" r:id="rId4" imgW="270" imgH="270" progId="TCLayout.ActiveDocument.1">
                  <p:embed/>
                </p:oleObj>
              </mc:Choice>
              <mc:Fallback>
                <p:oleObj name="Slide do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076" y="2076"/>
                        <a:ext cx="2074" cy="20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1978" y="358895"/>
            <a:ext cx="10725159" cy="931463"/>
          </a:xfrm>
        </p:spPr>
        <p:txBody>
          <a:bodyPr/>
          <a:lstStyle/>
          <a:p>
            <a:r>
              <a:rPr lang="pt-PT" dirty="0" err="1"/>
              <a:t>Click</a:t>
            </a:r>
            <a:r>
              <a:rPr lang="pt-PT" dirty="0"/>
              <a:t> to </a:t>
            </a:r>
            <a:r>
              <a:rPr lang="pt-PT" dirty="0" err="1"/>
              <a:t>edit</a:t>
            </a:r>
            <a:r>
              <a:rPr lang="pt-PT" dirty="0"/>
              <a:t> </a:t>
            </a:r>
            <a:r>
              <a:rPr lang="pt-PT" dirty="0" err="1"/>
              <a:t>title</a:t>
            </a:r>
            <a:r>
              <a:rPr lang="pt-PT" dirty="0"/>
              <a:t> </a:t>
            </a:r>
            <a:r>
              <a:rPr lang="pt-PT" dirty="0" err="1"/>
              <a:t>style</a:t>
            </a:r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7455" y="6371917"/>
            <a:ext cx="10176095" cy="28226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68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3552" y="6371917"/>
            <a:ext cx="578105" cy="28226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68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7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1978" y="819634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14">
                <a:solidFill>
                  <a:srgbClr val="4D4D4D"/>
                </a:solidFill>
              </a:defRPr>
            </a:lvl1pPr>
            <a:lvl2pPr marL="246870" indent="0">
              <a:buNone/>
              <a:defRPr sz="2744">
                <a:solidFill>
                  <a:schemeClr val="accent3"/>
                </a:solidFill>
              </a:defRPr>
            </a:lvl2pPr>
            <a:lvl3pPr marL="477145" indent="0">
              <a:buNone/>
              <a:defRPr sz="2744">
                <a:solidFill>
                  <a:schemeClr val="accent3"/>
                </a:solidFill>
              </a:defRPr>
            </a:lvl3pPr>
            <a:lvl4pPr marL="707419" indent="0">
              <a:buNone/>
              <a:defRPr sz="2744">
                <a:solidFill>
                  <a:schemeClr val="accent3"/>
                </a:solidFill>
              </a:defRPr>
            </a:lvl4pPr>
            <a:lvl5pPr marL="937694" indent="0">
              <a:buNone/>
              <a:defRPr sz="2744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44" dirty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44" dirty="0" err="1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44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44" dirty="0" err="1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44" dirty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44" dirty="0" err="1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44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44" dirty="0" err="1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44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447365820"/>
      </p:ext>
    </p:extLst>
  </p:cSld>
  <p:clrMapOvr>
    <a:masterClrMapping/>
  </p:clrMapOvr>
</p:sldLayout>
</file>

<file path=ppt/slideLayouts/slideLayout17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ttom_bod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1978" y="358895"/>
            <a:ext cx="10725159" cy="931463"/>
          </a:xfrm>
        </p:spPr>
        <p:txBody>
          <a:bodyPr/>
          <a:lstStyle/>
          <a:p>
            <a:r>
              <a:rPr lang="pt-PT" dirty="0" err="1"/>
              <a:t>Click</a:t>
            </a:r>
            <a:r>
              <a:rPr lang="pt-PT" dirty="0"/>
              <a:t> to </a:t>
            </a:r>
            <a:r>
              <a:rPr lang="pt-PT" dirty="0" err="1"/>
              <a:t>edit</a:t>
            </a:r>
            <a:r>
              <a:rPr lang="pt-PT" dirty="0"/>
              <a:t> </a:t>
            </a:r>
            <a:r>
              <a:rPr lang="pt-PT" dirty="0" err="1"/>
              <a:t>title</a:t>
            </a:r>
            <a:r>
              <a:rPr lang="pt-PT" dirty="0"/>
              <a:t> </a:t>
            </a:r>
            <a:r>
              <a:rPr lang="pt-PT" dirty="0" err="1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1977" y="1290358"/>
            <a:ext cx="10725159" cy="5082597"/>
          </a:xfrm>
        </p:spPr>
        <p:txBody>
          <a:bodyPr/>
          <a:lstStyle/>
          <a:p>
            <a:pPr lvl="0"/>
            <a:r>
              <a:rPr lang="pt-PT" dirty="0" err="1"/>
              <a:t>Click</a:t>
            </a:r>
            <a:r>
              <a:rPr lang="pt-PT" dirty="0"/>
              <a:t> to </a:t>
            </a:r>
            <a:r>
              <a:rPr lang="pt-PT" dirty="0" err="1"/>
              <a:t>edit</a:t>
            </a:r>
            <a:r>
              <a:rPr lang="pt-PT" dirty="0"/>
              <a:t> Master </a:t>
            </a:r>
            <a:r>
              <a:rPr lang="pt-PT" dirty="0" err="1"/>
              <a:t>text</a:t>
            </a:r>
            <a:r>
              <a:rPr lang="pt-PT" dirty="0"/>
              <a:t> </a:t>
            </a:r>
            <a:r>
              <a:rPr lang="pt-PT" dirty="0" err="1"/>
              <a:t>styles</a:t>
            </a:r>
            <a:endParaRPr lang="pt-PT" dirty="0"/>
          </a:p>
          <a:p>
            <a:pPr lvl="1"/>
            <a:r>
              <a:rPr lang="pt-PT" dirty="0" err="1"/>
              <a:t>Second</a:t>
            </a:r>
            <a:r>
              <a:rPr lang="pt-PT" dirty="0"/>
              <a:t> </a:t>
            </a:r>
            <a:r>
              <a:rPr lang="pt-PT" dirty="0" err="1"/>
              <a:t>level</a:t>
            </a:r>
            <a:endParaRPr lang="pt-PT" dirty="0"/>
          </a:p>
          <a:p>
            <a:pPr lvl="2"/>
            <a:r>
              <a:rPr lang="pt-PT" dirty="0" err="1"/>
              <a:t>Third</a:t>
            </a:r>
            <a:r>
              <a:rPr lang="pt-PT" dirty="0"/>
              <a:t> </a:t>
            </a:r>
            <a:r>
              <a:rPr lang="pt-PT" dirty="0" err="1"/>
              <a:t>level</a:t>
            </a:r>
            <a:endParaRPr lang="pt-PT" dirty="0"/>
          </a:p>
          <a:p>
            <a:pPr lvl="3"/>
            <a:r>
              <a:rPr lang="pt-PT" dirty="0" err="1"/>
              <a:t>Fourth</a:t>
            </a:r>
            <a:r>
              <a:rPr lang="pt-PT" dirty="0"/>
              <a:t> </a:t>
            </a:r>
            <a:r>
              <a:rPr lang="pt-PT" dirty="0" err="1"/>
              <a:t>level</a:t>
            </a:r>
            <a:endParaRPr lang="pt-PT" dirty="0"/>
          </a:p>
          <a:p>
            <a:pPr lvl="4"/>
            <a:r>
              <a:rPr lang="pt-PT" dirty="0" err="1"/>
              <a:t>Fifth</a:t>
            </a:r>
            <a:r>
              <a:rPr lang="pt-PT" dirty="0"/>
              <a:t> </a:t>
            </a:r>
            <a:r>
              <a:rPr lang="pt-PT" dirty="0" err="1"/>
              <a:t>level</a:t>
            </a:r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7455" y="6371917"/>
            <a:ext cx="10176095" cy="28226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68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3552" y="6371917"/>
            <a:ext cx="578105" cy="28226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68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7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1978" y="819634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14">
                <a:solidFill>
                  <a:srgbClr val="4D4D4D"/>
                </a:solidFill>
              </a:defRPr>
            </a:lvl1pPr>
            <a:lvl2pPr marL="246870" indent="0">
              <a:buNone/>
              <a:defRPr sz="2744">
                <a:solidFill>
                  <a:schemeClr val="accent3"/>
                </a:solidFill>
              </a:defRPr>
            </a:lvl2pPr>
            <a:lvl3pPr marL="477145" indent="0">
              <a:buNone/>
              <a:defRPr sz="2744">
                <a:solidFill>
                  <a:schemeClr val="accent3"/>
                </a:solidFill>
              </a:defRPr>
            </a:lvl3pPr>
            <a:lvl4pPr marL="707419" indent="0">
              <a:buNone/>
              <a:defRPr sz="2744">
                <a:solidFill>
                  <a:schemeClr val="accent3"/>
                </a:solidFill>
              </a:defRPr>
            </a:lvl4pPr>
            <a:lvl5pPr marL="937694" indent="0">
              <a:buNone/>
              <a:defRPr sz="2744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44" dirty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44" dirty="0" err="1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44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44" dirty="0" err="1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44" dirty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44" dirty="0" err="1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44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44" dirty="0" err="1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44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4143474405"/>
      </p:ext>
    </p:extLst>
  </p:cSld>
  <p:clrMapOvr>
    <a:masterClrMapping/>
  </p:clrMapOvr>
</p:sldLayout>
</file>

<file path=ppt/slideLayouts/slideLayout17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ttom_bodydou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/>
              <a:t>Click</a:t>
            </a:r>
            <a:r>
              <a:rPr lang="pt-PT" dirty="0"/>
              <a:t> to </a:t>
            </a:r>
            <a:r>
              <a:rPr lang="pt-PT" dirty="0" err="1"/>
              <a:t>edit</a:t>
            </a:r>
            <a:r>
              <a:rPr lang="pt-PT" dirty="0"/>
              <a:t> </a:t>
            </a:r>
            <a:r>
              <a:rPr lang="pt-PT" dirty="0" err="1"/>
              <a:t>title</a:t>
            </a:r>
            <a:r>
              <a:rPr lang="pt-PT" dirty="0"/>
              <a:t> </a:t>
            </a:r>
            <a:r>
              <a:rPr lang="pt-PT" dirty="0" err="1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79" y="1290358"/>
            <a:ext cx="5080446" cy="5082596"/>
          </a:xfrm>
        </p:spPr>
        <p:txBody>
          <a:bodyPr/>
          <a:lstStyle/>
          <a:p>
            <a:pPr lvl="0"/>
            <a:r>
              <a:rPr lang="pt-PT"/>
              <a:t>Click</a:t>
            </a:r>
            <a:r>
              <a:rPr lang="pt-PT" dirty="0"/>
              <a:t> to </a:t>
            </a:r>
            <a:r>
              <a:rPr lang="pt-PT" dirty="0" err="1"/>
              <a:t>edit</a:t>
            </a:r>
            <a:r>
              <a:rPr lang="pt-PT" dirty="0"/>
              <a:t> Master </a:t>
            </a:r>
            <a:r>
              <a:rPr lang="pt-PT" dirty="0" err="1"/>
              <a:t>text</a:t>
            </a:r>
            <a:r>
              <a:rPr lang="pt-PT" dirty="0"/>
              <a:t> </a:t>
            </a:r>
            <a:r>
              <a:rPr lang="pt-PT" dirty="0" err="1"/>
              <a:t>styles</a:t>
            </a:r>
            <a:endParaRPr lang="pt-PT" dirty="0"/>
          </a:p>
          <a:p>
            <a:pPr lvl="1"/>
            <a:r>
              <a:rPr lang="pt-PT" dirty="0" err="1"/>
              <a:t>Second</a:t>
            </a:r>
            <a:r>
              <a:rPr lang="pt-PT" dirty="0"/>
              <a:t> </a:t>
            </a:r>
            <a:r>
              <a:rPr lang="pt-PT" dirty="0" err="1"/>
              <a:t>level</a:t>
            </a:r>
            <a:endParaRPr lang="pt-PT" dirty="0"/>
          </a:p>
          <a:p>
            <a:pPr lvl="2"/>
            <a:r>
              <a:rPr lang="pt-PT" dirty="0" err="1"/>
              <a:t>Third</a:t>
            </a:r>
            <a:r>
              <a:rPr lang="pt-PT" dirty="0"/>
              <a:t> </a:t>
            </a:r>
            <a:r>
              <a:rPr lang="pt-PT" dirty="0" err="1"/>
              <a:t>level</a:t>
            </a:r>
            <a:endParaRPr lang="pt-PT" dirty="0"/>
          </a:p>
          <a:p>
            <a:pPr lvl="3"/>
            <a:r>
              <a:rPr lang="pt-PT" dirty="0" err="1"/>
              <a:t>Fourth</a:t>
            </a:r>
            <a:r>
              <a:rPr lang="pt-PT" dirty="0"/>
              <a:t> </a:t>
            </a:r>
            <a:r>
              <a:rPr lang="pt-PT" dirty="0" err="1"/>
              <a:t>level</a:t>
            </a:r>
            <a:endParaRPr lang="pt-PT" dirty="0"/>
          </a:p>
          <a:p>
            <a:pPr lvl="4"/>
            <a:r>
              <a:rPr lang="pt-PT" dirty="0" err="1"/>
              <a:t>Fifth</a:t>
            </a:r>
            <a:r>
              <a:rPr lang="pt-PT" dirty="0"/>
              <a:t> </a:t>
            </a:r>
            <a:r>
              <a:rPr lang="pt-PT" dirty="0" err="1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290358"/>
            <a:ext cx="5080448" cy="5082597"/>
          </a:xfrm>
        </p:spPr>
        <p:txBody>
          <a:bodyPr/>
          <a:lstStyle/>
          <a:p>
            <a:pPr lvl="0"/>
            <a:r>
              <a:rPr lang="pt-PT"/>
              <a:t>Click to edit Master text styles</a:t>
            </a:r>
          </a:p>
          <a:p>
            <a:pPr lvl="1"/>
            <a:r>
              <a:rPr lang="pt-PT"/>
              <a:t>Second level</a:t>
            </a:r>
          </a:p>
          <a:p>
            <a:pPr lvl="2"/>
            <a:r>
              <a:rPr lang="pt-PT"/>
              <a:t>Third level</a:t>
            </a:r>
          </a:p>
          <a:p>
            <a:pPr lvl="3"/>
            <a:r>
              <a:rPr lang="pt-PT"/>
              <a:t>Fourth level</a:t>
            </a:r>
          </a:p>
          <a:p>
            <a:pPr lvl="4"/>
            <a:r>
              <a:rPr lang="pt-PT"/>
              <a:t>Fifth level</a:t>
            </a:r>
            <a:endParaRPr lang="en-US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7455" y="6371917"/>
            <a:ext cx="10176095" cy="28226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68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3552" y="6371917"/>
            <a:ext cx="578105" cy="28226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68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6" hasCustomPrompt="1"/>
          </p:nvPr>
        </p:nvSpPr>
        <p:spPr>
          <a:xfrm>
            <a:off x="611978" y="819634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14">
                <a:solidFill>
                  <a:srgbClr val="4D4D4D"/>
                </a:solidFill>
              </a:defRPr>
            </a:lvl1pPr>
            <a:lvl2pPr marL="246870" indent="0">
              <a:buNone/>
              <a:defRPr sz="2744">
                <a:solidFill>
                  <a:schemeClr val="accent3"/>
                </a:solidFill>
              </a:defRPr>
            </a:lvl2pPr>
            <a:lvl3pPr marL="477145" indent="0">
              <a:buNone/>
              <a:defRPr sz="2744">
                <a:solidFill>
                  <a:schemeClr val="accent3"/>
                </a:solidFill>
              </a:defRPr>
            </a:lvl3pPr>
            <a:lvl4pPr marL="707419" indent="0">
              <a:buNone/>
              <a:defRPr sz="2744">
                <a:solidFill>
                  <a:schemeClr val="accent3"/>
                </a:solidFill>
              </a:defRPr>
            </a:lvl4pPr>
            <a:lvl5pPr marL="937694" indent="0">
              <a:buNone/>
              <a:defRPr sz="2744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44" dirty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44" dirty="0" err="1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44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44" dirty="0" err="1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44" dirty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44" dirty="0" err="1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44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44" dirty="0" err="1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44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56251976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17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076" y="2076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9601" name="Slide do think-cell" r:id="rId4" imgW="270" imgH="270" progId="TCLayout.ActiveDocument.1">
                  <p:embed/>
                </p:oleObj>
              </mc:Choice>
              <mc:Fallback>
                <p:oleObj name="Slide do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076" y="2076"/>
                        <a:ext cx="2074" cy="20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1978" y="358895"/>
            <a:ext cx="10725159" cy="931463"/>
          </a:xfrm>
        </p:spPr>
        <p:txBody>
          <a:bodyPr/>
          <a:lstStyle/>
          <a:p>
            <a:r>
              <a:rPr lang="pt-PT" dirty="0" err="1"/>
              <a:t>Click</a:t>
            </a:r>
            <a:r>
              <a:rPr lang="pt-PT" dirty="0"/>
              <a:t> to </a:t>
            </a:r>
            <a:r>
              <a:rPr lang="pt-PT" dirty="0" err="1"/>
              <a:t>edit</a:t>
            </a:r>
            <a:r>
              <a:rPr lang="pt-PT" dirty="0"/>
              <a:t> </a:t>
            </a:r>
            <a:r>
              <a:rPr lang="pt-PT" dirty="0" err="1"/>
              <a:t>title</a:t>
            </a:r>
            <a:r>
              <a:rPr lang="pt-PT" dirty="0"/>
              <a:t> </a:t>
            </a:r>
            <a:r>
              <a:rPr lang="pt-PT" dirty="0" err="1"/>
              <a:t>style</a:t>
            </a:r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7455" y="6371917"/>
            <a:ext cx="10176095" cy="28226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68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3552" y="6371917"/>
            <a:ext cx="578105" cy="28226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68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5" hasCustomPrompt="1"/>
          </p:nvPr>
        </p:nvSpPr>
        <p:spPr>
          <a:xfrm>
            <a:off x="611978" y="161814"/>
            <a:ext cx="10725159" cy="188783"/>
          </a:xfrm>
        </p:spPr>
        <p:txBody>
          <a:bodyPr anchor="b"/>
          <a:lstStyle>
            <a:lvl1pPr marL="0" indent="0">
              <a:buNone/>
              <a:defRPr b="1">
                <a:solidFill>
                  <a:schemeClr val="tx2"/>
                </a:solidFill>
              </a:defRPr>
            </a:lvl1pPr>
            <a:lvl2pPr marL="246870" indent="0">
              <a:buNone/>
              <a:defRPr b="1"/>
            </a:lvl2pPr>
            <a:lvl3pPr marL="477145" indent="0">
              <a:buNone/>
              <a:defRPr b="1"/>
            </a:lvl3pPr>
            <a:lvl4pPr marL="707419" indent="0">
              <a:buNone/>
              <a:defRPr b="1"/>
            </a:lvl4pPr>
            <a:lvl5pPr marL="937694" indent="0">
              <a:buNone/>
              <a:defRPr b="1"/>
            </a:lvl5pPr>
          </a:lstStyle>
          <a:p>
            <a:pPr lvl="0"/>
            <a:r>
              <a:rPr lang="en-US" dirty="0"/>
              <a:t>&lt;</a:t>
            </a:r>
            <a:r>
              <a:rPr lang="en-US" dirty="0" err="1"/>
              <a:t>subtitulo</a:t>
            </a:r>
            <a:r>
              <a:rPr lang="en-US" dirty="0"/>
              <a:t>&gt;</a:t>
            </a:r>
          </a:p>
        </p:txBody>
      </p:sp>
      <p:sp>
        <p:nvSpPr>
          <p:cNvPr id="7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1978" y="819634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14">
                <a:solidFill>
                  <a:srgbClr val="4D4D4D"/>
                </a:solidFill>
              </a:defRPr>
            </a:lvl1pPr>
            <a:lvl2pPr marL="246870" indent="0">
              <a:buNone/>
              <a:defRPr sz="2744">
                <a:solidFill>
                  <a:schemeClr val="accent3"/>
                </a:solidFill>
              </a:defRPr>
            </a:lvl2pPr>
            <a:lvl3pPr marL="477145" indent="0">
              <a:buNone/>
              <a:defRPr sz="2744">
                <a:solidFill>
                  <a:schemeClr val="accent3"/>
                </a:solidFill>
              </a:defRPr>
            </a:lvl3pPr>
            <a:lvl4pPr marL="707419" indent="0">
              <a:buNone/>
              <a:defRPr sz="2744">
                <a:solidFill>
                  <a:schemeClr val="accent3"/>
                </a:solidFill>
              </a:defRPr>
            </a:lvl4pPr>
            <a:lvl5pPr marL="937694" indent="0">
              <a:buNone/>
              <a:defRPr sz="2744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44" dirty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44" dirty="0" err="1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44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44" dirty="0" err="1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44" dirty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44" dirty="0" err="1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44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44" dirty="0" err="1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44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714143593"/>
      </p:ext>
    </p:extLst>
  </p:cSld>
  <p:clrMapOvr>
    <a:masterClrMapping/>
  </p:clrMapOvr>
</p:sldLayout>
</file>

<file path=ppt/slideLayouts/slideLayout17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_bod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1978" y="358895"/>
            <a:ext cx="10725159" cy="931463"/>
          </a:xfrm>
        </p:spPr>
        <p:txBody>
          <a:bodyPr/>
          <a:lstStyle/>
          <a:p>
            <a:r>
              <a:rPr lang="pt-PT" dirty="0" err="1"/>
              <a:t>Click</a:t>
            </a:r>
            <a:r>
              <a:rPr lang="pt-PT" dirty="0"/>
              <a:t> to </a:t>
            </a:r>
            <a:r>
              <a:rPr lang="pt-PT" dirty="0" err="1"/>
              <a:t>edit</a:t>
            </a:r>
            <a:r>
              <a:rPr lang="pt-PT" dirty="0"/>
              <a:t> </a:t>
            </a:r>
            <a:r>
              <a:rPr lang="pt-PT" dirty="0" err="1"/>
              <a:t>title</a:t>
            </a:r>
            <a:r>
              <a:rPr lang="pt-PT" dirty="0"/>
              <a:t> </a:t>
            </a:r>
            <a:r>
              <a:rPr lang="pt-PT" dirty="0" err="1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1977" y="1290358"/>
            <a:ext cx="10725159" cy="5082597"/>
          </a:xfrm>
        </p:spPr>
        <p:txBody>
          <a:bodyPr/>
          <a:lstStyle/>
          <a:p>
            <a:pPr lvl="0"/>
            <a:r>
              <a:rPr lang="pt-PT" dirty="0" err="1"/>
              <a:t>Click</a:t>
            </a:r>
            <a:r>
              <a:rPr lang="pt-PT" dirty="0"/>
              <a:t> to </a:t>
            </a:r>
            <a:r>
              <a:rPr lang="pt-PT" dirty="0" err="1"/>
              <a:t>edit</a:t>
            </a:r>
            <a:r>
              <a:rPr lang="pt-PT" dirty="0"/>
              <a:t> Master </a:t>
            </a:r>
            <a:r>
              <a:rPr lang="pt-PT" dirty="0" err="1"/>
              <a:t>text</a:t>
            </a:r>
            <a:r>
              <a:rPr lang="pt-PT" dirty="0"/>
              <a:t> </a:t>
            </a:r>
            <a:r>
              <a:rPr lang="pt-PT" dirty="0" err="1"/>
              <a:t>styles</a:t>
            </a:r>
            <a:endParaRPr lang="pt-PT" dirty="0"/>
          </a:p>
          <a:p>
            <a:pPr lvl="1"/>
            <a:r>
              <a:rPr lang="pt-PT" dirty="0" err="1"/>
              <a:t>Second</a:t>
            </a:r>
            <a:r>
              <a:rPr lang="pt-PT" dirty="0"/>
              <a:t> </a:t>
            </a:r>
            <a:r>
              <a:rPr lang="pt-PT" dirty="0" err="1"/>
              <a:t>level</a:t>
            </a:r>
            <a:endParaRPr lang="pt-PT" dirty="0"/>
          </a:p>
          <a:p>
            <a:pPr lvl="2"/>
            <a:r>
              <a:rPr lang="pt-PT" dirty="0" err="1"/>
              <a:t>Third</a:t>
            </a:r>
            <a:r>
              <a:rPr lang="pt-PT" dirty="0"/>
              <a:t> </a:t>
            </a:r>
            <a:r>
              <a:rPr lang="pt-PT" dirty="0" err="1"/>
              <a:t>level</a:t>
            </a:r>
            <a:endParaRPr lang="pt-PT" dirty="0"/>
          </a:p>
          <a:p>
            <a:pPr lvl="3"/>
            <a:r>
              <a:rPr lang="pt-PT" dirty="0" err="1"/>
              <a:t>Fourth</a:t>
            </a:r>
            <a:r>
              <a:rPr lang="pt-PT" dirty="0"/>
              <a:t> </a:t>
            </a:r>
            <a:r>
              <a:rPr lang="pt-PT" dirty="0" err="1"/>
              <a:t>level</a:t>
            </a:r>
            <a:endParaRPr lang="pt-PT" dirty="0"/>
          </a:p>
          <a:p>
            <a:pPr lvl="4"/>
            <a:r>
              <a:rPr lang="pt-PT" dirty="0" err="1"/>
              <a:t>Fifth</a:t>
            </a:r>
            <a:r>
              <a:rPr lang="pt-PT" dirty="0"/>
              <a:t> </a:t>
            </a:r>
            <a:r>
              <a:rPr lang="pt-PT" dirty="0" err="1"/>
              <a:t>level</a:t>
            </a:r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7455" y="6371917"/>
            <a:ext cx="10176095" cy="28226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68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3552" y="6371917"/>
            <a:ext cx="578105" cy="28226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68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5" hasCustomPrompt="1"/>
          </p:nvPr>
        </p:nvSpPr>
        <p:spPr>
          <a:xfrm>
            <a:off x="611978" y="161814"/>
            <a:ext cx="10725159" cy="188783"/>
          </a:xfrm>
        </p:spPr>
        <p:txBody>
          <a:bodyPr anchor="b"/>
          <a:lstStyle>
            <a:lvl1pPr marL="0" indent="0">
              <a:buNone/>
              <a:defRPr b="1">
                <a:solidFill>
                  <a:schemeClr val="tx2"/>
                </a:solidFill>
              </a:defRPr>
            </a:lvl1pPr>
            <a:lvl2pPr marL="246870" indent="0">
              <a:buNone/>
              <a:defRPr b="1"/>
            </a:lvl2pPr>
            <a:lvl3pPr marL="477145" indent="0">
              <a:buNone/>
              <a:defRPr b="1"/>
            </a:lvl3pPr>
            <a:lvl4pPr marL="707419" indent="0">
              <a:buNone/>
              <a:defRPr b="1"/>
            </a:lvl4pPr>
            <a:lvl5pPr marL="937694" indent="0">
              <a:buNone/>
              <a:defRPr b="1"/>
            </a:lvl5pPr>
          </a:lstStyle>
          <a:p>
            <a:pPr lvl="0"/>
            <a:r>
              <a:rPr lang="en-US" dirty="0"/>
              <a:t>&lt;</a:t>
            </a:r>
            <a:r>
              <a:rPr lang="en-US" dirty="0" err="1"/>
              <a:t>subtitulo</a:t>
            </a:r>
            <a:r>
              <a:rPr lang="en-US" dirty="0"/>
              <a:t>&gt;</a:t>
            </a:r>
          </a:p>
        </p:txBody>
      </p:sp>
      <p:sp>
        <p:nvSpPr>
          <p:cNvPr id="7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1978" y="819634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14">
                <a:solidFill>
                  <a:srgbClr val="4D4D4D"/>
                </a:solidFill>
              </a:defRPr>
            </a:lvl1pPr>
            <a:lvl2pPr marL="246870" indent="0">
              <a:buNone/>
              <a:defRPr sz="2744">
                <a:solidFill>
                  <a:schemeClr val="accent3"/>
                </a:solidFill>
              </a:defRPr>
            </a:lvl2pPr>
            <a:lvl3pPr marL="477145" indent="0">
              <a:buNone/>
              <a:defRPr sz="2744">
                <a:solidFill>
                  <a:schemeClr val="accent3"/>
                </a:solidFill>
              </a:defRPr>
            </a:lvl3pPr>
            <a:lvl4pPr marL="707419" indent="0">
              <a:buNone/>
              <a:defRPr sz="2744">
                <a:solidFill>
                  <a:schemeClr val="accent3"/>
                </a:solidFill>
              </a:defRPr>
            </a:lvl4pPr>
            <a:lvl5pPr marL="937694" indent="0">
              <a:buNone/>
              <a:defRPr sz="2744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44" dirty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44" dirty="0" err="1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44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44" dirty="0" err="1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44" dirty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44" dirty="0" err="1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44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44" dirty="0" err="1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44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3712079879"/>
      </p:ext>
    </p:extLst>
  </p:cSld>
  <p:clrMapOvr>
    <a:masterClrMapping/>
  </p:clrMapOvr>
</p:sldLayout>
</file>

<file path=ppt/slideLayouts/slideLayout17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_bodydou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/>
              <a:t>Click</a:t>
            </a:r>
            <a:r>
              <a:rPr lang="pt-PT" dirty="0"/>
              <a:t> to </a:t>
            </a:r>
            <a:r>
              <a:rPr lang="pt-PT" dirty="0" err="1"/>
              <a:t>edit</a:t>
            </a:r>
            <a:r>
              <a:rPr lang="pt-PT" dirty="0"/>
              <a:t> </a:t>
            </a:r>
            <a:r>
              <a:rPr lang="pt-PT" dirty="0" err="1"/>
              <a:t>title</a:t>
            </a:r>
            <a:r>
              <a:rPr lang="pt-PT" dirty="0"/>
              <a:t> </a:t>
            </a:r>
            <a:r>
              <a:rPr lang="pt-PT" dirty="0" err="1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79" y="1290358"/>
            <a:ext cx="5080446" cy="5082596"/>
          </a:xfrm>
        </p:spPr>
        <p:txBody>
          <a:bodyPr/>
          <a:lstStyle/>
          <a:p>
            <a:pPr lvl="0"/>
            <a:r>
              <a:rPr lang="pt-PT"/>
              <a:t>Click</a:t>
            </a:r>
            <a:r>
              <a:rPr lang="pt-PT" dirty="0"/>
              <a:t> to </a:t>
            </a:r>
            <a:r>
              <a:rPr lang="pt-PT" dirty="0" err="1"/>
              <a:t>edit</a:t>
            </a:r>
            <a:r>
              <a:rPr lang="pt-PT" dirty="0"/>
              <a:t> Master </a:t>
            </a:r>
            <a:r>
              <a:rPr lang="pt-PT" dirty="0" err="1"/>
              <a:t>text</a:t>
            </a:r>
            <a:r>
              <a:rPr lang="pt-PT" dirty="0"/>
              <a:t> </a:t>
            </a:r>
            <a:r>
              <a:rPr lang="pt-PT" dirty="0" err="1"/>
              <a:t>styles</a:t>
            </a:r>
            <a:endParaRPr lang="pt-PT" dirty="0"/>
          </a:p>
          <a:p>
            <a:pPr lvl="1"/>
            <a:r>
              <a:rPr lang="pt-PT" dirty="0" err="1"/>
              <a:t>Second</a:t>
            </a:r>
            <a:r>
              <a:rPr lang="pt-PT" dirty="0"/>
              <a:t> </a:t>
            </a:r>
            <a:r>
              <a:rPr lang="pt-PT" dirty="0" err="1"/>
              <a:t>level</a:t>
            </a:r>
            <a:endParaRPr lang="pt-PT" dirty="0"/>
          </a:p>
          <a:p>
            <a:pPr lvl="2"/>
            <a:r>
              <a:rPr lang="pt-PT" dirty="0" err="1"/>
              <a:t>Third</a:t>
            </a:r>
            <a:r>
              <a:rPr lang="pt-PT" dirty="0"/>
              <a:t> </a:t>
            </a:r>
            <a:r>
              <a:rPr lang="pt-PT" dirty="0" err="1"/>
              <a:t>level</a:t>
            </a:r>
            <a:endParaRPr lang="pt-PT" dirty="0"/>
          </a:p>
          <a:p>
            <a:pPr lvl="3"/>
            <a:r>
              <a:rPr lang="pt-PT" dirty="0" err="1"/>
              <a:t>Fourth</a:t>
            </a:r>
            <a:r>
              <a:rPr lang="pt-PT" dirty="0"/>
              <a:t> </a:t>
            </a:r>
            <a:r>
              <a:rPr lang="pt-PT" dirty="0" err="1"/>
              <a:t>level</a:t>
            </a:r>
            <a:endParaRPr lang="pt-PT" dirty="0"/>
          </a:p>
          <a:p>
            <a:pPr lvl="4"/>
            <a:r>
              <a:rPr lang="pt-PT" dirty="0" err="1"/>
              <a:t>Fifth</a:t>
            </a:r>
            <a:r>
              <a:rPr lang="pt-PT" dirty="0"/>
              <a:t> </a:t>
            </a:r>
            <a:r>
              <a:rPr lang="pt-PT" dirty="0" err="1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290358"/>
            <a:ext cx="5080448" cy="5082597"/>
          </a:xfrm>
        </p:spPr>
        <p:txBody>
          <a:bodyPr/>
          <a:lstStyle/>
          <a:p>
            <a:pPr lvl="0"/>
            <a:r>
              <a:rPr lang="pt-PT"/>
              <a:t>Click to edit Master text styles</a:t>
            </a:r>
          </a:p>
          <a:p>
            <a:pPr lvl="1"/>
            <a:r>
              <a:rPr lang="pt-PT"/>
              <a:t>Second level</a:t>
            </a:r>
          </a:p>
          <a:p>
            <a:pPr lvl="2"/>
            <a:r>
              <a:rPr lang="pt-PT"/>
              <a:t>Third level</a:t>
            </a:r>
          </a:p>
          <a:p>
            <a:pPr lvl="3"/>
            <a:r>
              <a:rPr lang="pt-PT"/>
              <a:t>Fourth level</a:t>
            </a:r>
          </a:p>
          <a:p>
            <a:pPr lvl="4"/>
            <a:r>
              <a:rPr lang="pt-PT"/>
              <a:t>Fifth level</a:t>
            </a:r>
            <a:endParaRPr lang="en-US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7455" y="6371917"/>
            <a:ext cx="10176095" cy="28226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68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3552" y="6371917"/>
            <a:ext cx="578105" cy="28226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68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5" hasCustomPrompt="1"/>
          </p:nvPr>
        </p:nvSpPr>
        <p:spPr>
          <a:xfrm>
            <a:off x="611978" y="161814"/>
            <a:ext cx="10725159" cy="188783"/>
          </a:xfrm>
        </p:spPr>
        <p:txBody>
          <a:bodyPr anchor="b"/>
          <a:lstStyle>
            <a:lvl1pPr marL="0" indent="0">
              <a:buNone/>
              <a:defRPr b="1">
                <a:solidFill>
                  <a:schemeClr val="tx2"/>
                </a:solidFill>
              </a:defRPr>
            </a:lvl1pPr>
            <a:lvl2pPr marL="246870" indent="0">
              <a:buNone/>
              <a:defRPr b="1"/>
            </a:lvl2pPr>
            <a:lvl3pPr marL="477145" indent="0">
              <a:buNone/>
              <a:defRPr b="1"/>
            </a:lvl3pPr>
            <a:lvl4pPr marL="707419" indent="0">
              <a:buNone/>
              <a:defRPr b="1"/>
            </a:lvl4pPr>
            <a:lvl5pPr marL="937694" indent="0">
              <a:buNone/>
              <a:defRPr b="1"/>
            </a:lvl5pPr>
          </a:lstStyle>
          <a:p>
            <a:pPr lvl="0"/>
            <a:r>
              <a:rPr lang="en-US" dirty="0"/>
              <a:t>&lt;</a:t>
            </a:r>
            <a:r>
              <a:rPr lang="en-US" dirty="0" err="1"/>
              <a:t>subtitulo</a:t>
            </a:r>
            <a:r>
              <a:rPr lang="en-US" dirty="0"/>
              <a:t>&gt;</a:t>
            </a: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6" hasCustomPrompt="1"/>
          </p:nvPr>
        </p:nvSpPr>
        <p:spPr>
          <a:xfrm>
            <a:off x="611978" y="819634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14">
                <a:solidFill>
                  <a:srgbClr val="4D4D4D"/>
                </a:solidFill>
              </a:defRPr>
            </a:lvl1pPr>
            <a:lvl2pPr marL="246870" indent="0">
              <a:buNone/>
              <a:defRPr sz="2744">
                <a:solidFill>
                  <a:schemeClr val="accent3"/>
                </a:solidFill>
              </a:defRPr>
            </a:lvl2pPr>
            <a:lvl3pPr marL="477145" indent="0">
              <a:buNone/>
              <a:defRPr sz="2744">
                <a:solidFill>
                  <a:schemeClr val="accent3"/>
                </a:solidFill>
              </a:defRPr>
            </a:lvl3pPr>
            <a:lvl4pPr marL="707419" indent="0">
              <a:buNone/>
              <a:defRPr sz="2744">
                <a:solidFill>
                  <a:schemeClr val="accent3"/>
                </a:solidFill>
              </a:defRPr>
            </a:lvl4pPr>
            <a:lvl5pPr marL="937694" indent="0">
              <a:buNone/>
              <a:defRPr sz="2744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44" dirty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44" dirty="0" err="1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44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44" dirty="0" err="1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44" dirty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44" dirty="0" err="1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44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44" dirty="0" err="1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44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84641670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1585501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77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Meet the te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Picture Placeholder 13"/>
          <p:cNvSpPr>
            <a:spLocks noGrp="1"/>
          </p:cNvSpPr>
          <p:nvPr>
            <p:ph type="pic" sz="quarter" idx="13"/>
          </p:nvPr>
        </p:nvSpPr>
        <p:spPr>
          <a:xfrm>
            <a:off x="9450034" y="3820031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372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8" name="Picture Placeholder 13"/>
          <p:cNvSpPr>
            <a:spLocks noGrp="1"/>
          </p:cNvSpPr>
          <p:nvPr>
            <p:ph type="pic" sz="quarter" idx="14"/>
          </p:nvPr>
        </p:nvSpPr>
        <p:spPr>
          <a:xfrm>
            <a:off x="5336101" y="3820031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372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9" name="Picture Placeholder 13"/>
          <p:cNvSpPr>
            <a:spLocks noGrp="1"/>
          </p:cNvSpPr>
          <p:nvPr>
            <p:ph type="pic" sz="quarter" idx="15"/>
          </p:nvPr>
        </p:nvSpPr>
        <p:spPr>
          <a:xfrm>
            <a:off x="3253107" y="3820031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372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0" name="Picture Placeholder 13"/>
          <p:cNvSpPr>
            <a:spLocks noGrp="1"/>
          </p:cNvSpPr>
          <p:nvPr>
            <p:ph type="pic" sz="quarter" idx="16"/>
          </p:nvPr>
        </p:nvSpPr>
        <p:spPr>
          <a:xfrm>
            <a:off x="1203273" y="3820031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372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1" name="Picture Placeholder 13"/>
          <p:cNvSpPr>
            <a:spLocks noGrp="1"/>
          </p:cNvSpPr>
          <p:nvPr>
            <p:ph type="pic" sz="quarter" idx="17"/>
          </p:nvPr>
        </p:nvSpPr>
        <p:spPr>
          <a:xfrm>
            <a:off x="7385933" y="3820031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372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2" name="Picture Placeholder 13"/>
          <p:cNvSpPr>
            <a:spLocks noGrp="1"/>
          </p:cNvSpPr>
          <p:nvPr>
            <p:ph type="pic" sz="quarter" idx="18"/>
          </p:nvPr>
        </p:nvSpPr>
        <p:spPr>
          <a:xfrm>
            <a:off x="9450034" y="1290552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372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3" name="Picture Placeholder 13"/>
          <p:cNvSpPr>
            <a:spLocks noGrp="1"/>
          </p:cNvSpPr>
          <p:nvPr>
            <p:ph type="pic" sz="quarter" idx="19"/>
          </p:nvPr>
        </p:nvSpPr>
        <p:spPr>
          <a:xfrm>
            <a:off x="5336101" y="1290552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372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4" name="Picture Placeholder 13"/>
          <p:cNvSpPr>
            <a:spLocks noGrp="1"/>
          </p:cNvSpPr>
          <p:nvPr>
            <p:ph type="pic" sz="quarter" idx="20"/>
          </p:nvPr>
        </p:nvSpPr>
        <p:spPr>
          <a:xfrm>
            <a:off x="3253107" y="1290552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372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5" name="Picture Placeholder 13"/>
          <p:cNvSpPr>
            <a:spLocks noGrp="1"/>
          </p:cNvSpPr>
          <p:nvPr>
            <p:ph type="pic" sz="quarter" idx="21"/>
          </p:nvPr>
        </p:nvSpPr>
        <p:spPr>
          <a:xfrm>
            <a:off x="1203273" y="1290552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372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6" name="Picture Placeholder 13"/>
          <p:cNvSpPr>
            <a:spLocks noGrp="1"/>
          </p:cNvSpPr>
          <p:nvPr>
            <p:ph type="pic" sz="quarter" idx="22"/>
          </p:nvPr>
        </p:nvSpPr>
        <p:spPr>
          <a:xfrm>
            <a:off x="7385933" y="1290552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372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Rodapé 2"/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pt-BR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5" name="Text Placeholder 3"/>
          <p:cNvSpPr>
            <a:spLocks noGrp="1"/>
          </p:cNvSpPr>
          <p:nvPr>
            <p:ph type="body" sz="quarter" idx="25" hasCustomPrompt="1"/>
          </p:nvPr>
        </p:nvSpPr>
        <p:spPr>
          <a:xfrm>
            <a:off x="611978" y="161814"/>
            <a:ext cx="10725159" cy="188783"/>
          </a:xfrm>
        </p:spPr>
        <p:txBody>
          <a:bodyPr anchor="b"/>
          <a:lstStyle>
            <a:lvl1pPr marL="0" indent="0">
              <a:buNone/>
              <a:defRPr b="1">
                <a:solidFill>
                  <a:schemeClr val="tx2"/>
                </a:solidFill>
              </a:defRPr>
            </a:lvl1pPr>
            <a:lvl2pPr marL="246870" indent="0">
              <a:buNone/>
              <a:defRPr b="1"/>
            </a:lvl2pPr>
            <a:lvl3pPr marL="477145" indent="0">
              <a:buNone/>
              <a:defRPr b="1"/>
            </a:lvl3pPr>
            <a:lvl4pPr marL="707419" indent="0">
              <a:buNone/>
              <a:defRPr b="1"/>
            </a:lvl4pPr>
            <a:lvl5pPr marL="937694" indent="0">
              <a:buNone/>
              <a:defRPr b="1"/>
            </a:lvl5pPr>
          </a:lstStyle>
          <a:p>
            <a:pPr lvl="0"/>
            <a:r>
              <a:rPr lang="en-US" dirty="0"/>
              <a:t>&lt;</a:t>
            </a:r>
            <a:r>
              <a:rPr lang="en-US" dirty="0" err="1"/>
              <a:t>subtitulo</a:t>
            </a:r>
            <a:r>
              <a:rPr lang="en-US" dirty="0"/>
              <a:t>&gt;</a:t>
            </a:r>
          </a:p>
        </p:txBody>
      </p:sp>
    </p:spTree>
    <p:extLst>
      <p:ext uri="{BB962C8B-B14F-4D97-AF65-F5344CB8AC3E}">
        <p14:creationId xmlns:p14="http://schemas.microsoft.com/office/powerpoint/2010/main" val="7125023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14:reveal/>
      </p:transition>
    </mc:Choice>
    <mc:Fallback xmlns="">
      <p:transition spd="slow">
        <p:fade/>
      </p:transition>
    </mc:Fallback>
  </mc:AlternateContent>
</p:sldLayout>
</file>

<file path=ppt/slideLayouts/slideLayout17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Meet the te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Picture Placeholder 13"/>
          <p:cNvSpPr>
            <a:spLocks noGrp="1"/>
          </p:cNvSpPr>
          <p:nvPr>
            <p:ph type="pic" sz="quarter" idx="13"/>
          </p:nvPr>
        </p:nvSpPr>
        <p:spPr>
          <a:xfrm>
            <a:off x="9450034" y="2758553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372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8" name="Picture Placeholder 13"/>
          <p:cNvSpPr>
            <a:spLocks noGrp="1"/>
          </p:cNvSpPr>
          <p:nvPr>
            <p:ph type="pic" sz="quarter" idx="14"/>
          </p:nvPr>
        </p:nvSpPr>
        <p:spPr>
          <a:xfrm>
            <a:off x="5336101" y="2758553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372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9" name="Picture Placeholder 13"/>
          <p:cNvSpPr>
            <a:spLocks noGrp="1"/>
          </p:cNvSpPr>
          <p:nvPr>
            <p:ph type="pic" sz="quarter" idx="15"/>
          </p:nvPr>
        </p:nvSpPr>
        <p:spPr>
          <a:xfrm>
            <a:off x="3253107" y="2758553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372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0" name="Picture Placeholder 13"/>
          <p:cNvSpPr>
            <a:spLocks noGrp="1"/>
          </p:cNvSpPr>
          <p:nvPr>
            <p:ph type="pic" sz="quarter" idx="16"/>
          </p:nvPr>
        </p:nvSpPr>
        <p:spPr>
          <a:xfrm>
            <a:off x="1203273" y="2758553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372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1" name="Picture Placeholder 13"/>
          <p:cNvSpPr>
            <a:spLocks noGrp="1"/>
          </p:cNvSpPr>
          <p:nvPr>
            <p:ph type="pic" sz="quarter" idx="17"/>
          </p:nvPr>
        </p:nvSpPr>
        <p:spPr>
          <a:xfrm>
            <a:off x="7385933" y="2758553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372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2" name="Picture Placeholder 13"/>
          <p:cNvSpPr>
            <a:spLocks noGrp="1"/>
          </p:cNvSpPr>
          <p:nvPr>
            <p:ph type="pic" sz="quarter" idx="18"/>
          </p:nvPr>
        </p:nvSpPr>
        <p:spPr>
          <a:xfrm>
            <a:off x="9450034" y="820055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372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3" name="Picture Placeholder 13"/>
          <p:cNvSpPr>
            <a:spLocks noGrp="1"/>
          </p:cNvSpPr>
          <p:nvPr>
            <p:ph type="pic" sz="quarter" idx="19"/>
          </p:nvPr>
        </p:nvSpPr>
        <p:spPr>
          <a:xfrm>
            <a:off x="5336101" y="820055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372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4" name="Picture Placeholder 13"/>
          <p:cNvSpPr>
            <a:spLocks noGrp="1"/>
          </p:cNvSpPr>
          <p:nvPr>
            <p:ph type="pic" sz="quarter" idx="20"/>
          </p:nvPr>
        </p:nvSpPr>
        <p:spPr>
          <a:xfrm>
            <a:off x="3253107" y="820055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372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5" name="Picture Placeholder 13"/>
          <p:cNvSpPr>
            <a:spLocks noGrp="1"/>
          </p:cNvSpPr>
          <p:nvPr>
            <p:ph type="pic" sz="quarter" idx="21"/>
          </p:nvPr>
        </p:nvSpPr>
        <p:spPr>
          <a:xfrm>
            <a:off x="1203273" y="820055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372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6" name="Picture Placeholder 13"/>
          <p:cNvSpPr>
            <a:spLocks noGrp="1"/>
          </p:cNvSpPr>
          <p:nvPr>
            <p:ph type="pic" sz="quarter" idx="22"/>
          </p:nvPr>
        </p:nvSpPr>
        <p:spPr>
          <a:xfrm>
            <a:off x="7385933" y="820055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372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Rodapé 2"/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pt-BR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5" name="Text Placeholder 3"/>
          <p:cNvSpPr>
            <a:spLocks noGrp="1"/>
          </p:cNvSpPr>
          <p:nvPr>
            <p:ph type="body" sz="quarter" idx="25" hasCustomPrompt="1"/>
          </p:nvPr>
        </p:nvSpPr>
        <p:spPr>
          <a:xfrm>
            <a:off x="611978" y="161814"/>
            <a:ext cx="10725159" cy="188783"/>
          </a:xfrm>
        </p:spPr>
        <p:txBody>
          <a:bodyPr anchor="b"/>
          <a:lstStyle>
            <a:lvl1pPr marL="0" indent="0">
              <a:buNone/>
              <a:defRPr b="1">
                <a:solidFill>
                  <a:schemeClr val="tx2"/>
                </a:solidFill>
              </a:defRPr>
            </a:lvl1pPr>
            <a:lvl2pPr marL="246870" indent="0">
              <a:buNone/>
              <a:defRPr b="1"/>
            </a:lvl2pPr>
            <a:lvl3pPr marL="477145" indent="0">
              <a:buNone/>
              <a:defRPr b="1"/>
            </a:lvl3pPr>
            <a:lvl4pPr marL="707419" indent="0">
              <a:buNone/>
              <a:defRPr b="1"/>
            </a:lvl4pPr>
            <a:lvl5pPr marL="937694" indent="0">
              <a:buNone/>
              <a:defRPr b="1"/>
            </a:lvl5pPr>
          </a:lstStyle>
          <a:p>
            <a:pPr lvl="0"/>
            <a:r>
              <a:rPr lang="en-US" dirty="0"/>
              <a:t>&lt;</a:t>
            </a:r>
            <a:r>
              <a:rPr lang="en-US" dirty="0" err="1"/>
              <a:t>subtitulo</a:t>
            </a:r>
            <a:r>
              <a:rPr lang="en-US" dirty="0"/>
              <a:t>&gt;</a:t>
            </a:r>
          </a:p>
        </p:txBody>
      </p:sp>
      <p:sp>
        <p:nvSpPr>
          <p:cNvPr id="16" name="Picture Placeholder 13"/>
          <p:cNvSpPr>
            <a:spLocks noGrp="1"/>
          </p:cNvSpPr>
          <p:nvPr>
            <p:ph type="pic" sz="quarter" idx="26"/>
          </p:nvPr>
        </p:nvSpPr>
        <p:spPr>
          <a:xfrm>
            <a:off x="9454038" y="4640540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372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7" name="Picture Placeholder 13"/>
          <p:cNvSpPr>
            <a:spLocks noGrp="1"/>
          </p:cNvSpPr>
          <p:nvPr>
            <p:ph type="pic" sz="quarter" idx="27"/>
          </p:nvPr>
        </p:nvSpPr>
        <p:spPr>
          <a:xfrm>
            <a:off x="5340105" y="4640540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372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8" name="Picture Placeholder 13"/>
          <p:cNvSpPr>
            <a:spLocks noGrp="1"/>
          </p:cNvSpPr>
          <p:nvPr>
            <p:ph type="pic" sz="quarter" idx="28"/>
          </p:nvPr>
        </p:nvSpPr>
        <p:spPr>
          <a:xfrm>
            <a:off x="3257111" y="4640540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372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9" name="Picture Placeholder 13"/>
          <p:cNvSpPr>
            <a:spLocks noGrp="1"/>
          </p:cNvSpPr>
          <p:nvPr>
            <p:ph type="pic" sz="quarter" idx="29"/>
          </p:nvPr>
        </p:nvSpPr>
        <p:spPr>
          <a:xfrm>
            <a:off x="1207277" y="4640540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372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0" name="Picture Placeholder 13"/>
          <p:cNvSpPr>
            <a:spLocks noGrp="1"/>
          </p:cNvSpPr>
          <p:nvPr>
            <p:ph type="pic" sz="quarter" idx="30"/>
          </p:nvPr>
        </p:nvSpPr>
        <p:spPr>
          <a:xfrm>
            <a:off x="7389937" y="4640540"/>
            <a:ext cx="1319515" cy="1543178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372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854849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14:reveal/>
      </p:transition>
    </mc:Choice>
    <mc:Fallback xmlns="">
      <p:transition spd="slow">
        <p:fade/>
      </p:transition>
    </mc:Fallback>
  </mc:AlternateContent>
</p:sldLayout>
</file>

<file path=ppt/slideLayouts/slideLayout177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Oi Indi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4"/>
          <p:cNvSpPr txBox="1">
            <a:spLocks noChangeArrowheads="1"/>
          </p:cNvSpPr>
          <p:nvPr userDrawn="1"/>
        </p:nvSpPr>
        <p:spPr bwMode="auto">
          <a:xfrm>
            <a:off x="611979" y="5852249"/>
            <a:ext cx="2933341" cy="2364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defTabSz="597469">
              <a:lnSpc>
                <a:spcPts val="2352"/>
              </a:lnSpc>
              <a:defRPr/>
            </a:pPr>
            <a:r>
              <a:rPr lang="pt-BR" altLang="pt-BR" sz="2352" dirty="0">
                <a:solidFill>
                  <a:srgbClr val="4D4E50"/>
                </a:solidFill>
                <a:latin typeface="Simplon BP"/>
                <a:ea typeface="Simplon BP"/>
                <a:cs typeface="Simplon BP"/>
              </a:rPr>
              <a:t>TOTAL DE SLIDES:</a:t>
            </a:r>
            <a:endParaRPr lang="en-US" altLang="pt-BR" sz="2352" dirty="0">
              <a:solidFill>
                <a:srgbClr val="4D4E50"/>
              </a:solidFill>
              <a:latin typeface="Simplon BP"/>
              <a:ea typeface="Simplon BP"/>
              <a:cs typeface="Simplon BP"/>
            </a:endParaRPr>
          </a:p>
        </p:txBody>
      </p:sp>
      <p:sp>
        <p:nvSpPr>
          <p:cNvPr id="7" name="Title 22"/>
          <p:cNvSpPr txBox="1">
            <a:spLocks/>
          </p:cNvSpPr>
          <p:nvPr userDrawn="1"/>
        </p:nvSpPr>
        <p:spPr>
          <a:xfrm>
            <a:off x="6287807" y="358895"/>
            <a:ext cx="5049330" cy="607836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/>
          <a:lstStyle>
            <a:lvl1pPr algn="l" defTabSz="457200" rtl="0" eaLnBrk="1" latinLnBrk="0" hangingPunct="1">
              <a:lnSpc>
                <a:spcPts val="6800"/>
              </a:lnSpc>
              <a:spcBef>
                <a:spcPts val="3300"/>
              </a:spcBef>
              <a:buNone/>
              <a:defRPr sz="6600" b="0" i="1" kern="1200" baseline="0">
                <a:solidFill>
                  <a:schemeClr val="tx1"/>
                </a:solidFill>
                <a:latin typeface="Georgia"/>
                <a:ea typeface="+mj-ea"/>
                <a:cs typeface="Georgia"/>
              </a:defRPr>
            </a:lvl1pPr>
          </a:lstStyle>
          <a:p>
            <a:pPr fontAlgn="auto">
              <a:lnSpc>
                <a:spcPts val="5489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pt-BR" sz="2744" i="0" dirty="0">
                <a:solidFill>
                  <a:srgbClr val="4D4E50"/>
                </a:solidFill>
                <a:latin typeface="Simplon BP Bold"/>
                <a:cs typeface="Simplon BP Bold"/>
              </a:rPr>
              <a:t>SUMÁRIO EXECUTIVO</a:t>
            </a:r>
            <a:endParaRPr lang="en-US" sz="2744" i="0" dirty="0">
              <a:solidFill>
                <a:srgbClr val="4D4E50"/>
              </a:solidFill>
              <a:latin typeface="Simplon BP Bold"/>
              <a:cs typeface="Simplon BP Bold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r>
              <a:rPr lang="pt-BR"/>
              <a:t>Clique para editar o título mestre</a:t>
            </a:r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2"/>
          </p:nvPr>
        </p:nvSpPr>
        <p:spPr>
          <a:xfrm>
            <a:off x="611978" y="1383712"/>
            <a:ext cx="5080447" cy="4156583"/>
          </a:xfrm>
        </p:spPr>
        <p:txBody>
          <a:bodyPr/>
          <a:lstStyle>
            <a:lvl1pPr marL="0" indent="0">
              <a:buNone/>
              <a:defRPr/>
            </a:lvl1pPr>
            <a:lvl2pPr marL="246870" indent="0">
              <a:buNone/>
              <a:defRPr/>
            </a:lvl2pPr>
            <a:lvl3pPr marL="477145" indent="0">
              <a:buNone/>
              <a:defRPr/>
            </a:lvl3pPr>
            <a:lvl4pPr marL="707419" indent="0">
              <a:buNone/>
              <a:defRPr/>
            </a:lvl4pPr>
            <a:lvl5pPr marL="937694" indent="0">
              <a:buNone/>
              <a:defRPr/>
            </a:lvl5pPr>
          </a:lstStyle>
          <a:p>
            <a:pPr lvl="0"/>
            <a:r>
              <a:rPr lang="pt-BR"/>
              <a:t>Clique para editar o texto mestre</a:t>
            </a: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3"/>
          </p:nvPr>
        </p:nvSpPr>
        <p:spPr>
          <a:xfrm>
            <a:off x="6287807" y="1383712"/>
            <a:ext cx="5049330" cy="4156583"/>
          </a:xfrm>
        </p:spPr>
        <p:txBody>
          <a:bodyPr/>
          <a:lstStyle>
            <a:lvl1pPr marL="0" indent="0">
              <a:buNone/>
              <a:defRPr sz="2744"/>
            </a:lvl1pPr>
            <a:lvl2pPr marL="246870" indent="0">
              <a:buNone/>
              <a:defRPr sz="2744"/>
            </a:lvl2pPr>
            <a:lvl3pPr marL="477145" indent="0">
              <a:buNone/>
              <a:defRPr sz="2744"/>
            </a:lvl3pPr>
            <a:lvl4pPr marL="707419" indent="0">
              <a:buNone/>
              <a:defRPr sz="2744"/>
            </a:lvl4pPr>
            <a:lvl5pPr marL="937694" indent="0">
              <a:buNone/>
              <a:defRPr sz="2744"/>
            </a:lvl5pPr>
          </a:lstStyle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4"/>
          </p:nvPr>
        </p:nvSpPr>
        <p:spPr>
          <a:xfrm>
            <a:off x="3245457" y="5713221"/>
            <a:ext cx="753042" cy="470497"/>
          </a:xfrm>
          <a:noFill/>
        </p:spPr>
        <p:txBody>
          <a:bodyPr rtlCol="0" anchor="ctr">
            <a:noAutofit/>
          </a:bodyPr>
          <a:lstStyle>
            <a:lvl1pPr marL="0" indent="0">
              <a:buNone/>
              <a:defRPr lang="en-US" sz="2744" dirty="0">
                <a:solidFill>
                  <a:schemeClr val="accent3"/>
                </a:solidFill>
                <a:latin typeface="Simplon BP" charset="0"/>
                <a:ea typeface="Simplon BP" charset="0"/>
                <a:cs typeface="Simplon BP" charset="0"/>
              </a:defRPr>
            </a:lvl1pPr>
          </a:lstStyle>
          <a:p>
            <a:pPr lvl="0"/>
            <a:r>
              <a:rPr lang="pt-BR"/>
              <a:t>Clique para editar o texto mestre</a:t>
            </a: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r>
              <a:rPr lang="pt-BR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fld id="{7F163C2A-28B7-48E5-8373-70486EEE41D0}" type="slidenum">
              <a:rPr lang="pt-BR" altLang="pt-BR">
                <a:solidFill>
                  <a:srgbClr val="5F5F5F"/>
                </a:solidFill>
              </a:rPr>
              <a:pPr/>
              <a:t>‹nº›</a:t>
            </a:fld>
            <a:endParaRPr lang="pt-BR" altLang="pt-BR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06275813"/>
      </p:ext>
    </p:extLst>
  </p:cSld>
  <p:clrMapOvr>
    <a:masterClrMapping/>
  </p:clrMapOvr>
</p:sldLayout>
</file>

<file path=ppt/slideLayouts/slideLayout17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1978" y="358895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1977" y="1854630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7455" y="6371917"/>
            <a:ext cx="10176095" cy="28226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68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3552" y="6371917"/>
            <a:ext cx="578105" cy="28226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68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1978" y="819634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14">
                <a:solidFill>
                  <a:srgbClr val="4D4D4D"/>
                </a:solidFill>
              </a:defRPr>
            </a:lvl1pPr>
            <a:lvl2pPr marL="246870" indent="0">
              <a:buNone/>
              <a:defRPr sz="2744">
                <a:solidFill>
                  <a:schemeClr val="accent3"/>
                </a:solidFill>
              </a:defRPr>
            </a:lvl2pPr>
            <a:lvl3pPr marL="477145" indent="0">
              <a:buNone/>
              <a:defRPr sz="2744">
                <a:solidFill>
                  <a:schemeClr val="accent3"/>
                </a:solidFill>
              </a:defRPr>
            </a:lvl3pPr>
            <a:lvl4pPr marL="707419" indent="0">
              <a:buNone/>
              <a:defRPr sz="2744">
                <a:solidFill>
                  <a:schemeClr val="accent3"/>
                </a:solidFill>
              </a:defRPr>
            </a:lvl4pPr>
            <a:lvl5pPr marL="937694" indent="0">
              <a:buNone/>
              <a:defRPr sz="2744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44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44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44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44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44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44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44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44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44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471012816"/>
      </p:ext>
    </p:extLst>
  </p:cSld>
  <p:clrMapOvr>
    <a:masterClrMapping/>
  </p:clrMapOvr>
</p:sldLayout>
</file>

<file path=ppt/slideLayouts/slideLayout17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1978" y="358895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7455" y="6371917"/>
            <a:ext cx="10176095" cy="28226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68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3552" y="6371917"/>
            <a:ext cx="578105" cy="28226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68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1978" y="819634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14">
                <a:solidFill>
                  <a:srgbClr val="4D4D4D"/>
                </a:solidFill>
              </a:defRPr>
            </a:lvl1pPr>
            <a:lvl2pPr marL="246870" indent="0">
              <a:buNone/>
              <a:defRPr sz="2744">
                <a:solidFill>
                  <a:schemeClr val="accent3"/>
                </a:solidFill>
              </a:defRPr>
            </a:lvl2pPr>
            <a:lvl3pPr marL="477145" indent="0">
              <a:buNone/>
              <a:defRPr sz="2744">
                <a:solidFill>
                  <a:schemeClr val="accent3"/>
                </a:solidFill>
              </a:defRPr>
            </a:lvl3pPr>
            <a:lvl4pPr marL="707419" indent="0">
              <a:buNone/>
              <a:defRPr sz="2744">
                <a:solidFill>
                  <a:schemeClr val="accent3"/>
                </a:solidFill>
              </a:defRPr>
            </a:lvl4pPr>
            <a:lvl5pPr marL="937694" indent="0">
              <a:buNone/>
              <a:defRPr sz="2744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44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44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44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44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44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44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44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44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44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592363521"/>
      </p:ext>
    </p:extLst>
  </p:cSld>
  <p:clrMapOvr>
    <a:masterClrMapping/>
  </p:clrMapOvr>
</p:sldLayout>
</file>

<file path=ppt/slideLayouts/slideLayout17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1978" y="358895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1977" y="1854630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7455" y="6371917"/>
            <a:ext cx="10176095" cy="28226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68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3552" y="6371917"/>
            <a:ext cx="578105" cy="28226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68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1978" y="1290131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14">
                <a:solidFill>
                  <a:srgbClr val="4D4D4D"/>
                </a:solidFill>
              </a:defRPr>
            </a:lvl1pPr>
            <a:lvl2pPr marL="246870" indent="0">
              <a:buNone/>
              <a:defRPr sz="2744">
                <a:solidFill>
                  <a:schemeClr val="accent3"/>
                </a:solidFill>
              </a:defRPr>
            </a:lvl2pPr>
            <a:lvl3pPr marL="477145" indent="0">
              <a:buNone/>
              <a:defRPr sz="2744">
                <a:solidFill>
                  <a:schemeClr val="accent3"/>
                </a:solidFill>
              </a:defRPr>
            </a:lvl3pPr>
            <a:lvl4pPr marL="707419" indent="0">
              <a:buNone/>
              <a:defRPr sz="2744">
                <a:solidFill>
                  <a:schemeClr val="accent3"/>
                </a:solidFill>
              </a:defRPr>
            </a:lvl4pPr>
            <a:lvl5pPr marL="937694" indent="0">
              <a:buNone/>
              <a:defRPr sz="2744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44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44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44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44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44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44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44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44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44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4282584612"/>
      </p:ext>
    </p:extLst>
  </p:cSld>
  <p:clrMapOvr>
    <a:masterClrMapping/>
  </p:clrMapOvr>
</p:sldLayout>
</file>

<file path=ppt/slideLayouts/slideLayout17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1977" y="1854630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7455" y="6371917"/>
            <a:ext cx="10176095" cy="28226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68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3552" y="6371917"/>
            <a:ext cx="578105" cy="28226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68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89010237"/>
      </p:ext>
    </p:extLst>
  </p:cSld>
  <p:clrMapOvr>
    <a:masterClrMapping/>
  </p:clrMapOvr>
</p:sldLayout>
</file>

<file path=ppt/slideLayouts/slideLayout17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7455" y="6371917"/>
            <a:ext cx="10176095" cy="28226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68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3552" y="6371917"/>
            <a:ext cx="578105" cy="28226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68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67637371"/>
      </p:ext>
    </p:extLst>
  </p:cSld>
  <p:clrMapOvr>
    <a:masterClrMapping/>
  </p:clrMapOvr>
</p:sldLayout>
</file>

<file path=ppt/slideLayouts/slideLayout17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orytelling: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79" y="1854630"/>
            <a:ext cx="5080446" cy="451832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854630"/>
            <a:ext cx="5080448" cy="451832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7455" y="6371917"/>
            <a:ext cx="10176095" cy="28226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68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3552" y="6371917"/>
            <a:ext cx="578105" cy="28226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68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1978" y="1290131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14">
                <a:solidFill>
                  <a:srgbClr val="4D4D4D"/>
                </a:solidFill>
              </a:defRPr>
            </a:lvl1pPr>
            <a:lvl2pPr marL="246870" indent="0">
              <a:buNone/>
              <a:defRPr sz="2744">
                <a:solidFill>
                  <a:schemeClr val="accent3"/>
                </a:solidFill>
              </a:defRPr>
            </a:lvl2pPr>
            <a:lvl3pPr marL="477145" indent="0">
              <a:buNone/>
              <a:defRPr sz="2744">
                <a:solidFill>
                  <a:schemeClr val="accent3"/>
                </a:solidFill>
              </a:defRPr>
            </a:lvl3pPr>
            <a:lvl4pPr marL="707419" indent="0">
              <a:buNone/>
              <a:defRPr sz="2744">
                <a:solidFill>
                  <a:schemeClr val="accent3"/>
                </a:solidFill>
              </a:defRPr>
            </a:lvl4pPr>
            <a:lvl5pPr marL="937694" indent="0">
              <a:buNone/>
              <a:defRPr sz="2744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44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44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44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44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44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44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44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44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44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97046529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17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2025296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5631857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7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7763635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7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7810045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7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4270402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7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1897763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7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EA288C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9368940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7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6D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2363273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7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A02B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1456958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78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OI Titulo Corpo later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1978" y="358894"/>
            <a:ext cx="5069337" cy="6014060"/>
          </a:xfrm>
        </p:spPr>
        <p:txBody>
          <a:bodyPr/>
          <a:lstStyle>
            <a:lvl1pPr marL="0" marR="0" indent="0" algn="l" defTabSz="597423" rtl="0" eaLnBrk="1" fontAlgn="auto" latinLnBrk="0" hangingPunct="1">
              <a:lnSpc>
                <a:spcPts val="5488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r>
              <a:rPr lang="pt-PT" dirty="0" smtClean="0"/>
              <a:t>Título </a:t>
            </a:r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DOLOR SIT AMET CONSECTETOR LOREM IPSUM INSERIR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256689" y="358894"/>
            <a:ext cx="5080447" cy="6014060"/>
          </a:xfrm>
          <a:prstGeom prst="rect">
            <a:avLst/>
          </a:prstGeom>
        </p:spPr>
        <p:txBody>
          <a:bodyPr lIns="119485" tIns="59742" rIns="119485" bIns="59742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597455" y="6371917"/>
            <a:ext cx="10176095" cy="282263"/>
          </a:xfrm>
          <a:prstGeom prst="rect">
            <a:avLst/>
          </a:prstGeom>
        </p:spPr>
        <p:txBody>
          <a:bodyPr lIns="119485" tIns="59742" rIns="119485" bIns="59742"/>
          <a:lstStyle/>
          <a:p>
            <a:r>
              <a:rPr lang="pt-BR" dirty="0" smtClean="0">
                <a:solidFill>
                  <a:srgbClr val="000000"/>
                </a:solidFill>
              </a:rPr>
              <a:t>MATERIAL CONFIDENCIAL  |  SLIDE Nº</a:t>
            </a:r>
            <a:endParaRPr lang="pt-BR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0773552" y="6371917"/>
            <a:ext cx="578105" cy="282263"/>
          </a:xfrm>
          <a:prstGeom prst="rect">
            <a:avLst/>
          </a:prstGeom>
        </p:spPr>
        <p:txBody>
          <a:bodyPr lIns="119485" tIns="59742" rIns="119485" bIns="59742"/>
          <a:lstStyle/>
          <a:p>
            <a:fld id="{74850952-3374-434C-8FC6-DE28F8CD25B0}" type="slidenum">
              <a:rPr lang="pt-BR" smtClean="0">
                <a:solidFill>
                  <a:srgbClr val="000000"/>
                </a:solidFill>
              </a:rPr>
              <a:pPr/>
              <a:t>‹nº›</a:t>
            </a:fld>
            <a:endParaRPr lang="pt-BR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0852532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17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9767549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7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901216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2882059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7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532167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7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9547349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7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3117129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7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EA288C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5803665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7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6D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69754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7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A02B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589002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79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821502" y="1789282"/>
            <a:ext cx="10306110" cy="4264714"/>
          </a:xfrm>
          <a:prstGeom prst="rect">
            <a:avLst/>
          </a:prstGeom>
        </p:spPr>
        <p:txBody>
          <a:bodyPr lIns="89611" tIns="44806" rIns="89611" bIns="44806"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>
          <a:xfrm>
            <a:off x="821502" y="6229812"/>
            <a:ext cx="2688550" cy="357856"/>
          </a:xfrm>
          <a:prstGeom prst="rect">
            <a:avLst/>
          </a:prstGeom>
        </p:spPr>
        <p:txBody>
          <a:bodyPr lIns="89611" tIns="44806" rIns="89611" bIns="44806"/>
          <a:lstStyle/>
          <a:p>
            <a:fld id="{67BD7CF7-547F-4862-9E24-F8C20A726775}" type="datetimeFigureOut">
              <a:rPr lang="pt-BR" smtClean="0">
                <a:solidFill>
                  <a:srgbClr val="000000"/>
                </a:solidFill>
              </a:rPr>
              <a:pPr/>
              <a:t>11/01/2018</a:t>
            </a:fld>
            <a:endParaRPr lang="pt-BR">
              <a:solidFill>
                <a:srgbClr val="000000"/>
              </a:solidFill>
            </a:endParaRPr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>
          <a:xfrm>
            <a:off x="3958144" y="6229812"/>
            <a:ext cx="4032826" cy="357856"/>
          </a:xfrm>
          <a:prstGeom prst="rect">
            <a:avLst/>
          </a:prstGeom>
        </p:spPr>
        <p:txBody>
          <a:bodyPr lIns="89611" tIns="44806" rIns="89611" bIns="44806"/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>
          <a:xfrm>
            <a:off x="8439061" y="6229812"/>
            <a:ext cx="2688550" cy="357856"/>
          </a:xfrm>
          <a:prstGeom prst="rect">
            <a:avLst/>
          </a:prstGeom>
        </p:spPr>
        <p:txBody>
          <a:bodyPr lIns="89611" tIns="44806" rIns="89611" bIns="44806"/>
          <a:lstStyle/>
          <a:p>
            <a:fld id="{351B763D-B9EE-4D92-BE96-BD0B9B98CFDA}" type="slidenum">
              <a:rPr lang="pt-BR" smtClean="0">
                <a:solidFill>
                  <a:srgbClr val="000000"/>
                </a:solidFill>
              </a:rPr>
              <a:pPr/>
              <a:t>‹nº›</a:t>
            </a:fld>
            <a:endParaRPr lang="pt-BR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71227705"/>
      </p:ext>
    </p:extLst>
  </p:cSld>
  <p:clrMapOvr>
    <a:masterClrMapping/>
  </p:clrMapOvr>
</p:sldLayout>
</file>

<file path=ppt/slideLayouts/slideLayout17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5102268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7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7892697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7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1944106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273665463"/>
      </p:ext>
    </p:extLst>
  </p:cSld>
  <p:clrMapOvr>
    <a:masterClrMapping/>
  </p:clrMapOvr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875983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8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062868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8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9047969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8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EA288C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898760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8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6D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6231453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8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A02B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802782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80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OI Titulo Corpo later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1978" y="358894"/>
            <a:ext cx="5069337" cy="6014060"/>
          </a:xfrm>
        </p:spPr>
        <p:txBody>
          <a:bodyPr/>
          <a:lstStyle>
            <a:lvl1pPr marL="0" marR="0" indent="0" algn="l" defTabSz="597423" rtl="0" eaLnBrk="1" fontAlgn="auto" latinLnBrk="0" hangingPunct="1">
              <a:lnSpc>
                <a:spcPts val="5488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r>
              <a:rPr lang="pt-PT" dirty="0" smtClean="0"/>
              <a:t>Título </a:t>
            </a:r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DOLOR SIT AMET CONSECTETOR LOREM IPSUM INSERIR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256689" y="358894"/>
            <a:ext cx="5080447" cy="6014060"/>
          </a:xfrm>
          <a:prstGeom prst="rect">
            <a:avLst/>
          </a:prstGeom>
        </p:spPr>
        <p:txBody>
          <a:bodyPr lIns="119485" tIns="59742" rIns="119485" bIns="59742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597455" y="6371917"/>
            <a:ext cx="10176095" cy="282263"/>
          </a:xfrm>
          <a:prstGeom prst="rect">
            <a:avLst/>
          </a:prstGeom>
        </p:spPr>
        <p:txBody>
          <a:bodyPr lIns="119485" tIns="59742" rIns="119485" bIns="59742"/>
          <a:lstStyle/>
          <a:p>
            <a:r>
              <a:rPr lang="pt-BR" dirty="0" smtClean="0">
                <a:solidFill>
                  <a:srgbClr val="000000"/>
                </a:solidFill>
              </a:rPr>
              <a:t>MATERIAL CONFIDENCIAL  |  SLIDE Nº</a:t>
            </a:r>
            <a:endParaRPr lang="pt-BR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0773552" y="6371917"/>
            <a:ext cx="578105" cy="282263"/>
          </a:xfrm>
          <a:prstGeom prst="rect">
            <a:avLst/>
          </a:prstGeom>
        </p:spPr>
        <p:txBody>
          <a:bodyPr lIns="119485" tIns="59742" rIns="119485" bIns="59742"/>
          <a:lstStyle/>
          <a:p>
            <a:fld id="{74850952-3374-434C-8FC6-DE28F8CD25B0}" type="slidenum">
              <a:rPr lang="pt-BR" smtClean="0">
                <a:solidFill>
                  <a:srgbClr val="000000"/>
                </a:solidFill>
              </a:rPr>
              <a:pPr/>
              <a:t>‹nº›</a:t>
            </a:fld>
            <a:endParaRPr lang="pt-BR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3021780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180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821502" y="1789282"/>
            <a:ext cx="10306110" cy="4264714"/>
          </a:xfrm>
          <a:prstGeom prst="rect">
            <a:avLst/>
          </a:prstGeom>
        </p:spPr>
        <p:txBody>
          <a:bodyPr lIns="89611" tIns="44806" rIns="89611" bIns="44806"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>
          <a:xfrm>
            <a:off x="821502" y="6229812"/>
            <a:ext cx="2688550" cy="357856"/>
          </a:xfrm>
          <a:prstGeom prst="rect">
            <a:avLst/>
          </a:prstGeom>
        </p:spPr>
        <p:txBody>
          <a:bodyPr lIns="89611" tIns="44806" rIns="89611" bIns="44806"/>
          <a:lstStyle/>
          <a:p>
            <a:fld id="{67BD7CF7-547F-4862-9E24-F8C20A726775}" type="datetimeFigureOut">
              <a:rPr lang="pt-BR" smtClean="0">
                <a:solidFill>
                  <a:srgbClr val="000000"/>
                </a:solidFill>
              </a:rPr>
              <a:pPr/>
              <a:t>11/01/2018</a:t>
            </a:fld>
            <a:endParaRPr lang="pt-BR">
              <a:solidFill>
                <a:srgbClr val="000000"/>
              </a:solidFill>
            </a:endParaRPr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>
          <a:xfrm>
            <a:off x="3958144" y="6229812"/>
            <a:ext cx="4032826" cy="357856"/>
          </a:xfrm>
          <a:prstGeom prst="rect">
            <a:avLst/>
          </a:prstGeom>
        </p:spPr>
        <p:txBody>
          <a:bodyPr lIns="89611" tIns="44806" rIns="89611" bIns="44806"/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>
          <a:xfrm>
            <a:off x="8439061" y="6229812"/>
            <a:ext cx="2688550" cy="357856"/>
          </a:xfrm>
          <a:prstGeom prst="rect">
            <a:avLst/>
          </a:prstGeom>
        </p:spPr>
        <p:txBody>
          <a:bodyPr lIns="89611" tIns="44806" rIns="89611" bIns="44806"/>
          <a:lstStyle/>
          <a:p>
            <a:fld id="{351B763D-B9EE-4D92-BE96-BD0B9B98CFDA}" type="slidenum">
              <a:rPr lang="pt-BR" smtClean="0">
                <a:solidFill>
                  <a:srgbClr val="000000"/>
                </a:solidFill>
              </a:rPr>
              <a:pPr/>
              <a:t>‹nº›</a:t>
            </a:fld>
            <a:endParaRPr lang="pt-BR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84719371"/>
      </p:ext>
    </p:extLst>
  </p:cSld>
  <p:clrMapOvr>
    <a:masterClrMapping/>
  </p:clrMapOvr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0693768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EA288C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1217779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6D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3524856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A02B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9858311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38" y="358955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37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38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573" indent="0">
              <a:buNone/>
              <a:defRPr sz="2700">
                <a:solidFill>
                  <a:schemeClr val="accent3"/>
                </a:solidFill>
              </a:defRPr>
            </a:lvl2pPr>
            <a:lvl3pPr marL="474630" indent="0">
              <a:buNone/>
              <a:defRPr sz="2700">
                <a:solidFill>
                  <a:schemeClr val="accent3"/>
                </a:solidFill>
              </a:defRPr>
            </a:lvl3pPr>
            <a:lvl4pPr marL="703695" indent="0">
              <a:buNone/>
              <a:defRPr sz="2700">
                <a:solidFill>
                  <a:schemeClr val="accent3"/>
                </a:solidFill>
              </a:defRPr>
            </a:lvl4pPr>
            <a:lvl5pPr marL="932760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53316405"/>
      </p:ext>
    </p:extLst>
  </p:cSld>
  <p:clrMapOvr>
    <a:masterClrMapping/>
  </p:clrMapOvr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37" y="1854632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33286522"/>
      </p:ext>
    </p:extLst>
  </p:cSld>
  <p:clrMapOvr>
    <a:masterClrMapping/>
  </p:clrMapOvr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95263418"/>
      </p:ext>
    </p:extLst>
  </p:cSld>
  <p:clrMapOvr>
    <a:masterClrMapping/>
  </p:clrMapOvr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80" y="1854632"/>
            <a:ext cx="5080446" cy="451832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854690"/>
            <a:ext cx="5080448" cy="451832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2038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573" indent="0">
              <a:buNone/>
              <a:defRPr sz="2700">
                <a:solidFill>
                  <a:schemeClr val="accent3"/>
                </a:solidFill>
              </a:defRPr>
            </a:lvl2pPr>
            <a:lvl3pPr marL="474630" indent="0">
              <a:buNone/>
              <a:defRPr sz="2700">
                <a:solidFill>
                  <a:schemeClr val="accent3"/>
                </a:solidFill>
              </a:defRPr>
            </a:lvl3pPr>
            <a:lvl4pPr marL="703695" indent="0">
              <a:buNone/>
              <a:defRPr sz="2700">
                <a:solidFill>
                  <a:schemeClr val="accent3"/>
                </a:solidFill>
              </a:defRPr>
            </a:lvl4pPr>
            <a:lvl5pPr marL="932760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67619400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1998" y="358913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1995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1998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6434" indent="0">
              <a:buNone/>
              <a:defRPr sz="2700">
                <a:solidFill>
                  <a:schemeClr val="accent3"/>
                </a:solidFill>
              </a:defRPr>
            </a:lvl2pPr>
            <a:lvl3pPr marL="476300" indent="0">
              <a:buNone/>
              <a:defRPr sz="2700">
                <a:solidFill>
                  <a:schemeClr val="accent3"/>
                </a:solidFill>
              </a:defRPr>
            </a:lvl3pPr>
            <a:lvl4pPr marL="706167" indent="0">
              <a:buNone/>
              <a:defRPr sz="2700">
                <a:solidFill>
                  <a:schemeClr val="accent3"/>
                </a:solidFill>
              </a:defRPr>
            </a:lvl4pPr>
            <a:lvl5pPr marL="936041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326944444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60" y="1576"/>
          <a:ext cx="1555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00938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81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60" y="1576"/>
                        <a:ext cx="1555" cy="155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 userDrawn="1"/>
        </p:nvSpPr>
        <p:spPr>
          <a:xfrm>
            <a:off x="1" y="-58698"/>
            <a:ext cx="11949113" cy="186905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587" tIns="45292" rIns="90587" bIns="45292" rtlCol="0" anchor="ctr"/>
          <a:lstStyle/>
          <a:p>
            <a:pPr algn="ctr"/>
            <a:endParaRPr lang="en-US" sz="1600">
              <a:solidFill>
                <a:srgbClr val="FFFFFF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75613" y="228703"/>
            <a:ext cx="11491891" cy="30777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49472607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1995" y="1854632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21064342"/>
      </p:ext>
    </p:extLst>
  </p:cSld>
  <p:clrMapOvr>
    <a:masterClrMapping/>
  </p:clrMapOvr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37869050"/>
              </p:ext>
            </p:extLst>
          </p:nvPr>
        </p:nvGraphicFramePr>
        <p:xfrm>
          <a:off x="1589" y="1589"/>
          <a:ext cx="158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40988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57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9"/>
                        <a:ext cx="158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76667443"/>
      </p:ext>
    </p:extLst>
  </p:cSld>
  <p:clrMapOvr>
    <a:masterClrMapping/>
  </p:clrMapOvr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80" y="1854632"/>
            <a:ext cx="5080446" cy="451832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854649"/>
            <a:ext cx="5080448" cy="451832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1998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6434" indent="0">
              <a:buNone/>
              <a:defRPr sz="2700">
                <a:solidFill>
                  <a:schemeClr val="accent3"/>
                </a:solidFill>
              </a:defRPr>
            </a:lvl2pPr>
            <a:lvl3pPr marL="476300" indent="0">
              <a:buNone/>
              <a:defRPr sz="2700">
                <a:solidFill>
                  <a:schemeClr val="accent3"/>
                </a:solidFill>
              </a:defRPr>
            </a:lvl3pPr>
            <a:lvl4pPr marL="706167" indent="0">
              <a:buNone/>
              <a:defRPr sz="2700">
                <a:solidFill>
                  <a:schemeClr val="accent3"/>
                </a:solidFill>
              </a:defRPr>
            </a:lvl4pPr>
            <a:lvl5pPr marL="936041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85534929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4077666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3173009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8236261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9636238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0229095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EA288C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328318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6D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0051532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42107398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26964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126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211678" y="230292"/>
            <a:ext cx="10903658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US" noProof="0" dirty="0" smtClean="0"/>
            </a:lvl1pPr>
          </a:lstStyle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</p:spTree>
    <p:extLst>
      <p:ext uri="{BB962C8B-B14F-4D97-AF65-F5344CB8AC3E}">
        <p14:creationId xmlns:p14="http://schemas.microsoft.com/office/powerpoint/2010/main" val="422975847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907585613"/>
      </p:ext>
    </p:extLst>
  </p:cSld>
  <p:clrMapOvr>
    <a:masterClrMapping/>
  </p:clrMapOvr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A02B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046745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59624845"/>
              </p:ext>
            </p:extLst>
          </p:nvPr>
        </p:nvGraphicFramePr>
        <p:xfrm>
          <a:off x="2077" y="2077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38945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57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77" y="2077"/>
                        <a:ext cx="2074" cy="20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1995" y="358912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1994" y="1854632"/>
            <a:ext cx="10725159" cy="4518324"/>
          </a:xfrm>
          <a:prstGeom prst="rect">
            <a:avLst/>
          </a:prstGeom>
        </p:spPr>
        <p:txBody>
          <a:bodyPr lIns="119313" tIns="59659" rIns="119313" bIns="59659"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1995" y="819634"/>
            <a:ext cx="10725159" cy="470918"/>
          </a:xfrm>
          <a:prstGeom prst="rect">
            <a:avLst/>
          </a:prstGeom>
        </p:spPr>
        <p:txBody>
          <a:bodyPr lIns="119313" tIns="59659" rIns="119313" bIns="59659"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6491" indent="0">
              <a:buNone/>
              <a:defRPr sz="2700">
                <a:solidFill>
                  <a:schemeClr val="accent3"/>
                </a:solidFill>
              </a:defRPr>
            </a:lvl2pPr>
            <a:lvl3pPr marL="476408" indent="0">
              <a:buNone/>
              <a:defRPr sz="2700">
                <a:solidFill>
                  <a:schemeClr val="accent3"/>
                </a:solidFill>
              </a:defRPr>
            </a:lvl3pPr>
            <a:lvl4pPr marL="706328" indent="0">
              <a:buNone/>
              <a:defRPr sz="2700">
                <a:solidFill>
                  <a:schemeClr val="accent3"/>
                </a:solidFill>
              </a:defRPr>
            </a:lvl4pPr>
            <a:lvl5pPr marL="936252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3869756337"/>
      </p:ext>
    </p:extLst>
  </p:cSld>
  <p:clrMapOvr>
    <a:masterClrMapping/>
  </p:clrMapOvr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80" y="358997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79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80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4687" indent="0">
              <a:buNone/>
              <a:defRPr sz="2700">
                <a:solidFill>
                  <a:schemeClr val="accent3"/>
                </a:solidFill>
              </a:defRPr>
            </a:lvl2pPr>
            <a:lvl3pPr marL="472916" indent="0">
              <a:buNone/>
              <a:defRPr sz="2700">
                <a:solidFill>
                  <a:schemeClr val="accent3"/>
                </a:solidFill>
              </a:defRPr>
            </a:lvl3pPr>
            <a:lvl4pPr marL="701150" indent="0">
              <a:buNone/>
              <a:defRPr sz="2700">
                <a:solidFill>
                  <a:schemeClr val="accent3"/>
                </a:solidFill>
              </a:defRPr>
            </a:lvl4pPr>
            <a:lvl5pPr marL="929386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335851473"/>
      </p:ext>
    </p:extLst>
  </p:cSld>
  <p:clrMapOvr>
    <a:masterClrMapping/>
  </p:clrMapOvr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79" y="1854632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9821322"/>
      </p:ext>
    </p:extLst>
  </p:cSld>
  <p:clrMapOvr>
    <a:masterClrMapping/>
  </p:clrMapOvr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06986432"/>
      </p:ext>
    </p:extLst>
  </p:cSld>
  <p:clrMapOvr>
    <a:masterClrMapping/>
  </p:clrMapOvr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80" y="1854632"/>
            <a:ext cx="5080446" cy="451832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854730"/>
            <a:ext cx="5080448" cy="451832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2080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4687" indent="0">
              <a:buNone/>
              <a:defRPr sz="2700">
                <a:solidFill>
                  <a:schemeClr val="accent3"/>
                </a:solidFill>
              </a:defRPr>
            </a:lvl2pPr>
            <a:lvl3pPr marL="472916" indent="0">
              <a:buNone/>
              <a:defRPr sz="2700">
                <a:solidFill>
                  <a:schemeClr val="accent3"/>
                </a:solidFill>
              </a:defRPr>
            </a:lvl3pPr>
            <a:lvl4pPr marL="701150" indent="0">
              <a:buNone/>
              <a:defRPr sz="2700">
                <a:solidFill>
                  <a:schemeClr val="accent3"/>
                </a:solidFill>
              </a:defRPr>
            </a:lvl4pPr>
            <a:lvl5pPr marL="929386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14412964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53" y="358969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50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53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268" indent="0">
              <a:buNone/>
              <a:defRPr sz="2700">
                <a:solidFill>
                  <a:schemeClr val="accent3"/>
                </a:solidFill>
              </a:defRPr>
            </a:lvl2pPr>
            <a:lvl3pPr marL="474041" indent="0">
              <a:buNone/>
              <a:defRPr sz="2700">
                <a:solidFill>
                  <a:schemeClr val="accent3"/>
                </a:solidFill>
              </a:defRPr>
            </a:lvl3pPr>
            <a:lvl4pPr marL="702818" indent="0">
              <a:buNone/>
              <a:defRPr sz="2700">
                <a:solidFill>
                  <a:schemeClr val="accent3"/>
                </a:solidFill>
              </a:defRPr>
            </a:lvl4pPr>
            <a:lvl5pPr marL="931601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878716614"/>
      </p:ext>
    </p:extLst>
  </p:cSld>
  <p:clrMapOvr>
    <a:masterClrMapping/>
  </p:clrMapOvr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50" y="1854632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57777337"/>
      </p:ext>
    </p:extLst>
  </p:cSld>
  <p:clrMapOvr>
    <a:masterClrMapping/>
  </p:clrMapOvr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76676818"/>
      </p:ext>
    </p:extLst>
  </p:cSld>
  <p:clrMapOvr>
    <a:masterClrMapping/>
  </p:clrMapOvr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80" y="1854632"/>
            <a:ext cx="5080446" cy="451832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854704"/>
            <a:ext cx="5080448" cy="451832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2053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268" indent="0">
              <a:buNone/>
              <a:defRPr sz="2700">
                <a:solidFill>
                  <a:schemeClr val="accent3"/>
                </a:solidFill>
              </a:defRPr>
            </a:lvl2pPr>
            <a:lvl3pPr marL="474041" indent="0">
              <a:buNone/>
              <a:defRPr sz="2700">
                <a:solidFill>
                  <a:schemeClr val="accent3"/>
                </a:solidFill>
              </a:defRPr>
            </a:lvl3pPr>
            <a:lvl4pPr marL="702818" indent="0">
              <a:buNone/>
              <a:defRPr sz="2700">
                <a:solidFill>
                  <a:schemeClr val="accent3"/>
                </a:solidFill>
              </a:defRPr>
            </a:lvl4pPr>
            <a:lvl5pPr marL="931601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33400318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47270280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06057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81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 userDrawn="1"/>
        </p:nvSpPr>
        <p:spPr bwMode="auto">
          <a:xfrm>
            <a:off x="437849" y="131306"/>
            <a:ext cx="88165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pt-BR" sz="800" b="1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WORKING DRAFT</a:t>
            </a:r>
            <a:endParaRPr lang="pt-BR" sz="800" b="1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256937" y="36518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pt-BR" sz="800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 userDrawn="1"/>
        </p:nvSpPr>
        <p:spPr bwMode="auto">
          <a:xfrm>
            <a:off x="437874" y="286879"/>
            <a:ext cx="3069751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 userDrawn="1"/>
        </p:nvSpPr>
        <p:spPr bwMode="auto">
          <a:xfrm>
            <a:off x="437851" y="444039"/>
            <a:ext cx="270106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8" name="McK Title Elements" hidden="1"/>
          <p:cNvGrpSpPr>
            <a:grpSpLocks/>
          </p:cNvGrpSpPr>
          <p:nvPr userDrawn="1"/>
        </p:nvGrpSpPr>
        <p:grpSpPr bwMode="auto">
          <a:xfrm>
            <a:off x="5" y="121"/>
            <a:ext cx="11944879" cy="6723063"/>
            <a:chOff x="0" y="0"/>
            <a:chExt cx="5643" cy="4235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207" y="3361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ocument typ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207" y="3550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at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1" name="McK Disclaimer"/>
            <p:cNvSpPr>
              <a:spLocks noChangeArrowheads="1"/>
            </p:cNvSpPr>
            <p:nvPr/>
          </p:nvSpPr>
          <p:spPr bwMode="auto">
            <a:xfrm>
              <a:off x="207" y="3963"/>
              <a:ext cx="3226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797488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NFIDENTIAL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D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PRIETARY</a:t>
              </a:r>
              <a:endParaRPr lang="pt-BR" sz="80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  <a:p>
              <a:pPr defTabSz="797488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use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his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aterial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without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pecific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ermission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cKinsey &amp;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mpan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is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trictl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hibited</a:t>
              </a:r>
              <a:endParaRPr lang="pt-BR" sz="8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2" name="TitleBottomPlaceholder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3" name="TitleTopPlaceholder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Rectangle 1189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pic>
        <p:nvPicPr>
          <p:cNvPr id="18" name="TitleBottomBarBW" hidden="1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65766" y="6443669"/>
            <a:ext cx="2182379" cy="1920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7" name="Freeform 5"/>
          <p:cNvSpPr>
            <a:spLocks/>
          </p:cNvSpPr>
          <p:nvPr userDrawn="1"/>
        </p:nvSpPr>
        <p:spPr bwMode="auto">
          <a:xfrm flipH="1">
            <a:off x="4236" y="6635876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0587" tIns="45292" rIns="90587" bIns="45292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9" name="Freeform 5"/>
          <p:cNvSpPr>
            <a:spLocks/>
          </p:cNvSpPr>
          <p:nvPr userDrawn="1"/>
        </p:nvSpPr>
        <p:spPr bwMode="auto">
          <a:xfrm flipH="1">
            <a:off x="4236" y="3283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0587" tIns="45292" rIns="90587" bIns="45292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 userDrawn="1">
            <p:ph type="ctrTitle"/>
          </p:nvPr>
        </p:nvSpPr>
        <p:spPr>
          <a:xfrm>
            <a:off x="437853" y="2238434"/>
            <a:ext cx="6581329" cy="1292662"/>
          </a:xfrm>
          <a:prstGeom prst="rect">
            <a:avLst/>
          </a:prstGeom>
        </p:spPr>
        <p:txBody>
          <a:bodyPr/>
          <a:lstStyle>
            <a:lvl1pPr>
              <a:defRPr sz="4200" b="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dirty="0" smtClean="0"/>
              <a:t>Click </a:t>
            </a:r>
            <a:r>
              <a:rPr lang="pt-BR" noProof="0" dirty="0" err="1" smtClean="0"/>
              <a:t>to</a:t>
            </a:r>
            <a:r>
              <a:rPr lang="pt-BR" noProof="0" dirty="0" smtClean="0"/>
              <a:t> </a:t>
            </a:r>
            <a:r>
              <a:rPr lang="pt-BR" noProof="0" dirty="0" err="1" smtClean="0"/>
              <a:t>edit</a:t>
            </a:r>
            <a:r>
              <a:rPr lang="pt-BR" noProof="0" dirty="0" smtClean="0"/>
              <a:t> Master </a:t>
            </a:r>
            <a:r>
              <a:rPr lang="pt-BR" noProof="0" dirty="0" err="1" smtClean="0"/>
              <a:t>title</a:t>
            </a:r>
            <a:r>
              <a:rPr lang="pt-BR" noProof="0" dirty="0" smtClean="0"/>
              <a:t> </a:t>
            </a:r>
            <a:r>
              <a:rPr lang="pt-BR" noProof="0" dirty="0" err="1" smtClean="0"/>
              <a:t>style</a:t>
            </a:r>
            <a:endParaRPr lang="pt-BR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437852" y="3762851"/>
            <a:ext cx="6450496" cy="482639"/>
          </a:xfrm>
        </p:spPr>
        <p:txBody>
          <a:bodyPr wrap="square">
            <a:spAutoFit/>
          </a:bodyPr>
          <a:lstStyle>
            <a:lvl1pPr>
              <a:defRPr sz="310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smtClean="0"/>
              <a:t>Click to edit Master subtitle style</a:t>
            </a:r>
            <a:endParaRPr lang="pt-BR" noProof="0" dirty="0" smtClean="0"/>
          </a:p>
        </p:txBody>
      </p:sp>
      <p:grpSp>
        <p:nvGrpSpPr>
          <p:cNvPr id="25" name="Group 24"/>
          <p:cNvGrpSpPr/>
          <p:nvPr userDrawn="1"/>
        </p:nvGrpSpPr>
        <p:grpSpPr>
          <a:xfrm>
            <a:off x="8526083" y="2325895"/>
            <a:ext cx="3423031" cy="3656746"/>
            <a:chOff x="5526523" y="2325890"/>
            <a:chExt cx="3423032" cy="3656747"/>
          </a:xfrm>
        </p:grpSpPr>
        <p:sp>
          <p:nvSpPr>
            <p:cNvPr id="26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27" name="Group 26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28" name="Donut 27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29" name="Oval 28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0" name="Oval 29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63790536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928871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7718125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138051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6677042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1407703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EA288C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6849790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6D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3278424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A02B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7883700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6548054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130329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13078754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02986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81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211678" y="230292"/>
            <a:ext cx="10903658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US" noProof="0" dirty="0" smtClean="0"/>
            </a:lvl1pPr>
          </a:lstStyle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</p:spTree>
    <p:extLst>
      <p:ext uri="{BB962C8B-B14F-4D97-AF65-F5344CB8AC3E}">
        <p14:creationId xmlns:p14="http://schemas.microsoft.com/office/powerpoint/2010/main" val="350135279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5521443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9670482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9852498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EA288C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0796210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6D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1266910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A02B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0639203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2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20" y="358938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20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20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933" indent="0">
              <a:buNone/>
              <a:defRPr sz="2700">
                <a:solidFill>
                  <a:schemeClr val="accent3"/>
                </a:solidFill>
              </a:defRPr>
            </a:lvl2pPr>
            <a:lvl3pPr marL="475329" indent="0">
              <a:buNone/>
              <a:defRPr sz="2700">
                <a:solidFill>
                  <a:schemeClr val="accent3"/>
                </a:solidFill>
              </a:defRPr>
            </a:lvl3pPr>
            <a:lvl4pPr marL="704729" indent="0">
              <a:buNone/>
              <a:defRPr sz="2700">
                <a:solidFill>
                  <a:schemeClr val="accent3"/>
                </a:solidFill>
              </a:defRPr>
            </a:lvl4pPr>
            <a:lvl5pPr marL="934136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867824167"/>
      </p:ext>
    </p:extLst>
  </p:cSld>
  <p:clrMapOvr>
    <a:masterClrMapping/>
  </p:clrMapOvr>
</p:sldLayout>
</file>

<file path=ppt/slideLayouts/slideLayout2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20" y="1854632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19874164"/>
      </p:ext>
    </p:extLst>
  </p:cSld>
  <p:clrMapOvr>
    <a:masterClrMapping/>
  </p:clrMapOvr>
</p:sldLayout>
</file>

<file path=ppt/slideLayouts/slideLayout2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73797826"/>
      </p:ext>
    </p:extLst>
  </p:cSld>
  <p:clrMapOvr>
    <a:masterClrMapping/>
  </p:clrMapOvr>
</p:sldLayout>
</file>

<file path=ppt/slideLayouts/slideLayout2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80" y="1854632"/>
            <a:ext cx="5080446" cy="451832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854672"/>
            <a:ext cx="5080448" cy="451832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2020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933" indent="0">
              <a:buNone/>
              <a:defRPr sz="2700">
                <a:solidFill>
                  <a:schemeClr val="accent3"/>
                </a:solidFill>
              </a:defRPr>
            </a:lvl2pPr>
            <a:lvl3pPr marL="475329" indent="0">
              <a:buNone/>
              <a:defRPr sz="2700">
                <a:solidFill>
                  <a:schemeClr val="accent3"/>
                </a:solidFill>
              </a:defRPr>
            </a:lvl3pPr>
            <a:lvl4pPr marL="704729" indent="0">
              <a:buNone/>
              <a:defRPr sz="2700">
                <a:solidFill>
                  <a:schemeClr val="accent3"/>
                </a:solidFill>
              </a:defRPr>
            </a:lvl4pPr>
            <a:lvl5pPr marL="934136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427403919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21502" y="359015"/>
            <a:ext cx="10306110" cy="307777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980945207"/>
      </p:ext>
    </p:extLst>
  </p:cSld>
  <p:clrMapOvr>
    <a:masterClrMapping/>
  </p:clrMapOvr>
</p:sldLayout>
</file>

<file path=ppt/slideLayouts/slideLayout2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8794412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2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900787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2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860488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2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4002738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2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6752968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2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EA288C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4614905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2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6D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085580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2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A02B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82362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2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38" y="358955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37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38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573" indent="0">
              <a:buNone/>
              <a:defRPr sz="2700">
                <a:solidFill>
                  <a:schemeClr val="accent3"/>
                </a:solidFill>
              </a:defRPr>
            </a:lvl2pPr>
            <a:lvl3pPr marL="474630" indent="0">
              <a:buNone/>
              <a:defRPr sz="2700">
                <a:solidFill>
                  <a:schemeClr val="accent3"/>
                </a:solidFill>
              </a:defRPr>
            </a:lvl3pPr>
            <a:lvl4pPr marL="703695" indent="0">
              <a:buNone/>
              <a:defRPr sz="2700">
                <a:solidFill>
                  <a:schemeClr val="accent3"/>
                </a:solidFill>
              </a:defRPr>
            </a:lvl4pPr>
            <a:lvl5pPr marL="932760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4190584588"/>
      </p:ext>
    </p:extLst>
  </p:cSld>
  <p:clrMapOvr>
    <a:masterClrMapping/>
  </p:clrMapOvr>
</p:sldLayout>
</file>

<file path=ppt/slideLayouts/slideLayout2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37" y="1854632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6717153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147194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2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36891115"/>
      </p:ext>
    </p:extLst>
  </p:cSld>
  <p:clrMapOvr>
    <a:masterClrMapping/>
  </p:clrMapOvr>
</p:sldLayout>
</file>

<file path=ppt/slideLayouts/slideLayout2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80" y="1854632"/>
            <a:ext cx="5080446" cy="451832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854690"/>
            <a:ext cx="5080448" cy="451832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2038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573" indent="0">
              <a:buNone/>
              <a:defRPr sz="2700">
                <a:solidFill>
                  <a:schemeClr val="accent3"/>
                </a:solidFill>
              </a:defRPr>
            </a:lvl2pPr>
            <a:lvl3pPr marL="474630" indent="0">
              <a:buNone/>
              <a:defRPr sz="2700">
                <a:solidFill>
                  <a:schemeClr val="accent3"/>
                </a:solidFill>
              </a:defRPr>
            </a:lvl3pPr>
            <a:lvl4pPr marL="703695" indent="0">
              <a:buNone/>
              <a:defRPr sz="2700">
                <a:solidFill>
                  <a:schemeClr val="accent3"/>
                </a:solidFill>
              </a:defRPr>
            </a:lvl4pPr>
            <a:lvl5pPr marL="932760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3396727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2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38" y="358955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37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38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573" indent="0">
              <a:buNone/>
              <a:defRPr sz="2700">
                <a:solidFill>
                  <a:schemeClr val="accent3"/>
                </a:solidFill>
              </a:defRPr>
            </a:lvl2pPr>
            <a:lvl3pPr marL="474630" indent="0">
              <a:buNone/>
              <a:defRPr sz="2700">
                <a:solidFill>
                  <a:schemeClr val="accent3"/>
                </a:solidFill>
              </a:defRPr>
            </a:lvl3pPr>
            <a:lvl4pPr marL="703695" indent="0">
              <a:buNone/>
              <a:defRPr sz="2700">
                <a:solidFill>
                  <a:schemeClr val="accent3"/>
                </a:solidFill>
              </a:defRPr>
            </a:lvl4pPr>
            <a:lvl5pPr marL="932760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783906554"/>
      </p:ext>
    </p:extLst>
  </p:cSld>
  <p:clrMapOvr>
    <a:masterClrMapping/>
  </p:clrMapOvr>
</p:sldLayout>
</file>

<file path=ppt/slideLayouts/slideLayout2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37" y="1854632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59787707"/>
      </p:ext>
    </p:extLst>
  </p:cSld>
  <p:clrMapOvr>
    <a:masterClrMapping/>
  </p:clrMapOvr>
</p:sldLayout>
</file>

<file path=ppt/slideLayouts/slideLayout2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72942833"/>
      </p:ext>
    </p:extLst>
  </p:cSld>
  <p:clrMapOvr>
    <a:masterClrMapping/>
  </p:clrMapOvr>
</p:sldLayout>
</file>

<file path=ppt/slideLayouts/slideLayout2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80" y="1854632"/>
            <a:ext cx="5080446" cy="451832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854690"/>
            <a:ext cx="5080448" cy="451832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2038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573" indent="0">
              <a:buNone/>
              <a:defRPr sz="2700">
                <a:solidFill>
                  <a:schemeClr val="accent3"/>
                </a:solidFill>
              </a:defRPr>
            </a:lvl2pPr>
            <a:lvl3pPr marL="474630" indent="0">
              <a:buNone/>
              <a:defRPr sz="2700">
                <a:solidFill>
                  <a:schemeClr val="accent3"/>
                </a:solidFill>
              </a:defRPr>
            </a:lvl3pPr>
            <a:lvl4pPr marL="703695" indent="0">
              <a:buNone/>
              <a:defRPr sz="2700">
                <a:solidFill>
                  <a:schemeClr val="accent3"/>
                </a:solidFill>
              </a:defRPr>
            </a:lvl4pPr>
            <a:lvl5pPr marL="932760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14084614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2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37" y="358952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36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37" y="819634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601" indent="0">
              <a:buNone/>
              <a:defRPr sz="2700">
                <a:solidFill>
                  <a:schemeClr val="accent3"/>
                </a:solidFill>
              </a:defRPr>
            </a:lvl2pPr>
            <a:lvl3pPr marL="474684" indent="0">
              <a:buNone/>
              <a:defRPr sz="2700">
                <a:solidFill>
                  <a:schemeClr val="accent3"/>
                </a:solidFill>
              </a:defRPr>
            </a:lvl3pPr>
            <a:lvl4pPr marL="703774" indent="0">
              <a:buNone/>
              <a:defRPr sz="2700">
                <a:solidFill>
                  <a:schemeClr val="accent3"/>
                </a:solidFill>
              </a:defRPr>
            </a:lvl4pPr>
            <a:lvl5pPr marL="932866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319876180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37" y="358952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37" y="819634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601" indent="0">
              <a:buNone/>
              <a:defRPr sz="2700">
                <a:solidFill>
                  <a:schemeClr val="accent3"/>
                </a:solidFill>
              </a:defRPr>
            </a:lvl2pPr>
            <a:lvl3pPr marL="474684" indent="0">
              <a:buNone/>
              <a:defRPr sz="2700">
                <a:solidFill>
                  <a:schemeClr val="accent3"/>
                </a:solidFill>
              </a:defRPr>
            </a:lvl3pPr>
            <a:lvl4pPr marL="703774" indent="0">
              <a:buNone/>
              <a:defRPr sz="2700">
                <a:solidFill>
                  <a:schemeClr val="accent3"/>
                </a:solidFill>
              </a:defRPr>
            </a:lvl4pPr>
            <a:lvl5pPr marL="932866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24238532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37" y="358952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36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37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601" indent="0">
              <a:buNone/>
              <a:defRPr sz="2700">
                <a:solidFill>
                  <a:schemeClr val="accent3"/>
                </a:solidFill>
              </a:defRPr>
            </a:lvl2pPr>
            <a:lvl3pPr marL="474684" indent="0">
              <a:buNone/>
              <a:defRPr sz="2700">
                <a:solidFill>
                  <a:schemeClr val="accent3"/>
                </a:solidFill>
              </a:defRPr>
            </a:lvl3pPr>
            <a:lvl4pPr marL="703774" indent="0">
              <a:buNone/>
              <a:defRPr sz="2700">
                <a:solidFill>
                  <a:schemeClr val="accent3"/>
                </a:solidFill>
              </a:defRPr>
            </a:lvl4pPr>
            <a:lvl5pPr marL="932866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51794185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36" y="1854632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546382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422137" y="349431"/>
            <a:ext cx="6749230" cy="254184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703"/>
              </a:lnSpc>
              <a:defRPr sz="4700">
                <a:solidFill>
                  <a:srgbClr val="18C3FF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r>
              <a:rPr lang="en-US" dirty="0" smtClean="0"/>
              <a:t>. LOREM IPSUM DOLOR SIT AMET HAS ID CIBO QUIDAM</a:t>
            </a:r>
            <a:endParaRPr lang="en-US" dirty="0"/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422137" y="3071971"/>
            <a:ext cx="6749230" cy="796308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591926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1926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1926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70198289"/>
      </p:ext>
    </p:extLst>
  </p:cSld>
  <p:clrMapOvr>
    <a:masterClrMapping/>
  </p:clrMapOvr>
</p:sldLayout>
</file>

<file path=ppt/slideLayouts/slideLayout2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36146071"/>
              </p:ext>
            </p:extLst>
          </p:nvPr>
        </p:nvGraphicFramePr>
        <p:xfrm>
          <a:off x="2077" y="2077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47095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53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77" y="2077"/>
                        <a:ext cx="2074" cy="20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9090285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orytelling: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80" y="1854632"/>
            <a:ext cx="5080446" cy="451832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854687"/>
            <a:ext cx="5080448" cy="451832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2037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601" indent="0">
              <a:buNone/>
              <a:defRPr sz="2700">
                <a:solidFill>
                  <a:schemeClr val="accent3"/>
                </a:solidFill>
              </a:defRPr>
            </a:lvl2pPr>
            <a:lvl3pPr marL="474684" indent="0">
              <a:buNone/>
              <a:defRPr sz="2700">
                <a:solidFill>
                  <a:schemeClr val="accent3"/>
                </a:solidFill>
              </a:defRPr>
            </a:lvl3pPr>
            <a:lvl4pPr marL="703774" indent="0">
              <a:buNone/>
              <a:defRPr sz="2700">
                <a:solidFill>
                  <a:schemeClr val="accent3"/>
                </a:solidFill>
              </a:defRPr>
            </a:lvl4pPr>
            <a:lvl5pPr marL="932866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3375339839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25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3743381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96184" y="2088072"/>
            <a:ext cx="10156746" cy="1440761"/>
          </a:xfrm>
        </p:spPr>
        <p:txBody>
          <a:bodyPr/>
          <a:lstStyle/>
          <a:p>
            <a:r>
              <a:rPr lang="x-none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792368" y="3808836"/>
            <a:ext cx="8364379" cy="171771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4578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915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373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7831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289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6747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2056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5663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x-none" smtClean="0"/>
              <a:t>Click to edit Master sub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2323465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ó image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3471628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5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le &amp;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" name="Shape 66"/>
          <p:cNvSpPr>
            <a:spLocks noGrp="1"/>
          </p:cNvSpPr>
          <p:nvPr>
            <p:ph type="title"/>
          </p:nvPr>
        </p:nvSpPr>
        <p:spPr>
          <a:xfrm>
            <a:off x="875240" y="306320"/>
            <a:ext cx="10198755" cy="1487826"/>
          </a:xfrm>
          <a:prstGeom prst="rect">
            <a:avLst/>
          </a:prstGeom>
        </p:spPr>
        <p:txBody>
          <a:bodyPr/>
          <a:lstStyle>
            <a:lvl1pPr algn="l">
              <a:defRPr b="1">
                <a:latin typeface="Bebas Neue"/>
                <a:ea typeface="Bebas Neue"/>
                <a:cs typeface="Bebas Neue"/>
                <a:sym typeface="Bebas Neue"/>
              </a:defRPr>
            </a:lvl1pPr>
          </a:lstStyle>
          <a:p>
            <a:r>
              <a:t>Title Text</a:t>
            </a:r>
          </a:p>
        </p:txBody>
      </p:sp>
      <p:sp>
        <p:nvSpPr>
          <p:cNvPr id="67" name="Shape 67"/>
          <p:cNvSpPr>
            <a:spLocks noGrp="1"/>
          </p:cNvSpPr>
          <p:nvPr>
            <p:ph type="body" idx="1"/>
          </p:nvPr>
        </p:nvSpPr>
        <p:spPr>
          <a:xfrm>
            <a:off x="875240" y="1794143"/>
            <a:ext cx="10198755" cy="4332200"/>
          </a:xfrm>
          <a:prstGeom prst="rect">
            <a:avLst/>
          </a:prstGeom>
        </p:spPr>
        <p:txBody>
          <a:bodyPr/>
          <a:lstStyle>
            <a:lvl1pPr marL="339576" indent="-339576">
              <a:spcBef>
                <a:spcPts val="1075"/>
              </a:spcBef>
              <a:defRPr sz="2000" b="1">
                <a:latin typeface="Bebas Neue"/>
                <a:ea typeface="Bebas Neue"/>
                <a:cs typeface="Bebas Neue"/>
                <a:sym typeface="Bebas Neue"/>
              </a:defRPr>
            </a:lvl1pPr>
            <a:lvl2pPr>
              <a:spcBef>
                <a:spcPts val="1075"/>
              </a:spcBef>
              <a:defRPr sz="2000" b="1">
                <a:latin typeface="Bebas Neue"/>
                <a:ea typeface="Bebas Neue"/>
                <a:cs typeface="Bebas Neue"/>
                <a:sym typeface="Bebas Neue"/>
              </a:defRPr>
            </a:lvl2pPr>
            <a:lvl3pPr>
              <a:spcBef>
                <a:spcPts val="1075"/>
              </a:spcBef>
              <a:defRPr sz="2000" b="1">
                <a:latin typeface="Bebas Neue"/>
                <a:ea typeface="Bebas Neue"/>
                <a:cs typeface="Bebas Neue"/>
                <a:sym typeface="Bebas Neue"/>
              </a:defRPr>
            </a:lvl3pPr>
            <a:lvl4pPr>
              <a:spcBef>
                <a:spcPts val="1075"/>
              </a:spcBef>
              <a:defRPr sz="2000" b="1">
                <a:latin typeface="Bebas Neue"/>
                <a:ea typeface="Bebas Neue"/>
                <a:cs typeface="Bebas Neue"/>
                <a:sym typeface="Bebas Neue"/>
              </a:defRPr>
            </a:lvl4pPr>
            <a:lvl5pPr>
              <a:spcBef>
                <a:spcPts val="1075"/>
              </a:spcBef>
              <a:defRPr sz="2000" b="1">
                <a:latin typeface="Bebas Neue"/>
                <a:ea typeface="Bebas Neue"/>
                <a:cs typeface="Bebas Neue"/>
                <a:sym typeface="Bebas Neue"/>
              </a:defRPr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68" name="Shape 68"/>
          <p:cNvSpPr>
            <a:spLocks noGrp="1"/>
          </p:cNvSpPr>
          <p:nvPr>
            <p:ph type="sldNum" sz="quarter" idx="2"/>
          </p:nvPr>
        </p:nvSpPr>
        <p:spPr>
          <a:xfrm>
            <a:off x="5790830" y="6375777"/>
            <a:ext cx="355789" cy="295966"/>
          </a:xfrm>
          <a:prstGeom prst="rect">
            <a:avLst/>
          </a:prstGeom>
        </p:spPr>
        <p:txBody>
          <a:bodyPr lIns="91304" tIns="45652" rIns="91304" bIns="45652"/>
          <a:lstStyle/>
          <a:p>
            <a:fld id="{86CB4B4D-7CA3-9044-876B-883B54F8677D}" type="slidenum">
              <a:rPr>
                <a:solidFill>
                  <a:srgbClr val="5F5F5F"/>
                </a:solidFill>
                <a:latin typeface="Helvetica Light"/>
                <a:ea typeface="Helvetica Light"/>
                <a:cs typeface="Helvetica Light"/>
              </a:rPr>
              <a:pPr/>
              <a:t>‹nº›</a:t>
            </a:fld>
            <a:endParaRPr>
              <a:solidFill>
                <a:srgbClr val="5F5F5F"/>
              </a:solidFill>
              <a:latin typeface="Helvetica Light"/>
              <a:ea typeface="Helvetica Light"/>
              <a:cs typeface="Helvetica Light"/>
            </a:endParaRPr>
          </a:p>
        </p:txBody>
      </p:sp>
    </p:spTree>
    <p:extLst>
      <p:ext uri="{BB962C8B-B14F-4D97-AF65-F5344CB8AC3E}">
        <p14:creationId xmlns:p14="http://schemas.microsoft.com/office/powerpoint/2010/main" val="1858664175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Layout>
</file>

<file path=ppt/slideLayouts/slideLayout25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890766005"/>
      </p:ext>
    </p:extLst>
  </p:cSld>
  <p:clrMapOvr>
    <a:masterClrMapping/>
  </p:clrMapOvr>
</p:sldLayout>
</file>

<file path=ppt/slideLayouts/slideLayout2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53" y="358969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50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53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268" indent="0">
              <a:buNone/>
              <a:defRPr sz="2700">
                <a:solidFill>
                  <a:schemeClr val="accent3"/>
                </a:solidFill>
              </a:defRPr>
            </a:lvl2pPr>
            <a:lvl3pPr marL="474041" indent="0">
              <a:buNone/>
              <a:defRPr sz="2700">
                <a:solidFill>
                  <a:schemeClr val="accent3"/>
                </a:solidFill>
              </a:defRPr>
            </a:lvl3pPr>
            <a:lvl4pPr marL="702818" indent="0">
              <a:buNone/>
              <a:defRPr sz="2700">
                <a:solidFill>
                  <a:schemeClr val="accent3"/>
                </a:solidFill>
              </a:defRPr>
            </a:lvl4pPr>
            <a:lvl5pPr marL="931601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61650421"/>
      </p:ext>
    </p:extLst>
  </p:cSld>
  <p:clrMapOvr>
    <a:masterClrMapping/>
  </p:clrMapOvr>
</p:sldLayout>
</file>

<file path=ppt/slideLayouts/slideLayout2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50" y="1854632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74428076"/>
      </p:ext>
    </p:extLst>
  </p:cSld>
  <p:clrMapOvr>
    <a:masterClrMapping/>
  </p:clrMapOvr>
</p:sldLayout>
</file>

<file path=ppt/slideLayouts/slideLayout2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13845005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273665463"/>
      </p:ext>
    </p:extLst>
  </p:cSld>
  <p:clrMapOvr>
    <a:masterClrMapping/>
  </p:clrMapOvr>
</p:sldLayout>
</file>

<file path=ppt/slideLayouts/slideLayout2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80" y="1854632"/>
            <a:ext cx="5080446" cy="451832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854704"/>
            <a:ext cx="5080448" cy="451832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2053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268" indent="0">
              <a:buNone/>
              <a:defRPr sz="2700">
                <a:solidFill>
                  <a:schemeClr val="accent3"/>
                </a:solidFill>
              </a:defRPr>
            </a:lvl2pPr>
            <a:lvl3pPr marL="474041" indent="0">
              <a:buNone/>
              <a:defRPr sz="2700">
                <a:solidFill>
                  <a:schemeClr val="accent3"/>
                </a:solidFill>
              </a:defRPr>
            </a:lvl3pPr>
            <a:lvl4pPr marL="702818" indent="0">
              <a:buNone/>
              <a:defRPr sz="2700">
                <a:solidFill>
                  <a:schemeClr val="accent3"/>
                </a:solidFill>
              </a:defRPr>
            </a:lvl4pPr>
            <a:lvl5pPr marL="931601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71353292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2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381466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2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7416912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2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1048389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2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2937309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2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5753819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2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EA288C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3187951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2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6D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5814084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2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A02B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5191233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2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38" y="358955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37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38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573" indent="0">
              <a:buNone/>
              <a:defRPr sz="2700">
                <a:solidFill>
                  <a:schemeClr val="accent3"/>
                </a:solidFill>
              </a:defRPr>
            </a:lvl2pPr>
            <a:lvl3pPr marL="474630" indent="0">
              <a:buNone/>
              <a:defRPr sz="2700">
                <a:solidFill>
                  <a:schemeClr val="accent3"/>
                </a:solidFill>
              </a:defRPr>
            </a:lvl3pPr>
            <a:lvl4pPr marL="703695" indent="0">
              <a:buNone/>
              <a:defRPr sz="2700">
                <a:solidFill>
                  <a:schemeClr val="accent3"/>
                </a:solidFill>
              </a:defRPr>
            </a:lvl4pPr>
            <a:lvl5pPr marL="932760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4014453190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60" y="1576"/>
          <a:ext cx="1555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04010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81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60" y="1576"/>
                        <a:ext cx="1555" cy="155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 userDrawn="1"/>
        </p:nvSpPr>
        <p:spPr>
          <a:xfrm>
            <a:off x="1" y="-58698"/>
            <a:ext cx="11949113" cy="186905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587" tIns="45292" rIns="90587" bIns="45292" rtlCol="0" anchor="ctr"/>
          <a:lstStyle/>
          <a:p>
            <a:pPr algn="ctr"/>
            <a:endParaRPr lang="en-US" sz="1600">
              <a:solidFill>
                <a:srgbClr val="FFFFFF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75613" y="228703"/>
            <a:ext cx="11491891" cy="30777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49472607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2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37" y="1854632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06380384"/>
      </p:ext>
    </p:extLst>
  </p:cSld>
  <p:clrMapOvr>
    <a:masterClrMapping/>
  </p:clrMapOvr>
</p:sldLayout>
</file>

<file path=ppt/slideLayouts/slideLayout2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40212201"/>
      </p:ext>
    </p:extLst>
  </p:cSld>
  <p:clrMapOvr>
    <a:masterClrMapping/>
  </p:clrMapOvr>
</p:sldLayout>
</file>

<file path=ppt/slideLayouts/slideLayout2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80" y="1854632"/>
            <a:ext cx="5080446" cy="451832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854690"/>
            <a:ext cx="5080448" cy="451832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2038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573" indent="0">
              <a:buNone/>
              <a:defRPr sz="2700">
                <a:solidFill>
                  <a:schemeClr val="accent3"/>
                </a:solidFill>
              </a:defRPr>
            </a:lvl2pPr>
            <a:lvl3pPr marL="474630" indent="0">
              <a:buNone/>
              <a:defRPr sz="2700">
                <a:solidFill>
                  <a:schemeClr val="accent3"/>
                </a:solidFill>
              </a:defRPr>
            </a:lvl3pPr>
            <a:lvl4pPr marL="703695" indent="0">
              <a:buNone/>
              <a:defRPr sz="2700">
                <a:solidFill>
                  <a:schemeClr val="accent3"/>
                </a:solidFill>
              </a:defRPr>
            </a:lvl4pPr>
            <a:lvl5pPr marL="932760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37713955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2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37" y="358952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36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37" y="819634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601" indent="0">
              <a:buNone/>
              <a:defRPr sz="2700">
                <a:solidFill>
                  <a:schemeClr val="accent3"/>
                </a:solidFill>
              </a:defRPr>
            </a:lvl2pPr>
            <a:lvl3pPr marL="474684" indent="0">
              <a:buNone/>
              <a:defRPr sz="2700">
                <a:solidFill>
                  <a:schemeClr val="accent3"/>
                </a:solidFill>
              </a:defRPr>
            </a:lvl3pPr>
            <a:lvl4pPr marL="703774" indent="0">
              <a:buNone/>
              <a:defRPr sz="2700">
                <a:solidFill>
                  <a:schemeClr val="accent3"/>
                </a:solidFill>
              </a:defRPr>
            </a:lvl4pPr>
            <a:lvl5pPr marL="932866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2103225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37" y="358952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37" y="819634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601" indent="0">
              <a:buNone/>
              <a:defRPr sz="2700">
                <a:solidFill>
                  <a:schemeClr val="accent3"/>
                </a:solidFill>
              </a:defRPr>
            </a:lvl2pPr>
            <a:lvl3pPr marL="474684" indent="0">
              <a:buNone/>
              <a:defRPr sz="2700">
                <a:solidFill>
                  <a:schemeClr val="accent3"/>
                </a:solidFill>
              </a:defRPr>
            </a:lvl3pPr>
            <a:lvl4pPr marL="703774" indent="0">
              <a:buNone/>
              <a:defRPr sz="2700">
                <a:solidFill>
                  <a:schemeClr val="accent3"/>
                </a:solidFill>
              </a:defRPr>
            </a:lvl4pPr>
            <a:lvl5pPr marL="932866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2038530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37" y="358952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36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37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601" indent="0">
              <a:buNone/>
              <a:defRPr sz="2700">
                <a:solidFill>
                  <a:schemeClr val="accent3"/>
                </a:solidFill>
              </a:defRPr>
            </a:lvl2pPr>
            <a:lvl3pPr marL="474684" indent="0">
              <a:buNone/>
              <a:defRPr sz="2700">
                <a:solidFill>
                  <a:schemeClr val="accent3"/>
                </a:solidFill>
              </a:defRPr>
            </a:lvl3pPr>
            <a:lvl4pPr marL="703774" indent="0">
              <a:buNone/>
              <a:defRPr sz="2700">
                <a:solidFill>
                  <a:schemeClr val="accent3"/>
                </a:solidFill>
              </a:defRPr>
            </a:lvl4pPr>
            <a:lvl5pPr marL="932866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354761250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36" y="1854632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4268632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58593579"/>
              </p:ext>
            </p:extLst>
          </p:nvPr>
        </p:nvGraphicFramePr>
        <p:xfrm>
          <a:off x="2077" y="2077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49133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52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77" y="2077"/>
                        <a:ext cx="2074" cy="20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4177279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orytelling: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80" y="1854632"/>
            <a:ext cx="5080446" cy="451832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854687"/>
            <a:ext cx="5080448" cy="451832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2037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601" indent="0">
              <a:buNone/>
              <a:defRPr sz="2700">
                <a:solidFill>
                  <a:schemeClr val="accent3"/>
                </a:solidFill>
              </a:defRPr>
            </a:lvl2pPr>
            <a:lvl3pPr marL="474684" indent="0">
              <a:buNone/>
              <a:defRPr sz="2700">
                <a:solidFill>
                  <a:schemeClr val="accent3"/>
                </a:solidFill>
              </a:defRPr>
            </a:lvl3pPr>
            <a:lvl4pPr marL="703774" indent="0">
              <a:buNone/>
              <a:defRPr sz="2700">
                <a:solidFill>
                  <a:schemeClr val="accent3"/>
                </a:solidFill>
              </a:defRPr>
            </a:lvl4pPr>
            <a:lvl5pPr marL="932866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999332566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27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0624000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907585613"/>
      </p:ext>
    </p:extLst>
  </p:cSld>
  <p:clrMapOvr>
    <a:masterClrMapping/>
  </p:clrMapOvr>
</p:sldLayout>
</file>

<file path=ppt/slideLayouts/slideLayout28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96184" y="2088072"/>
            <a:ext cx="10156746" cy="1440761"/>
          </a:xfrm>
        </p:spPr>
        <p:txBody>
          <a:bodyPr/>
          <a:lstStyle/>
          <a:p>
            <a:r>
              <a:rPr lang="x-none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792368" y="3808836"/>
            <a:ext cx="8364379" cy="171771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4578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915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373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7831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289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6747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2056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5663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x-none" smtClean="0"/>
              <a:t>Click to edit Master sub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3489406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8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ó image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432504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82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le &amp;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" name="Shape 66"/>
          <p:cNvSpPr>
            <a:spLocks noGrp="1"/>
          </p:cNvSpPr>
          <p:nvPr>
            <p:ph type="title"/>
          </p:nvPr>
        </p:nvSpPr>
        <p:spPr>
          <a:xfrm>
            <a:off x="875240" y="306320"/>
            <a:ext cx="10198755" cy="1487826"/>
          </a:xfrm>
          <a:prstGeom prst="rect">
            <a:avLst/>
          </a:prstGeom>
        </p:spPr>
        <p:txBody>
          <a:bodyPr/>
          <a:lstStyle>
            <a:lvl1pPr algn="l">
              <a:defRPr b="1">
                <a:latin typeface="Bebas Neue"/>
                <a:ea typeface="Bebas Neue"/>
                <a:cs typeface="Bebas Neue"/>
                <a:sym typeface="Bebas Neue"/>
              </a:defRPr>
            </a:lvl1pPr>
          </a:lstStyle>
          <a:p>
            <a:r>
              <a:t>Title Text</a:t>
            </a:r>
          </a:p>
        </p:txBody>
      </p:sp>
      <p:sp>
        <p:nvSpPr>
          <p:cNvPr id="67" name="Shape 67"/>
          <p:cNvSpPr>
            <a:spLocks noGrp="1"/>
          </p:cNvSpPr>
          <p:nvPr>
            <p:ph type="body" idx="1"/>
          </p:nvPr>
        </p:nvSpPr>
        <p:spPr>
          <a:xfrm>
            <a:off x="875240" y="1794143"/>
            <a:ext cx="10198755" cy="4332200"/>
          </a:xfrm>
          <a:prstGeom prst="rect">
            <a:avLst/>
          </a:prstGeom>
        </p:spPr>
        <p:txBody>
          <a:bodyPr/>
          <a:lstStyle>
            <a:lvl1pPr marL="339576" indent="-339576">
              <a:spcBef>
                <a:spcPts val="1075"/>
              </a:spcBef>
              <a:defRPr sz="2000" b="1">
                <a:latin typeface="Bebas Neue"/>
                <a:ea typeface="Bebas Neue"/>
                <a:cs typeface="Bebas Neue"/>
                <a:sym typeface="Bebas Neue"/>
              </a:defRPr>
            </a:lvl1pPr>
            <a:lvl2pPr>
              <a:spcBef>
                <a:spcPts val="1075"/>
              </a:spcBef>
              <a:defRPr sz="2000" b="1">
                <a:latin typeface="Bebas Neue"/>
                <a:ea typeface="Bebas Neue"/>
                <a:cs typeface="Bebas Neue"/>
                <a:sym typeface="Bebas Neue"/>
              </a:defRPr>
            </a:lvl2pPr>
            <a:lvl3pPr>
              <a:spcBef>
                <a:spcPts val="1075"/>
              </a:spcBef>
              <a:defRPr sz="2000" b="1">
                <a:latin typeface="Bebas Neue"/>
                <a:ea typeface="Bebas Neue"/>
                <a:cs typeface="Bebas Neue"/>
                <a:sym typeface="Bebas Neue"/>
              </a:defRPr>
            </a:lvl3pPr>
            <a:lvl4pPr>
              <a:spcBef>
                <a:spcPts val="1075"/>
              </a:spcBef>
              <a:defRPr sz="2000" b="1">
                <a:latin typeface="Bebas Neue"/>
                <a:ea typeface="Bebas Neue"/>
                <a:cs typeface="Bebas Neue"/>
                <a:sym typeface="Bebas Neue"/>
              </a:defRPr>
            </a:lvl4pPr>
            <a:lvl5pPr>
              <a:spcBef>
                <a:spcPts val="1075"/>
              </a:spcBef>
              <a:defRPr sz="2000" b="1">
                <a:latin typeface="Bebas Neue"/>
                <a:ea typeface="Bebas Neue"/>
                <a:cs typeface="Bebas Neue"/>
                <a:sym typeface="Bebas Neue"/>
              </a:defRPr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68" name="Shape 68"/>
          <p:cNvSpPr>
            <a:spLocks noGrp="1"/>
          </p:cNvSpPr>
          <p:nvPr>
            <p:ph type="sldNum" sz="quarter" idx="2"/>
          </p:nvPr>
        </p:nvSpPr>
        <p:spPr>
          <a:xfrm>
            <a:off x="5790830" y="6375777"/>
            <a:ext cx="355789" cy="295966"/>
          </a:xfrm>
          <a:prstGeom prst="rect">
            <a:avLst/>
          </a:prstGeom>
        </p:spPr>
        <p:txBody>
          <a:bodyPr lIns="91304" tIns="45652" rIns="91304" bIns="45652"/>
          <a:lstStyle/>
          <a:p>
            <a:fld id="{86CB4B4D-7CA3-9044-876B-883B54F8677D}" type="slidenum">
              <a:rPr>
                <a:solidFill>
                  <a:srgbClr val="5F5F5F"/>
                </a:solidFill>
                <a:latin typeface="Helvetica Light"/>
                <a:ea typeface="Helvetica Light"/>
                <a:cs typeface="Helvetica Light"/>
              </a:rPr>
              <a:pPr/>
              <a:t>‹nº›</a:t>
            </a:fld>
            <a:endParaRPr>
              <a:solidFill>
                <a:srgbClr val="5F5F5F"/>
              </a:solidFill>
              <a:latin typeface="Helvetica Light"/>
              <a:ea typeface="Helvetica Light"/>
              <a:cs typeface="Helvetica Light"/>
            </a:endParaRPr>
          </a:p>
        </p:txBody>
      </p:sp>
    </p:spTree>
    <p:extLst>
      <p:ext uri="{BB962C8B-B14F-4D97-AF65-F5344CB8AC3E}">
        <p14:creationId xmlns:p14="http://schemas.microsoft.com/office/powerpoint/2010/main" val="4147085380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Layout>
</file>

<file path=ppt/slideLayouts/slideLayout28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554482334"/>
      </p:ext>
    </p:extLst>
  </p:cSld>
  <p:clrMapOvr>
    <a:masterClrMapping/>
  </p:clrMapOvr>
</p:sldLayout>
</file>

<file path=ppt/slideLayouts/slideLayout2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38" y="358955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37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38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573" indent="0">
              <a:buNone/>
              <a:defRPr sz="2700">
                <a:solidFill>
                  <a:schemeClr val="accent3"/>
                </a:solidFill>
              </a:defRPr>
            </a:lvl2pPr>
            <a:lvl3pPr marL="474630" indent="0">
              <a:buNone/>
              <a:defRPr sz="2700">
                <a:solidFill>
                  <a:schemeClr val="accent3"/>
                </a:solidFill>
              </a:defRPr>
            </a:lvl3pPr>
            <a:lvl4pPr marL="703695" indent="0">
              <a:buNone/>
              <a:defRPr sz="2700">
                <a:solidFill>
                  <a:schemeClr val="accent3"/>
                </a:solidFill>
              </a:defRPr>
            </a:lvl4pPr>
            <a:lvl5pPr marL="932760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307326332"/>
      </p:ext>
    </p:extLst>
  </p:cSld>
  <p:clrMapOvr>
    <a:masterClrMapping/>
  </p:clrMapOvr>
</p:sldLayout>
</file>

<file path=ppt/slideLayouts/slideLayout2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37" y="1854632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37913977"/>
      </p:ext>
    </p:extLst>
  </p:cSld>
  <p:clrMapOvr>
    <a:masterClrMapping/>
  </p:clrMapOvr>
</p:sldLayout>
</file>

<file path=ppt/slideLayouts/slideLayout2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46574184"/>
      </p:ext>
    </p:extLst>
  </p:cSld>
  <p:clrMapOvr>
    <a:masterClrMapping/>
  </p:clrMapOvr>
</p:sldLayout>
</file>

<file path=ppt/slideLayouts/slideLayout2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80" y="1854632"/>
            <a:ext cx="5080446" cy="451832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854690"/>
            <a:ext cx="5080448" cy="451832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2038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573" indent="0">
              <a:buNone/>
              <a:defRPr sz="2700">
                <a:solidFill>
                  <a:schemeClr val="accent3"/>
                </a:solidFill>
              </a:defRPr>
            </a:lvl2pPr>
            <a:lvl3pPr marL="474630" indent="0">
              <a:buNone/>
              <a:defRPr sz="2700">
                <a:solidFill>
                  <a:schemeClr val="accent3"/>
                </a:solidFill>
              </a:defRPr>
            </a:lvl3pPr>
            <a:lvl4pPr marL="703695" indent="0">
              <a:buNone/>
              <a:defRPr sz="2700">
                <a:solidFill>
                  <a:schemeClr val="accent3"/>
                </a:solidFill>
              </a:defRPr>
            </a:lvl4pPr>
            <a:lvl5pPr marL="932760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77807091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2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80" y="358997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79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80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4687" indent="0">
              <a:buNone/>
              <a:defRPr sz="2700">
                <a:solidFill>
                  <a:schemeClr val="accent3"/>
                </a:solidFill>
              </a:defRPr>
            </a:lvl2pPr>
            <a:lvl3pPr marL="472916" indent="0">
              <a:buNone/>
              <a:defRPr sz="2700">
                <a:solidFill>
                  <a:schemeClr val="accent3"/>
                </a:solidFill>
              </a:defRPr>
            </a:lvl3pPr>
            <a:lvl4pPr marL="701150" indent="0">
              <a:buNone/>
              <a:defRPr sz="2700">
                <a:solidFill>
                  <a:schemeClr val="accent3"/>
                </a:solidFill>
              </a:defRPr>
            </a:lvl4pPr>
            <a:lvl5pPr marL="929386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962025803"/>
      </p:ext>
    </p:extLst>
  </p:cSld>
  <p:clrMapOvr>
    <a:masterClrMapping/>
  </p:clrMapOvr>
</p:sldLayout>
</file>

<file path=ppt/slideLayouts/slideLayout2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79" y="1854632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24758646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i Indi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612104" y="1383730"/>
            <a:ext cx="5080447" cy="4156583"/>
          </a:xfrm>
        </p:spPr>
        <p:txBody>
          <a:bodyPr/>
          <a:lstStyle>
            <a:lvl1pPr marL="0" indent="0">
              <a:buNone/>
              <a:defRPr/>
            </a:lvl1pPr>
            <a:lvl2pPr marL="244604" indent="0">
              <a:buNone/>
              <a:defRPr/>
            </a:lvl2pPr>
            <a:lvl3pPr marL="472756" indent="0">
              <a:buNone/>
              <a:defRPr/>
            </a:lvl3pPr>
            <a:lvl4pPr marL="700913" indent="0">
              <a:buNone/>
              <a:defRPr/>
            </a:lvl4pPr>
            <a:lvl5pPr marL="929070" indent="0">
              <a:buNone/>
              <a:defRPr/>
            </a:lvl5pPr>
          </a:lstStyle>
          <a:p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,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consectetuer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adipiscing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elit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,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sed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diam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nonummy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nibh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euismod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tincidunt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ut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laoreet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dolore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magna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aliquam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erat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volutpat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.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Ut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wisi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enim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ad minim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veniam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,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quis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nostrud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exerci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tation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ullamcorper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suscipit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lobortis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nisl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ut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aliquip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ex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ea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commodo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consequat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. </a:t>
            </a: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3" hasCustomPrompt="1"/>
          </p:nvPr>
        </p:nvSpPr>
        <p:spPr>
          <a:xfrm>
            <a:off x="6287808" y="1383730"/>
            <a:ext cx="5049330" cy="4156583"/>
          </a:xfrm>
        </p:spPr>
        <p:txBody>
          <a:bodyPr/>
          <a:lstStyle>
            <a:lvl1pPr marL="0" indent="0">
              <a:buNone/>
              <a:defRPr sz="2700"/>
            </a:lvl1pPr>
            <a:lvl2pPr marL="244604" indent="0">
              <a:buNone/>
              <a:defRPr sz="2700"/>
            </a:lvl2pPr>
            <a:lvl3pPr marL="472756" indent="0">
              <a:buNone/>
              <a:defRPr sz="2700"/>
            </a:lvl3pPr>
            <a:lvl4pPr marL="700913" indent="0">
              <a:buNone/>
              <a:defRPr sz="2700"/>
            </a:lvl4pPr>
            <a:lvl5pPr marL="929070" indent="0">
              <a:buNone/>
              <a:defRPr sz="2700"/>
            </a:lvl5pPr>
          </a:lstStyle>
          <a:p>
            <a:pPr lvl="0"/>
            <a:r>
              <a:rPr lang="pt-PT" dirty="0"/>
              <a:t>3. </a:t>
            </a:r>
            <a:r>
              <a:rPr lang="pt-PT" dirty="0" err="1"/>
              <a:t>Impsum</a:t>
            </a:r>
            <a:r>
              <a:rPr lang="pt-PT" dirty="0"/>
              <a:t> </a:t>
            </a:r>
            <a:r>
              <a:rPr lang="pt-PT" dirty="0" err="1"/>
              <a:t>dolor</a:t>
            </a:r>
            <a:r>
              <a:rPr lang="pt-PT" dirty="0"/>
              <a:t>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endParaRPr lang="pt-PT" dirty="0"/>
          </a:p>
          <a:p>
            <a:pPr lvl="0"/>
            <a:r>
              <a:rPr lang="pt-PT" dirty="0"/>
              <a:t>5. </a:t>
            </a:r>
            <a:r>
              <a:rPr lang="pt-PT" dirty="0" err="1"/>
              <a:t>Dolor</a:t>
            </a:r>
            <a:r>
              <a:rPr lang="pt-PT" dirty="0"/>
              <a:t>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endParaRPr lang="pt-PT" dirty="0"/>
          </a:p>
          <a:p>
            <a:pPr lvl="0"/>
            <a:r>
              <a:rPr lang="pt-PT" dirty="0"/>
              <a:t>10. </a:t>
            </a:r>
            <a:r>
              <a:rPr lang="pt-PT" dirty="0" err="1"/>
              <a:t>Lorem</a:t>
            </a:r>
            <a:r>
              <a:rPr lang="pt-PT" dirty="0"/>
              <a:t> </a:t>
            </a:r>
            <a:r>
              <a:rPr lang="pt-PT" dirty="0" err="1"/>
              <a:t>ipsum</a:t>
            </a:r>
            <a:endParaRPr lang="pt-PT" dirty="0"/>
          </a:p>
          <a:p>
            <a:pPr lvl="0"/>
            <a:r>
              <a:rPr lang="pt-PT" dirty="0"/>
              <a:t>15. </a:t>
            </a:r>
            <a:r>
              <a:rPr lang="pt-PT" dirty="0" err="1"/>
              <a:t>Ipsum</a:t>
            </a:r>
            <a:r>
              <a:rPr lang="pt-PT" dirty="0"/>
              <a:t> </a:t>
            </a:r>
            <a:r>
              <a:rPr lang="pt-PT" dirty="0" err="1"/>
              <a:t>dolor</a:t>
            </a:r>
            <a:r>
              <a:rPr lang="pt-PT" dirty="0"/>
              <a:t>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r>
              <a:rPr lang="pt-PT" dirty="0"/>
              <a:t> </a:t>
            </a:r>
            <a:endParaRPr lang="en-US" dirty="0"/>
          </a:p>
        </p:txBody>
      </p:sp>
      <p:sp>
        <p:nvSpPr>
          <p:cNvPr id="11" name="TextBox 10"/>
          <p:cNvSpPr txBox="1"/>
          <p:nvPr userDrawn="1"/>
        </p:nvSpPr>
        <p:spPr>
          <a:xfrm>
            <a:off x="611979" y="5852799"/>
            <a:ext cx="3574719" cy="470497"/>
          </a:xfrm>
          <a:prstGeom prst="rect">
            <a:avLst/>
          </a:prstGeom>
          <a:noFill/>
        </p:spPr>
        <p:txBody>
          <a:bodyPr wrap="none" lIns="46618" tIns="46618" rIns="46618" bIns="46618" rtlCol="0" anchor="ctr" anchorCtr="0">
            <a:noAutofit/>
          </a:bodyPr>
          <a:lstStyle/>
          <a:p>
            <a:pPr defTabSz="591947" fontAlgn="auto">
              <a:lnSpc>
                <a:spcPts val="2352"/>
              </a:lnSpc>
              <a:spcBef>
                <a:spcPts val="0"/>
              </a:spcBef>
              <a:spcAft>
                <a:spcPts val="0"/>
              </a:spcAft>
            </a:pPr>
            <a:r>
              <a:rPr lang="pt-BR" sz="2700" dirty="0">
                <a:solidFill>
                  <a:srgbClr val="9F37FE"/>
                </a:solidFill>
                <a:latin typeface="Simplon BP" charset="0"/>
                <a:ea typeface="Simplon BP" charset="0"/>
                <a:cs typeface="Simplon BP" charset="0"/>
              </a:rPr>
              <a:t>TOTAL DE SLIDES:</a:t>
            </a:r>
            <a:endParaRPr lang="en-US" sz="2700" dirty="0">
              <a:solidFill>
                <a:srgbClr val="9F37FE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13" name="Text Placeholder 16"/>
          <p:cNvSpPr>
            <a:spLocks noGrp="1"/>
          </p:cNvSpPr>
          <p:nvPr>
            <p:ph type="body" sz="quarter" idx="14" hasCustomPrompt="1"/>
          </p:nvPr>
        </p:nvSpPr>
        <p:spPr>
          <a:xfrm>
            <a:off x="3810046" y="5852799"/>
            <a:ext cx="753042" cy="470497"/>
          </a:xfrm>
          <a:noFill/>
        </p:spPr>
        <p:txBody>
          <a:bodyPr wrap="none" lIns="46618" tIns="46618" rIns="46618" bIns="46618" rtlCol="0" anchor="ctr" anchorCtr="0">
            <a:noAutofit/>
          </a:bodyPr>
          <a:lstStyle>
            <a:lvl1pPr marL="0" indent="0">
              <a:buNone/>
              <a:defRPr lang="en-US" sz="2700" dirty="0">
                <a:solidFill>
                  <a:schemeClr val="accent1"/>
                </a:solidFill>
                <a:latin typeface="Simplon BP" charset="0"/>
                <a:ea typeface="Simplon BP" charset="0"/>
                <a:cs typeface="Simplon BP" charset="0"/>
              </a:defRPr>
            </a:lvl1pPr>
          </a:lstStyle>
          <a:p>
            <a:pPr marL="0" lvl="0">
              <a:lnSpc>
                <a:spcPts val="2352"/>
              </a:lnSpc>
              <a:spcAft>
                <a:spcPts val="0"/>
              </a:spcAft>
            </a:pPr>
            <a:r>
              <a:rPr lang="pt-PT" dirty="0"/>
              <a:t>##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42029562"/>
      </p:ext>
    </p:extLst>
  </p:cSld>
  <p:clrMapOvr>
    <a:masterClrMapping/>
  </p:clrMapOvr>
</p:sldLayout>
</file>

<file path=ppt/slideLayouts/slideLayout2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18213213"/>
      </p:ext>
    </p:extLst>
  </p:cSld>
  <p:clrMapOvr>
    <a:masterClrMapping/>
  </p:clrMapOvr>
</p:sldLayout>
</file>

<file path=ppt/slideLayouts/slideLayout2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80" y="1854632"/>
            <a:ext cx="5080446" cy="451832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854730"/>
            <a:ext cx="5080448" cy="451832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2080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4687" indent="0">
              <a:buNone/>
              <a:defRPr sz="2700">
                <a:solidFill>
                  <a:schemeClr val="accent3"/>
                </a:solidFill>
              </a:defRPr>
            </a:lvl2pPr>
            <a:lvl3pPr marL="472916" indent="0">
              <a:buNone/>
              <a:defRPr sz="2700">
                <a:solidFill>
                  <a:schemeClr val="accent3"/>
                </a:solidFill>
              </a:defRPr>
            </a:lvl3pPr>
            <a:lvl4pPr marL="701150" indent="0">
              <a:buNone/>
              <a:defRPr sz="2700">
                <a:solidFill>
                  <a:schemeClr val="accent3"/>
                </a:solidFill>
              </a:defRPr>
            </a:lvl4pPr>
            <a:lvl5pPr marL="929386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377227875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2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92323207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55270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51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 userDrawn="1"/>
        </p:nvSpPr>
        <p:spPr bwMode="auto">
          <a:xfrm>
            <a:off x="437849" y="131306"/>
            <a:ext cx="88165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pt-BR" sz="800" b="1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WORKING DRAFT</a:t>
            </a:r>
            <a:endParaRPr lang="pt-BR" sz="800" b="1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256937" y="36518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pt-BR" sz="800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 userDrawn="1"/>
        </p:nvSpPr>
        <p:spPr bwMode="auto">
          <a:xfrm>
            <a:off x="437874" y="286879"/>
            <a:ext cx="3069751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 userDrawn="1"/>
        </p:nvSpPr>
        <p:spPr bwMode="auto">
          <a:xfrm>
            <a:off x="437851" y="444039"/>
            <a:ext cx="270106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8" name="McK Title Elements" hidden="1"/>
          <p:cNvGrpSpPr>
            <a:grpSpLocks/>
          </p:cNvGrpSpPr>
          <p:nvPr userDrawn="1"/>
        </p:nvGrpSpPr>
        <p:grpSpPr bwMode="auto">
          <a:xfrm>
            <a:off x="5" y="121"/>
            <a:ext cx="11944879" cy="6723063"/>
            <a:chOff x="0" y="0"/>
            <a:chExt cx="5643" cy="4235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207" y="3361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ocument typ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207" y="3550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at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1" name="McK Disclaimer"/>
            <p:cNvSpPr>
              <a:spLocks noChangeArrowheads="1"/>
            </p:cNvSpPr>
            <p:nvPr/>
          </p:nvSpPr>
          <p:spPr bwMode="auto">
            <a:xfrm>
              <a:off x="207" y="3963"/>
              <a:ext cx="3226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797488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NFIDENTIAL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D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PRIETARY</a:t>
              </a:r>
              <a:endParaRPr lang="pt-BR" sz="80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  <a:p>
              <a:pPr defTabSz="797488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use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his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aterial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without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pecific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ermission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cKinsey &amp;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mpan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is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trictl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hibited</a:t>
              </a:r>
              <a:endParaRPr lang="pt-BR" sz="8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2" name="TitleBottomPlaceholder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3" name="TitleTopPlaceholder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Rectangle 1189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pic>
        <p:nvPicPr>
          <p:cNvPr id="18" name="TitleBottomBarBW" hidden="1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65766" y="6443669"/>
            <a:ext cx="2182379" cy="1920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7" name="Freeform 5"/>
          <p:cNvSpPr>
            <a:spLocks/>
          </p:cNvSpPr>
          <p:nvPr userDrawn="1"/>
        </p:nvSpPr>
        <p:spPr bwMode="auto">
          <a:xfrm flipH="1">
            <a:off x="4236" y="6635876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0587" tIns="45292" rIns="90587" bIns="45292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9" name="Freeform 5"/>
          <p:cNvSpPr>
            <a:spLocks/>
          </p:cNvSpPr>
          <p:nvPr userDrawn="1"/>
        </p:nvSpPr>
        <p:spPr bwMode="auto">
          <a:xfrm flipH="1">
            <a:off x="4236" y="3283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0587" tIns="45292" rIns="90587" bIns="45292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 userDrawn="1">
            <p:ph type="ctrTitle"/>
          </p:nvPr>
        </p:nvSpPr>
        <p:spPr>
          <a:xfrm>
            <a:off x="437853" y="2238434"/>
            <a:ext cx="6581329" cy="1292662"/>
          </a:xfrm>
          <a:prstGeom prst="rect">
            <a:avLst/>
          </a:prstGeom>
        </p:spPr>
        <p:txBody>
          <a:bodyPr/>
          <a:lstStyle>
            <a:lvl1pPr>
              <a:defRPr sz="4200" b="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dirty="0" smtClean="0"/>
              <a:t>Click </a:t>
            </a:r>
            <a:r>
              <a:rPr lang="pt-BR" noProof="0" dirty="0" err="1" smtClean="0"/>
              <a:t>to</a:t>
            </a:r>
            <a:r>
              <a:rPr lang="pt-BR" noProof="0" dirty="0" smtClean="0"/>
              <a:t> </a:t>
            </a:r>
            <a:r>
              <a:rPr lang="pt-BR" noProof="0" dirty="0" err="1" smtClean="0"/>
              <a:t>edit</a:t>
            </a:r>
            <a:r>
              <a:rPr lang="pt-BR" noProof="0" dirty="0" smtClean="0"/>
              <a:t> Master </a:t>
            </a:r>
            <a:r>
              <a:rPr lang="pt-BR" noProof="0" dirty="0" err="1" smtClean="0"/>
              <a:t>title</a:t>
            </a:r>
            <a:r>
              <a:rPr lang="pt-BR" noProof="0" dirty="0" smtClean="0"/>
              <a:t> </a:t>
            </a:r>
            <a:r>
              <a:rPr lang="pt-BR" noProof="0" dirty="0" err="1" smtClean="0"/>
              <a:t>style</a:t>
            </a:r>
            <a:endParaRPr lang="pt-BR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437852" y="3762851"/>
            <a:ext cx="6450496" cy="482639"/>
          </a:xfrm>
        </p:spPr>
        <p:txBody>
          <a:bodyPr wrap="square">
            <a:spAutoFit/>
          </a:bodyPr>
          <a:lstStyle>
            <a:lvl1pPr>
              <a:defRPr sz="310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smtClean="0"/>
              <a:t>Click to edit Master subtitle style</a:t>
            </a:r>
            <a:endParaRPr lang="pt-BR" noProof="0" dirty="0" smtClean="0"/>
          </a:p>
        </p:txBody>
      </p:sp>
      <p:grpSp>
        <p:nvGrpSpPr>
          <p:cNvPr id="25" name="Group 24"/>
          <p:cNvGrpSpPr/>
          <p:nvPr userDrawn="1"/>
        </p:nvGrpSpPr>
        <p:grpSpPr>
          <a:xfrm>
            <a:off x="8526083" y="2325895"/>
            <a:ext cx="3423031" cy="3656746"/>
            <a:chOff x="5526523" y="2325890"/>
            <a:chExt cx="3423032" cy="3656747"/>
          </a:xfrm>
        </p:grpSpPr>
        <p:sp>
          <p:nvSpPr>
            <p:cNvPr id="26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27" name="Group 26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28" name="Donut 27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29" name="Oval 28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0" name="Oval 29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416343411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44373485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51175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52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211678" y="230292"/>
            <a:ext cx="10903658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US" noProof="0" dirty="0" smtClean="0"/>
            </a:lvl1pPr>
          </a:lstStyle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</p:spTree>
    <p:extLst>
      <p:ext uri="{BB962C8B-B14F-4D97-AF65-F5344CB8AC3E}">
        <p14:creationId xmlns:p14="http://schemas.microsoft.com/office/powerpoint/2010/main" val="28381505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9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21502" y="359015"/>
            <a:ext cx="10306110" cy="307777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656994317"/>
      </p:ext>
    </p:extLst>
  </p:cSld>
  <p:clrMapOvr>
    <a:masterClrMapping/>
  </p:clrMapOvr>
</p:sldLayout>
</file>

<file path=ppt/slideLayouts/slideLayout29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316975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29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422137" y="349431"/>
            <a:ext cx="6749230" cy="254184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703"/>
              </a:lnSpc>
              <a:defRPr sz="4700">
                <a:solidFill>
                  <a:srgbClr val="18C3FF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r>
              <a:rPr lang="en-US" dirty="0" smtClean="0"/>
              <a:t>. LOREM IPSUM DOLOR SIT AMET HAS ID CIBO QUIDAM</a:t>
            </a:r>
            <a:endParaRPr lang="en-US" dirty="0"/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422137" y="3071971"/>
            <a:ext cx="6749230" cy="796308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591926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1926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1926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08668412"/>
      </p:ext>
    </p:extLst>
  </p:cSld>
  <p:clrMapOvr>
    <a:masterClrMapping/>
  </p:clrMapOvr>
</p:sldLayout>
</file>

<file path=ppt/slideLayouts/slideLayout2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2046526324"/>
      </p:ext>
    </p:extLst>
  </p:cSld>
  <p:clrMapOvr>
    <a:masterClrMapping/>
  </p:clrMapOvr>
</p:sldLayout>
</file>

<file path=ppt/slideLayouts/slideLayout29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60" y="1576"/>
          <a:ext cx="1555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52199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52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60" y="1576"/>
                        <a:ext cx="1555" cy="155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 userDrawn="1"/>
        </p:nvSpPr>
        <p:spPr>
          <a:xfrm>
            <a:off x="1" y="-58698"/>
            <a:ext cx="11949113" cy="186905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587" tIns="45292" rIns="90587" bIns="45292"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75613" y="228703"/>
            <a:ext cx="11491891" cy="30777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05838091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29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347546374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21502" y="359015"/>
            <a:ext cx="10306110" cy="307777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195662811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I Titulo Corpo later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104" y="358894"/>
            <a:ext cx="5069337" cy="6014060"/>
          </a:xfrm>
        </p:spPr>
        <p:txBody>
          <a:bodyPr/>
          <a:lstStyle>
            <a:lvl1pPr marL="0" marR="0" indent="0" algn="l" defTabSz="591947" rtl="0" eaLnBrk="1" fontAlgn="auto" latinLnBrk="0" hangingPunct="1">
              <a:lnSpc>
                <a:spcPts val="5486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r>
              <a:rPr lang="pt-PT" dirty="0"/>
              <a:t>Título </a:t>
            </a:r>
            <a:r>
              <a:rPr lang="pt-PT" dirty="0" err="1"/>
              <a:t>Lorem</a:t>
            </a:r>
            <a:r>
              <a:rPr lang="pt-PT" dirty="0"/>
              <a:t> </a:t>
            </a:r>
            <a:r>
              <a:rPr lang="pt-PT" dirty="0" err="1"/>
              <a:t>ipsum</a:t>
            </a:r>
            <a:r>
              <a:rPr lang="pt-PT" dirty="0"/>
              <a:t> DOLOR SIT AMET CONSECTETOR LOREM IPSUM INSERIR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256813" y="358894"/>
            <a:ext cx="5080447" cy="601406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18125915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30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Oi Indi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612104" y="1383727"/>
            <a:ext cx="5080447" cy="1689238"/>
          </a:xfrm>
        </p:spPr>
        <p:txBody>
          <a:bodyPr/>
          <a:lstStyle>
            <a:lvl1pPr marL="0" indent="0">
              <a:buNone/>
              <a:defRPr/>
            </a:lvl1pPr>
            <a:lvl2pPr marL="244604" indent="0">
              <a:buNone/>
              <a:defRPr/>
            </a:lvl2pPr>
            <a:lvl3pPr marL="472756" indent="0">
              <a:buNone/>
              <a:defRPr/>
            </a:lvl3pPr>
            <a:lvl4pPr marL="700913" indent="0">
              <a:buNone/>
              <a:defRPr/>
            </a:lvl4pPr>
            <a:lvl5pPr marL="929070" indent="0">
              <a:buNone/>
              <a:defRPr/>
            </a:lvl5pPr>
          </a:lstStyle>
          <a:p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,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consectetuer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adipiscing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elit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,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sed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diam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nonummy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nibh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euismod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tincidunt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ut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laoreet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dolore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magna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aliquam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erat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volutpat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.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Ut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wisi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enim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ad minim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veniam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,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quis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nostrud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exerci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tation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ullamcorper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suscipit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lobortis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nisl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ut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aliquip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ex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ea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commodo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consequat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. </a:t>
            </a: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3" hasCustomPrompt="1"/>
          </p:nvPr>
        </p:nvSpPr>
        <p:spPr>
          <a:xfrm>
            <a:off x="6287808" y="1383727"/>
            <a:ext cx="5049330" cy="1689238"/>
          </a:xfrm>
        </p:spPr>
        <p:txBody>
          <a:bodyPr/>
          <a:lstStyle>
            <a:lvl1pPr marL="0" indent="0">
              <a:buNone/>
              <a:defRPr sz="2700"/>
            </a:lvl1pPr>
            <a:lvl2pPr marL="244604" indent="0">
              <a:buNone/>
              <a:defRPr sz="2700"/>
            </a:lvl2pPr>
            <a:lvl3pPr marL="472756" indent="0">
              <a:buNone/>
              <a:defRPr sz="2700"/>
            </a:lvl3pPr>
            <a:lvl4pPr marL="700913" indent="0">
              <a:buNone/>
              <a:defRPr sz="2700"/>
            </a:lvl4pPr>
            <a:lvl5pPr marL="929070" indent="0">
              <a:buNone/>
              <a:defRPr sz="2700"/>
            </a:lvl5pPr>
          </a:lstStyle>
          <a:p>
            <a:pPr lvl="0"/>
            <a:r>
              <a:rPr lang="pt-PT" dirty="0"/>
              <a:t>3. </a:t>
            </a:r>
            <a:r>
              <a:rPr lang="pt-PT" dirty="0" err="1"/>
              <a:t>Impsum</a:t>
            </a:r>
            <a:r>
              <a:rPr lang="pt-PT" dirty="0"/>
              <a:t> </a:t>
            </a:r>
            <a:r>
              <a:rPr lang="pt-PT" dirty="0" err="1"/>
              <a:t>dolor</a:t>
            </a:r>
            <a:r>
              <a:rPr lang="pt-PT" dirty="0"/>
              <a:t>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endParaRPr lang="pt-PT" dirty="0"/>
          </a:p>
          <a:p>
            <a:pPr lvl="0"/>
            <a:r>
              <a:rPr lang="pt-PT" dirty="0"/>
              <a:t>5. </a:t>
            </a:r>
            <a:r>
              <a:rPr lang="pt-PT" dirty="0" err="1"/>
              <a:t>Dolor</a:t>
            </a:r>
            <a:r>
              <a:rPr lang="pt-PT" dirty="0"/>
              <a:t>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endParaRPr lang="pt-PT" dirty="0"/>
          </a:p>
          <a:p>
            <a:pPr lvl="0"/>
            <a:r>
              <a:rPr lang="pt-PT" dirty="0"/>
              <a:t>10. </a:t>
            </a:r>
            <a:r>
              <a:rPr lang="pt-PT" dirty="0" err="1"/>
              <a:t>Lorem</a:t>
            </a:r>
            <a:r>
              <a:rPr lang="pt-PT" dirty="0"/>
              <a:t> </a:t>
            </a:r>
            <a:r>
              <a:rPr lang="pt-PT" dirty="0" err="1"/>
              <a:t>ipsum</a:t>
            </a:r>
            <a:endParaRPr lang="pt-PT" dirty="0"/>
          </a:p>
          <a:p>
            <a:pPr lvl="0"/>
            <a:r>
              <a:rPr lang="pt-PT" dirty="0"/>
              <a:t>15. </a:t>
            </a:r>
            <a:r>
              <a:rPr lang="pt-PT" dirty="0" err="1"/>
              <a:t>Ipsum</a:t>
            </a:r>
            <a:r>
              <a:rPr lang="pt-PT" dirty="0"/>
              <a:t> </a:t>
            </a:r>
            <a:r>
              <a:rPr lang="pt-PT" dirty="0" err="1"/>
              <a:t>dolor</a:t>
            </a:r>
            <a:r>
              <a:rPr lang="pt-PT" dirty="0"/>
              <a:t>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r>
              <a:rPr lang="pt-PT" dirty="0"/>
              <a:t> </a:t>
            </a:r>
            <a:endParaRPr lang="en-US" dirty="0"/>
          </a:p>
        </p:txBody>
      </p:sp>
      <p:sp>
        <p:nvSpPr>
          <p:cNvPr id="11" name="TextBox 10"/>
          <p:cNvSpPr txBox="1"/>
          <p:nvPr userDrawn="1"/>
        </p:nvSpPr>
        <p:spPr>
          <a:xfrm>
            <a:off x="611979" y="5852799"/>
            <a:ext cx="3574719" cy="470497"/>
          </a:xfrm>
          <a:prstGeom prst="rect">
            <a:avLst/>
          </a:prstGeom>
          <a:noFill/>
        </p:spPr>
        <p:txBody>
          <a:bodyPr wrap="none" lIns="46618" tIns="46618" rIns="46618" bIns="46618" rtlCol="0" anchor="ctr" anchorCtr="0">
            <a:noAutofit/>
          </a:bodyPr>
          <a:lstStyle/>
          <a:p>
            <a:pPr defTabSz="591947" fontAlgn="auto">
              <a:lnSpc>
                <a:spcPts val="2352"/>
              </a:lnSpc>
              <a:spcBef>
                <a:spcPts val="0"/>
              </a:spcBef>
              <a:spcAft>
                <a:spcPts val="0"/>
              </a:spcAft>
            </a:pPr>
            <a:r>
              <a:rPr lang="pt-BR" sz="2700" dirty="0">
                <a:solidFill>
                  <a:srgbClr val="9F37FE"/>
                </a:solidFill>
                <a:latin typeface="Simplon BP" charset="0"/>
                <a:ea typeface="Simplon BP" charset="0"/>
                <a:cs typeface="Simplon BP" charset="0"/>
              </a:rPr>
              <a:t>TOTAL DE SLIDES:</a:t>
            </a:r>
            <a:endParaRPr lang="en-US" sz="2700" dirty="0">
              <a:solidFill>
                <a:srgbClr val="9F37FE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13" name="Text Placeholder 16"/>
          <p:cNvSpPr>
            <a:spLocks noGrp="1"/>
          </p:cNvSpPr>
          <p:nvPr>
            <p:ph type="body" sz="quarter" idx="14" hasCustomPrompt="1"/>
          </p:nvPr>
        </p:nvSpPr>
        <p:spPr>
          <a:xfrm>
            <a:off x="3810046" y="5852799"/>
            <a:ext cx="753042" cy="470497"/>
          </a:xfrm>
          <a:noFill/>
        </p:spPr>
        <p:txBody>
          <a:bodyPr wrap="none" lIns="46618" tIns="46618" rIns="46618" bIns="46618" rtlCol="0" anchor="ctr" anchorCtr="0">
            <a:noAutofit/>
          </a:bodyPr>
          <a:lstStyle>
            <a:lvl1pPr marL="0" indent="0">
              <a:buNone/>
              <a:defRPr lang="en-US" sz="2700" dirty="0">
                <a:solidFill>
                  <a:schemeClr val="accent1"/>
                </a:solidFill>
                <a:latin typeface="Simplon BP" charset="0"/>
                <a:ea typeface="Simplon BP" charset="0"/>
                <a:cs typeface="Simplon BP" charset="0"/>
              </a:defRPr>
            </a:lvl1pPr>
          </a:lstStyle>
          <a:p>
            <a:pPr marL="0" lvl="0">
              <a:lnSpc>
                <a:spcPts val="2352"/>
              </a:lnSpc>
              <a:spcAft>
                <a:spcPts val="0"/>
              </a:spcAft>
            </a:pPr>
            <a:r>
              <a:rPr lang="pt-PT" dirty="0"/>
              <a:t>##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80921730"/>
      </p:ext>
    </p:extLst>
  </p:cSld>
  <p:clrMapOvr>
    <a:masterClrMapping/>
  </p:clrMapOvr>
</p:sldLayout>
</file>

<file path=ppt/slideLayouts/slideLayout30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8052843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30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077" y="2077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53223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52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77" y="2077"/>
                        <a:ext cx="2074" cy="20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11676" y="230279"/>
            <a:ext cx="10530036" cy="643520"/>
          </a:xfrm>
        </p:spPr>
        <p:txBody>
          <a:bodyPr/>
          <a:lstStyle>
            <a:lvl1pPr>
              <a:defRPr sz="4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22707640"/>
      </p:ext>
    </p:extLst>
  </p:cSld>
  <p:clrMapOvr>
    <a:masterClrMapping/>
  </p:clrMapOvr>
</p:sldLayout>
</file>

<file path=ppt/slideLayouts/slideLayout30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Só image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077" y="2077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54247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52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77" y="2077"/>
                        <a:ext cx="2074" cy="20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3" descr="C:\Users\oi200333\AppData\Local\Microsoft\Windows\Temporary Internet Files\Content.Outlook\A6QMUCU8\OIOI 0004 008 AF 160105 Logomarca_RGB_Roxo_1H.PNG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86782" y="138321"/>
            <a:ext cx="1234572" cy="8731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ítulo 4"/>
          <p:cNvSpPr>
            <a:spLocks noGrp="1"/>
          </p:cNvSpPr>
          <p:nvPr>
            <p:ph type="title"/>
          </p:nvPr>
        </p:nvSpPr>
        <p:spPr>
          <a:xfrm>
            <a:off x="234581" y="420981"/>
            <a:ext cx="10754202" cy="490525"/>
          </a:xfrm>
          <a:prstGeom prst="rect">
            <a:avLst/>
          </a:prstGeom>
        </p:spPr>
        <p:txBody>
          <a:bodyPr/>
          <a:lstStyle>
            <a:lvl1pPr>
              <a:defRPr sz="3100" i="0">
                <a:solidFill>
                  <a:srgbClr val="4D4D4D"/>
                </a:solidFill>
                <a:latin typeface="Simplon Oi Headline" pitchFamily="2" charset="0"/>
              </a:defRPr>
            </a:lvl1pPr>
          </a:lstStyle>
          <a:p>
            <a:endParaRPr lang="pt-BR" dirty="0"/>
          </a:p>
        </p:txBody>
      </p:sp>
      <p:sp>
        <p:nvSpPr>
          <p:cNvPr id="7" name="Espaço Reservado para Texto 6"/>
          <p:cNvSpPr>
            <a:spLocks noGrp="1"/>
          </p:cNvSpPr>
          <p:nvPr>
            <p:ph type="body" sz="quarter" idx="10"/>
          </p:nvPr>
        </p:nvSpPr>
        <p:spPr>
          <a:xfrm>
            <a:off x="241314" y="70581"/>
            <a:ext cx="10487308" cy="402186"/>
          </a:xfrm>
          <a:prstGeom prst="rect">
            <a:avLst/>
          </a:prstGeom>
        </p:spPr>
        <p:txBody>
          <a:bodyPr lIns="119313" tIns="59659" rIns="119313" bIns="59659"/>
          <a:lstStyle>
            <a:lvl1pPr>
              <a:defRPr sz="1800" b="1">
                <a:solidFill>
                  <a:schemeClr val="tx1">
                    <a:lumMod val="50000"/>
                    <a:lumOff val="50000"/>
                  </a:schemeClr>
                </a:solidFill>
                <a:latin typeface="Simplon BP Regular" pitchFamily="2" charset="0"/>
              </a:defRPr>
            </a:lvl1pPr>
            <a:lvl2pPr>
              <a:defRPr sz="1600">
                <a:latin typeface="Simplon BP Regular" pitchFamily="2" charset="0"/>
              </a:defRPr>
            </a:lvl2pPr>
            <a:lvl3pPr>
              <a:defRPr sz="1600">
                <a:latin typeface="Simplon BP Regular" pitchFamily="2" charset="0"/>
              </a:defRPr>
            </a:lvl3pPr>
            <a:lvl4pPr>
              <a:defRPr sz="1600">
                <a:latin typeface="Simplon BP Regular" pitchFamily="2" charset="0"/>
              </a:defRPr>
            </a:lvl4pPr>
            <a:lvl5pPr>
              <a:defRPr sz="1600">
                <a:latin typeface="Simplon BP Regular" pitchFamily="2" charset="0"/>
              </a:defRPr>
            </a:lvl5pPr>
          </a:lstStyle>
          <a:p>
            <a:pPr lvl="0"/>
            <a:r>
              <a:rPr lang="pt-BR" dirty="0" smtClean="0"/>
              <a:t>Clique para editar o texto mestre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31560251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38478311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1411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51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 userDrawn="1"/>
        </p:nvSpPr>
        <p:spPr bwMode="auto">
          <a:xfrm>
            <a:off x="437849" y="131306"/>
            <a:ext cx="88165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pt-BR" sz="800" b="1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WORKING DRAFT</a:t>
            </a:r>
            <a:endParaRPr lang="pt-BR" sz="800" b="1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256937" y="36518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pt-BR" sz="800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 userDrawn="1"/>
        </p:nvSpPr>
        <p:spPr bwMode="auto">
          <a:xfrm>
            <a:off x="437874" y="286879"/>
            <a:ext cx="3069751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 userDrawn="1"/>
        </p:nvSpPr>
        <p:spPr bwMode="auto">
          <a:xfrm>
            <a:off x="437851" y="444039"/>
            <a:ext cx="270106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8" name="McK Title Elements" hidden="1"/>
          <p:cNvGrpSpPr>
            <a:grpSpLocks/>
          </p:cNvGrpSpPr>
          <p:nvPr userDrawn="1"/>
        </p:nvGrpSpPr>
        <p:grpSpPr bwMode="auto">
          <a:xfrm>
            <a:off x="5" y="121"/>
            <a:ext cx="11944879" cy="6723063"/>
            <a:chOff x="0" y="0"/>
            <a:chExt cx="5643" cy="4235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207" y="3361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ocument typ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207" y="3550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at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1" name="McK Disclaimer"/>
            <p:cNvSpPr>
              <a:spLocks noChangeArrowheads="1"/>
            </p:cNvSpPr>
            <p:nvPr/>
          </p:nvSpPr>
          <p:spPr bwMode="auto">
            <a:xfrm>
              <a:off x="207" y="3963"/>
              <a:ext cx="3226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797488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NFIDENTIAL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D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PRIETARY</a:t>
              </a:r>
              <a:endParaRPr lang="pt-BR" sz="80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  <a:p>
              <a:pPr defTabSz="797488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use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his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aterial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without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pecific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ermission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cKinsey &amp;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mpan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is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trictl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hibited</a:t>
              </a:r>
              <a:endParaRPr lang="pt-BR" sz="8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2" name="TitleBottomPlaceholder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3" name="TitleTopPlaceholder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Rectangle 1189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pic>
        <p:nvPicPr>
          <p:cNvPr id="18" name="TitleBottomBarBW" hidden="1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65766" y="6443669"/>
            <a:ext cx="2182379" cy="1920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7" name="Freeform 5"/>
          <p:cNvSpPr>
            <a:spLocks/>
          </p:cNvSpPr>
          <p:nvPr userDrawn="1"/>
        </p:nvSpPr>
        <p:spPr bwMode="auto">
          <a:xfrm flipH="1">
            <a:off x="4236" y="6635876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0587" tIns="45292" rIns="90587" bIns="45292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9" name="Freeform 5"/>
          <p:cNvSpPr>
            <a:spLocks/>
          </p:cNvSpPr>
          <p:nvPr userDrawn="1"/>
        </p:nvSpPr>
        <p:spPr bwMode="auto">
          <a:xfrm flipH="1">
            <a:off x="4236" y="3283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0587" tIns="45292" rIns="90587" bIns="45292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 userDrawn="1">
            <p:ph type="ctrTitle"/>
          </p:nvPr>
        </p:nvSpPr>
        <p:spPr>
          <a:xfrm>
            <a:off x="437853" y="2238434"/>
            <a:ext cx="6581329" cy="1292662"/>
          </a:xfrm>
          <a:prstGeom prst="rect">
            <a:avLst/>
          </a:prstGeom>
        </p:spPr>
        <p:txBody>
          <a:bodyPr/>
          <a:lstStyle>
            <a:lvl1pPr>
              <a:defRPr sz="4200" b="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dirty="0" smtClean="0"/>
              <a:t>Click </a:t>
            </a:r>
            <a:r>
              <a:rPr lang="pt-BR" noProof="0" dirty="0" err="1" smtClean="0"/>
              <a:t>to</a:t>
            </a:r>
            <a:r>
              <a:rPr lang="pt-BR" noProof="0" dirty="0" smtClean="0"/>
              <a:t> </a:t>
            </a:r>
            <a:r>
              <a:rPr lang="pt-BR" noProof="0" dirty="0" err="1" smtClean="0"/>
              <a:t>edit</a:t>
            </a:r>
            <a:r>
              <a:rPr lang="pt-BR" noProof="0" dirty="0" smtClean="0"/>
              <a:t> Master </a:t>
            </a:r>
            <a:r>
              <a:rPr lang="pt-BR" noProof="0" dirty="0" err="1" smtClean="0"/>
              <a:t>title</a:t>
            </a:r>
            <a:r>
              <a:rPr lang="pt-BR" noProof="0" dirty="0" smtClean="0"/>
              <a:t> </a:t>
            </a:r>
            <a:r>
              <a:rPr lang="pt-BR" noProof="0" dirty="0" err="1" smtClean="0"/>
              <a:t>style</a:t>
            </a:r>
            <a:endParaRPr lang="pt-BR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437852" y="3762851"/>
            <a:ext cx="6450496" cy="482639"/>
          </a:xfrm>
        </p:spPr>
        <p:txBody>
          <a:bodyPr wrap="square">
            <a:spAutoFit/>
          </a:bodyPr>
          <a:lstStyle>
            <a:lvl1pPr>
              <a:defRPr sz="310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smtClean="0"/>
              <a:t>Click to edit Master subtitle style</a:t>
            </a:r>
            <a:endParaRPr lang="pt-BR" noProof="0" dirty="0" smtClean="0"/>
          </a:p>
        </p:txBody>
      </p:sp>
      <p:grpSp>
        <p:nvGrpSpPr>
          <p:cNvPr id="25" name="Group 24"/>
          <p:cNvGrpSpPr/>
          <p:nvPr userDrawn="1"/>
        </p:nvGrpSpPr>
        <p:grpSpPr>
          <a:xfrm>
            <a:off x="8526083" y="2325895"/>
            <a:ext cx="3423031" cy="3656746"/>
            <a:chOff x="5526523" y="2325890"/>
            <a:chExt cx="3423032" cy="3656747"/>
          </a:xfrm>
        </p:grpSpPr>
        <p:sp>
          <p:nvSpPr>
            <p:cNvPr id="26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27" name="Group 26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28" name="Donut 27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29" name="Oval 28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0" name="Oval 29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44983176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53591205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57316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51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211678" y="230292"/>
            <a:ext cx="10903658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US" noProof="0" dirty="0" smtClean="0"/>
            </a:lvl1pPr>
          </a:lstStyle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</p:spTree>
    <p:extLst>
      <p:ext uri="{BB962C8B-B14F-4D97-AF65-F5344CB8AC3E}">
        <p14:creationId xmlns:p14="http://schemas.microsoft.com/office/powerpoint/2010/main" val="264417317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0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21502" y="359015"/>
            <a:ext cx="10306110" cy="307777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037373907"/>
      </p:ext>
    </p:extLst>
  </p:cSld>
  <p:clrMapOvr>
    <a:masterClrMapping/>
  </p:clrMapOvr>
</p:sldLayout>
</file>

<file path=ppt/slideLayouts/slideLayout30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076247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30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422137" y="349431"/>
            <a:ext cx="6749230" cy="254184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703"/>
              </a:lnSpc>
              <a:defRPr sz="4700">
                <a:solidFill>
                  <a:srgbClr val="18C3FF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r>
              <a:rPr lang="en-US" dirty="0" smtClean="0"/>
              <a:t>. LOREM IPSUM DOLOR SIT AMET HAS ID CIBO QUIDAM</a:t>
            </a:r>
            <a:endParaRPr lang="en-US" dirty="0"/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422137" y="3071971"/>
            <a:ext cx="6749230" cy="796308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591926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1926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1926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24967990"/>
      </p:ext>
    </p:extLst>
  </p:cSld>
  <p:clrMapOvr>
    <a:masterClrMapping/>
  </p:clrMapOvr>
</p:sldLayout>
</file>

<file path=ppt/slideLayouts/slideLayout3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3065529577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I Titulo Corpo Lateral Destaq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104" y="358894"/>
            <a:ext cx="5069337" cy="6014060"/>
          </a:xfrm>
        </p:spPr>
        <p:txBody>
          <a:bodyPr/>
          <a:lstStyle>
            <a:lvl1pPr marL="0" marR="0" indent="0" algn="l" defTabSz="591947" rtl="0" eaLnBrk="1" fontAlgn="auto" latinLnBrk="0" hangingPunct="1">
              <a:lnSpc>
                <a:spcPts val="5486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r>
              <a:rPr lang="pt-PT" dirty="0"/>
              <a:t>Título </a:t>
            </a:r>
            <a:r>
              <a:rPr lang="pt-PT" dirty="0" err="1"/>
              <a:t>Lorem</a:t>
            </a:r>
            <a:r>
              <a:rPr lang="pt-PT" dirty="0"/>
              <a:t> </a:t>
            </a:r>
            <a:r>
              <a:rPr lang="pt-PT" dirty="0" err="1"/>
              <a:t>ipsum</a:t>
            </a:r>
            <a:r>
              <a:rPr lang="pt-PT" dirty="0"/>
              <a:t> DOLOR SIT AMET CONSECTETOR LOREM IPSUM INSERIR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2" hasCustomPrompt="1"/>
          </p:nvPr>
        </p:nvSpPr>
        <p:spPr>
          <a:xfrm>
            <a:off x="6256691" y="358894"/>
            <a:ext cx="5094969" cy="6014060"/>
          </a:xfrm>
        </p:spPr>
        <p:txBody>
          <a:bodyPr/>
          <a:lstStyle>
            <a:lvl1pPr marL="302176" indent="-302176">
              <a:buFont typeface="Arial" charset="0"/>
              <a:buChar char="•"/>
              <a:tabLst/>
              <a:defRPr sz="2700">
                <a:solidFill>
                  <a:schemeClr val="tx1"/>
                </a:solidFill>
              </a:defRPr>
            </a:lvl1pPr>
            <a:lvl2pPr>
              <a:defRPr sz="2700"/>
            </a:lvl2pPr>
            <a:lvl3pPr>
              <a:defRPr sz="2700"/>
            </a:lvl3pPr>
            <a:lvl4pPr>
              <a:defRPr sz="2700"/>
            </a:lvl4pPr>
            <a:lvl5pPr>
              <a:defRPr sz="2700"/>
            </a:lvl5pPr>
          </a:lstStyle>
          <a:p>
            <a:pPr lvl="0"/>
            <a:r>
              <a:rPr lang="pt-PT" dirty="0" err="1"/>
              <a:t>Lorem</a:t>
            </a:r>
            <a:r>
              <a:rPr lang="pt-PT" dirty="0"/>
              <a:t> </a:t>
            </a:r>
            <a:r>
              <a:rPr lang="pt-PT" dirty="0" err="1"/>
              <a:t>ipsum</a:t>
            </a:r>
            <a:r>
              <a:rPr lang="pt-PT" dirty="0"/>
              <a:t>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r>
              <a:rPr lang="pt-PT" dirty="0"/>
              <a:t> </a:t>
            </a:r>
            <a:r>
              <a:rPr lang="pt-PT" dirty="0" err="1"/>
              <a:t>ips</a:t>
            </a:r>
            <a:r>
              <a:rPr lang="pt-PT" dirty="0"/>
              <a:t>;</a:t>
            </a:r>
          </a:p>
          <a:p>
            <a:pPr lvl="0"/>
            <a:r>
              <a:rPr lang="pt-PT" dirty="0" err="1"/>
              <a:t>Ipsum</a:t>
            </a:r>
            <a:r>
              <a:rPr lang="pt-PT" dirty="0"/>
              <a:t> </a:t>
            </a:r>
            <a:r>
              <a:rPr lang="pt-PT" dirty="0" err="1"/>
              <a:t>dolor</a:t>
            </a:r>
            <a:r>
              <a:rPr lang="pt-PT" dirty="0"/>
              <a:t>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r>
              <a:rPr lang="pt-PT" dirty="0"/>
              <a:t> </a:t>
            </a:r>
            <a:r>
              <a:rPr lang="pt-PT" dirty="0" err="1"/>
              <a:t>lorem</a:t>
            </a:r>
            <a:r>
              <a:rPr lang="pt-PT" dirty="0"/>
              <a:t>;</a:t>
            </a:r>
          </a:p>
          <a:p>
            <a:pPr lvl="0"/>
            <a:r>
              <a:rPr lang="pt-PT" dirty="0" err="1"/>
              <a:t>Lorem</a:t>
            </a:r>
            <a:r>
              <a:rPr lang="pt-PT" dirty="0"/>
              <a:t> </a:t>
            </a:r>
            <a:r>
              <a:rPr lang="pt-PT" dirty="0" err="1"/>
              <a:t>dolor</a:t>
            </a:r>
            <a:r>
              <a:rPr lang="pt-PT" dirty="0"/>
              <a:t>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r>
              <a:rPr lang="pt-PT" dirty="0"/>
              <a:t>;</a:t>
            </a:r>
          </a:p>
          <a:p>
            <a:pPr lvl="0"/>
            <a:r>
              <a:rPr lang="pt-PT" dirty="0" err="1"/>
              <a:t>Lorem</a:t>
            </a:r>
            <a:r>
              <a:rPr lang="pt-PT" dirty="0"/>
              <a:t> </a:t>
            </a:r>
            <a:r>
              <a:rPr lang="pt-PT" dirty="0" err="1"/>
              <a:t>ipsum</a:t>
            </a:r>
            <a:r>
              <a:rPr lang="pt-PT" dirty="0"/>
              <a:t>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lorem</a:t>
            </a:r>
            <a:r>
              <a:rPr lang="pt-PT" dirty="0"/>
              <a:t>;</a:t>
            </a:r>
          </a:p>
          <a:p>
            <a:pPr lvl="0"/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r>
              <a:rPr lang="pt-PT" dirty="0"/>
              <a:t>;</a:t>
            </a:r>
          </a:p>
          <a:p>
            <a:pPr lvl="0"/>
            <a:r>
              <a:rPr lang="pt-PT" dirty="0" err="1"/>
              <a:t>Dolor</a:t>
            </a:r>
            <a:r>
              <a:rPr lang="pt-PT" dirty="0"/>
              <a:t>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r>
              <a:rPr lang="pt-PT" dirty="0"/>
              <a:t>;</a:t>
            </a:r>
          </a:p>
          <a:p>
            <a:pPr lvl="0"/>
            <a:r>
              <a:rPr lang="pt-PT" dirty="0" err="1"/>
              <a:t>Amet</a:t>
            </a:r>
            <a:r>
              <a:rPr lang="pt-PT" dirty="0"/>
              <a:t>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lorem</a:t>
            </a:r>
            <a:r>
              <a:rPr lang="pt-PT" dirty="0"/>
              <a:t> </a:t>
            </a:r>
            <a:r>
              <a:rPr lang="pt-PT" dirty="0" err="1"/>
              <a:t>ipsum</a:t>
            </a:r>
            <a:r>
              <a:rPr lang="pt-PT" dirty="0"/>
              <a:t>;</a:t>
            </a:r>
          </a:p>
          <a:p>
            <a:pPr lvl="0"/>
            <a:r>
              <a:rPr lang="pt-PT" dirty="0" err="1"/>
              <a:t>Lorem</a:t>
            </a:r>
            <a:r>
              <a:rPr lang="pt-PT" dirty="0"/>
              <a:t> </a:t>
            </a:r>
            <a:r>
              <a:rPr lang="pt-PT" dirty="0" err="1"/>
              <a:t>ipsum</a:t>
            </a:r>
            <a:r>
              <a:rPr lang="pt-PT" dirty="0"/>
              <a:t> </a:t>
            </a:r>
            <a:r>
              <a:rPr lang="pt-PT" dirty="0" err="1"/>
              <a:t>dolor</a:t>
            </a:r>
            <a:r>
              <a:rPr lang="pt-PT" dirty="0"/>
              <a:t>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r>
              <a:rPr lang="pt-PT" dirty="0"/>
              <a:t>.</a:t>
            </a:r>
          </a:p>
          <a:p>
            <a:pPr lvl="0"/>
            <a:endParaRPr lang="pt-PT" dirty="0"/>
          </a:p>
        </p:txBody>
      </p:sp>
    </p:spTree>
    <p:extLst>
      <p:ext uri="{BB962C8B-B14F-4D97-AF65-F5344CB8AC3E}">
        <p14:creationId xmlns:p14="http://schemas.microsoft.com/office/powerpoint/2010/main" val="133585526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2744">
          <p15:clr>
            <a:srgbClr val="FBAE40"/>
          </p15:clr>
        </p15:guide>
        <p15:guide id="2" pos="3016">
          <p15:clr>
            <a:srgbClr val="FBAE40"/>
          </p15:clr>
        </p15:guide>
      </p15:sldGuideLst>
    </p:ext>
  </p:extLst>
</p:sldLayout>
</file>

<file path=ppt/slideLayouts/slideLayout3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60" y="1576"/>
          <a:ext cx="1555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58340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51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60" y="1576"/>
                        <a:ext cx="1555" cy="155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 userDrawn="1"/>
        </p:nvSpPr>
        <p:spPr>
          <a:xfrm>
            <a:off x="1" y="-58698"/>
            <a:ext cx="11949113" cy="186905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587" tIns="45292" rIns="90587" bIns="45292"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75613" y="228703"/>
            <a:ext cx="11491891" cy="30777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69694069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31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2869821971"/>
      </p:ext>
    </p:extLst>
  </p:cSld>
  <p:clrMapOvr>
    <a:masterClrMapping/>
  </p:clrMapOvr>
</p:sldLayout>
</file>

<file path=ppt/slideLayouts/slideLayout3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0776388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3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2067066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3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077" y="2077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59364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51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77" y="2077"/>
                        <a:ext cx="2074" cy="20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11676" y="230279"/>
            <a:ext cx="10530036" cy="643520"/>
          </a:xfrm>
        </p:spPr>
        <p:txBody>
          <a:bodyPr/>
          <a:lstStyle>
            <a:lvl1pPr>
              <a:defRPr sz="4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65414347"/>
      </p:ext>
    </p:extLst>
  </p:cSld>
  <p:clrMapOvr>
    <a:masterClrMapping/>
  </p:clrMapOvr>
</p:sldLayout>
</file>

<file path=ppt/slideLayouts/slideLayout3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Só image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077" y="2077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0388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51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77" y="2077"/>
                        <a:ext cx="2074" cy="20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3" descr="C:\Users\oi200333\AppData\Local\Microsoft\Windows\Temporary Internet Files\Content.Outlook\A6QMUCU8\OIOI 0004 008 AF 160105 Logomarca_RGB_Roxo_1H.PNG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86782" y="138321"/>
            <a:ext cx="1234572" cy="8731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ítulo 4"/>
          <p:cNvSpPr>
            <a:spLocks noGrp="1"/>
          </p:cNvSpPr>
          <p:nvPr>
            <p:ph type="title"/>
          </p:nvPr>
        </p:nvSpPr>
        <p:spPr>
          <a:xfrm>
            <a:off x="234581" y="420981"/>
            <a:ext cx="10754202" cy="490525"/>
          </a:xfrm>
          <a:prstGeom prst="rect">
            <a:avLst/>
          </a:prstGeom>
        </p:spPr>
        <p:txBody>
          <a:bodyPr/>
          <a:lstStyle>
            <a:lvl1pPr>
              <a:defRPr sz="3100" i="0">
                <a:solidFill>
                  <a:srgbClr val="4D4D4D"/>
                </a:solidFill>
                <a:latin typeface="Simplon Oi Headline" pitchFamily="2" charset="0"/>
              </a:defRPr>
            </a:lvl1pPr>
          </a:lstStyle>
          <a:p>
            <a:endParaRPr lang="pt-BR" dirty="0"/>
          </a:p>
        </p:txBody>
      </p:sp>
      <p:sp>
        <p:nvSpPr>
          <p:cNvPr id="7" name="Espaço Reservado para Texto 6"/>
          <p:cNvSpPr>
            <a:spLocks noGrp="1"/>
          </p:cNvSpPr>
          <p:nvPr>
            <p:ph type="body" sz="quarter" idx="10"/>
          </p:nvPr>
        </p:nvSpPr>
        <p:spPr>
          <a:xfrm>
            <a:off x="241314" y="70581"/>
            <a:ext cx="10487308" cy="402186"/>
          </a:xfrm>
          <a:prstGeom prst="rect">
            <a:avLst/>
          </a:prstGeom>
        </p:spPr>
        <p:txBody>
          <a:bodyPr lIns="119313" tIns="59659" rIns="119313" bIns="59659"/>
          <a:lstStyle>
            <a:lvl1pPr>
              <a:defRPr sz="1800" b="1">
                <a:solidFill>
                  <a:schemeClr val="tx1">
                    <a:lumMod val="50000"/>
                    <a:lumOff val="50000"/>
                  </a:schemeClr>
                </a:solidFill>
                <a:latin typeface="Simplon BP Regular" pitchFamily="2" charset="0"/>
              </a:defRPr>
            </a:lvl1pPr>
            <a:lvl2pPr>
              <a:defRPr sz="1600">
                <a:latin typeface="Simplon BP Regular" pitchFamily="2" charset="0"/>
              </a:defRPr>
            </a:lvl2pPr>
            <a:lvl3pPr>
              <a:defRPr sz="1600">
                <a:latin typeface="Simplon BP Regular" pitchFamily="2" charset="0"/>
              </a:defRPr>
            </a:lvl3pPr>
            <a:lvl4pPr>
              <a:defRPr sz="1600">
                <a:latin typeface="Simplon BP Regular" pitchFamily="2" charset="0"/>
              </a:defRPr>
            </a:lvl4pPr>
            <a:lvl5pPr>
              <a:defRPr sz="1600">
                <a:latin typeface="Simplon BP Regular" pitchFamily="2" charset="0"/>
              </a:defRPr>
            </a:lvl5pPr>
          </a:lstStyle>
          <a:p>
            <a:pPr lvl="0"/>
            <a:r>
              <a:rPr lang="pt-BR" dirty="0" smtClean="0"/>
              <a:t>Clique para editar o texto mestre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57140944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036985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3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1687824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3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4829575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3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1285958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pt-PT" dirty="0" err="1"/>
              <a:t>Click</a:t>
            </a:r>
            <a:r>
              <a:rPr lang="pt-PT" dirty="0"/>
              <a:t> to </a:t>
            </a:r>
            <a:r>
              <a:rPr lang="pt-PT" dirty="0" err="1"/>
              <a:t>edit</a:t>
            </a:r>
            <a:r>
              <a:rPr lang="pt-PT" dirty="0"/>
              <a:t> </a:t>
            </a:r>
            <a:r>
              <a:rPr lang="pt-PT" dirty="0" err="1"/>
              <a:t>title</a:t>
            </a:r>
            <a:r>
              <a:rPr lang="pt-PT" dirty="0"/>
              <a:t> </a:t>
            </a:r>
            <a:r>
              <a:rPr lang="pt-PT" dirty="0" err="1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65290755"/>
      </p:ext>
    </p:extLst>
  </p:cSld>
  <p:clrMapOvr>
    <a:masterClrMapping/>
  </p:clrMapOvr>
</p:sldLayout>
</file>

<file path=ppt/slideLayouts/slideLayout3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3344930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3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EA288C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5138799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3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6D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6842241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3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A02B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7273487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3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53" y="358969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50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53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268" indent="0">
              <a:buNone/>
              <a:defRPr sz="2700">
                <a:solidFill>
                  <a:schemeClr val="accent3"/>
                </a:solidFill>
              </a:defRPr>
            </a:lvl2pPr>
            <a:lvl3pPr marL="474041" indent="0">
              <a:buNone/>
              <a:defRPr sz="2700">
                <a:solidFill>
                  <a:schemeClr val="accent3"/>
                </a:solidFill>
              </a:defRPr>
            </a:lvl3pPr>
            <a:lvl4pPr marL="702818" indent="0">
              <a:buNone/>
              <a:defRPr sz="2700">
                <a:solidFill>
                  <a:schemeClr val="accent3"/>
                </a:solidFill>
              </a:defRPr>
            </a:lvl4pPr>
            <a:lvl5pPr marL="931601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3069434852"/>
      </p:ext>
    </p:extLst>
  </p:cSld>
  <p:clrMapOvr>
    <a:masterClrMapping/>
  </p:clrMapOvr>
</p:sldLayout>
</file>

<file path=ppt/slideLayouts/slideLayout3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50" y="1854632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16620906"/>
      </p:ext>
    </p:extLst>
  </p:cSld>
  <p:clrMapOvr>
    <a:masterClrMapping/>
  </p:clrMapOvr>
</p:sldLayout>
</file>

<file path=ppt/slideLayouts/slideLayout3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40275532"/>
      </p:ext>
    </p:extLst>
  </p:cSld>
  <p:clrMapOvr>
    <a:masterClrMapping/>
  </p:clrMapOvr>
</p:sldLayout>
</file>

<file path=ppt/slideLayouts/slideLayout3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80" y="1854632"/>
            <a:ext cx="5080446" cy="451832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854704"/>
            <a:ext cx="5080448" cy="451832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2053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268" indent="0">
              <a:buNone/>
              <a:defRPr sz="2700">
                <a:solidFill>
                  <a:schemeClr val="accent3"/>
                </a:solidFill>
              </a:defRPr>
            </a:lvl2pPr>
            <a:lvl3pPr marL="474041" indent="0">
              <a:buNone/>
              <a:defRPr sz="2700">
                <a:solidFill>
                  <a:schemeClr val="accent3"/>
                </a:solidFill>
              </a:defRPr>
            </a:lvl3pPr>
            <a:lvl4pPr marL="702818" indent="0">
              <a:buNone/>
              <a:defRPr sz="2700">
                <a:solidFill>
                  <a:schemeClr val="accent3"/>
                </a:solidFill>
              </a:defRPr>
            </a:lvl4pPr>
            <a:lvl5pPr marL="931601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72054648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3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53" y="358969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50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53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268" indent="0">
              <a:buNone/>
              <a:defRPr sz="2700">
                <a:solidFill>
                  <a:schemeClr val="accent3"/>
                </a:solidFill>
              </a:defRPr>
            </a:lvl2pPr>
            <a:lvl3pPr marL="474041" indent="0">
              <a:buNone/>
              <a:defRPr sz="2700">
                <a:solidFill>
                  <a:schemeClr val="accent3"/>
                </a:solidFill>
              </a:defRPr>
            </a:lvl3pPr>
            <a:lvl4pPr marL="702818" indent="0">
              <a:buNone/>
              <a:defRPr sz="2700">
                <a:solidFill>
                  <a:schemeClr val="accent3"/>
                </a:solidFill>
              </a:defRPr>
            </a:lvl4pPr>
            <a:lvl5pPr marL="931601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738346806"/>
      </p:ext>
    </p:extLst>
  </p:cSld>
  <p:clrMapOvr>
    <a:masterClrMapping/>
  </p:clrMapOvr>
</p:sldLayout>
</file>

<file path=ppt/slideLayouts/slideLayout3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50" y="1854632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80007605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7685029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3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28009669"/>
      </p:ext>
    </p:extLst>
  </p:cSld>
  <p:clrMapOvr>
    <a:masterClrMapping/>
  </p:clrMapOvr>
</p:sldLayout>
</file>

<file path=ppt/slideLayouts/slideLayout3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80" y="1854632"/>
            <a:ext cx="5080446" cy="451832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854704"/>
            <a:ext cx="5080448" cy="451832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2053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268" indent="0">
              <a:buNone/>
              <a:defRPr sz="2700">
                <a:solidFill>
                  <a:schemeClr val="accent3"/>
                </a:solidFill>
              </a:defRPr>
            </a:lvl2pPr>
            <a:lvl3pPr marL="474041" indent="0">
              <a:buNone/>
              <a:defRPr sz="2700">
                <a:solidFill>
                  <a:schemeClr val="accent3"/>
                </a:solidFill>
              </a:defRPr>
            </a:lvl3pPr>
            <a:lvl4pPr marL="702818" indent="0">
              <a:buNone/>
              <a:defRPr sz="2700">
                <a:solidFill>
                  <a:schemeClr val="accent3"/>
                </a:solidFill>
              </a:defRPr>
            </a:lvl4pPr>
            <a:lvl5pPr marL="931601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09489683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3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9288861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3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0299399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3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3439933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3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4258955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3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0811232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3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EA288C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0631701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3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6D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2744186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3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A02B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2690966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54136993"/>
              </p:ext>
            </p:extLst>
          </p:nvPr>
        </p:nvGraphicFramePr>
        <p:xfrm>
          <a:off x="2120" y="1606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11173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80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606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 userDrawn="1"/>
        </p:nvSpPr>
        <p:spPr bwMode="auto">
          <a:xfrm>
            <a:off x="437849" y="131301"/>
            <a:ext cx="88165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pt-BR" sz="800" b="1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WORKING DRAFT</a:t>
            </a:r>
            <a:endParaRPr lang="pt-BR" sz="800" b="1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256937" y="36518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pt-BR" sz="800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 userDrawn="1"/>
        </p:nvSpPr>
        <p:spPr bwMode="auto">
          <a:xfrm>
            <a:off x="437869" y="286875"/>
            <a:ext cx="2987997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/02/2017 08:07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 userDrawn="1"/>
        </p:nvSpPr>
        <p:spPr bwMode="auto">
          <a:xfrm>
            <a:off x="437851" y="444039"/>
            <a:ext cx="270106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8" name="McK Title Elements" hidden="1"/>
          <p:cNvGrpSpPr>
            <a:grpSpLocks/>
          </p:cNvGrpSpPr>
          <p:nvPr userDrawn="1"/>
        </p:nvGrpSpPr>
        <p:grpSpPr bwMode="auto">
          <a:xfrm>
            <a:off x="5" y="118"/>
            <a:ext cx="11944879" cy="6723063"/>
            <a:chOff x="0" y="0"/>
            <a:chExt cx="5643" cy="4235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207" y="3361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ocument typ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207" y="3550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at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1" name="McK Disclaimer"/>
            <p:cNvSpPr>
              <a:spLocks noChangeArrowheads="1"/>
            </p:cNvSpPr>
            <p:nvPr/>
          </p:nvSpPr>
          <p:spPr bwMode="auto">
            <a:xfrm>
              <a:off x="207" y="3963"/>
              <a:ext cx="3226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797578" eaLnBrk="0" hangingPunct="0"/>
              <a:r>
                <a:rPr lang="pt-BR" sz="800" dirty="0" err="1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CONFIDENTIAL</a:t>
              </a:r>
              <a:r>
                <a:rPr lang="pt-BR" sz="800" dirty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AND</a:t>
              </a:r>
              <a:r>
                <a:rPr lang="pt-BR" sz="800" dirty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PROPRIETARY</a:t>
              </a:r>
              <a:endParaRPr lang="pt-BR" sz="800" dirty="0">
                <a:solidFill>
                  <a:srgbClr val="000000"/>
                </a:solidFill>
                <a:latin typeface="Arial"/>
                <a:cs typeface="Arial" panose="020B0604020202020204" pitchFamily="34" charset="0"/>
                <a:sym typeface="Arial" panose="020B0604020202020204" pitchFamily="34" charset="0"/>
              </a:endParaRPr>
            </a:p>
            <a:p>
              <a:pPr defTabSz="797578" eaLnBrk="0" hangingPunct="0"/>
              <a:r>
                <a:rPr lang="pt-BR" sz="800" dirty="0" err="1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Any</a:t>
              </a:r>
              <a:r>
                <a:rPr lang="pt-BR" sz="800" dirty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 use </a:t>
              </a:r>
              <a:r>
                <a:rPr lang="pt-BR" sz="800" dirty="0" err="1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this</a:t>
              </a:r>
              <a:r>
                <a:rPr lang="pt-BR" sz="800" dirty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 material </a:t>
              </a:r>
              <a:r>
                <a:rPr lang="pt-BR" sz="800" dirty="0" err="1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without</a:t>
              </a:r>
              <a:r>
                <a:rPr lang="pt-BR" sz="800" dirty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specific</a:t>
              </a:r>
              <a:r>
                <a:rPr lang="pt-BR" sz="800" dirty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permission</a:t>
              </a:r>
              <a:r>
                <a:rPr lang="pt-BR" sz="800" dirty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 McKinsey &amp; </a:t>
              </a:r>
              <a:r>
                <a:rPr lang="pt-BR" sz="800" dirty="0" err="1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Company</a:t>
              </a:r>
              <a:r>
                <a:rPr lang="pt-BR" sz="800" dirty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is</a:t>
              </a:r>
              <a:r>
                <a:rPr lang="pt-BR" sz="800" dirty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strictly</a:t>
              </a:r>
              <a:r>
                <a:rPr lang="pt-BR" sz="800" dirty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prohibited</a:t>
              </a:r>
              <a:endParaRPr lang="pt-BR" sz="800" dirty="0">
                <a:solidFill>
                  <a:srgbClr val="000000"/>
                </a:solidFill>
                <a:latin typeface="Arial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2" name="TitleBottomPlaceholder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3" name="TitleTopPlaceholder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Rectangle 1189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pic>
        <p:nvPicPr>
          <p:cNvPr id="18" name="TitleBottomBarBW" hidden="1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65761" y="6443681"/>
            <a:ext cx="2182379" cy="1920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7" name="Freeform 5"/>
          <p:cNvSpPr>
            <a:spLocks/>
          </p:cNvSpPr>
          <p:nvPr userDrawn="1"/>
        </p:nvSpPr>
        <p:spPr bwMode="auto">
          <a:xfrm flipH="1">
            <a:off x="4236" y="6635873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0597" tIns="45298" rIns="90597" bIns="45298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9" name="Freeform 5"/>
          <p:cNvSpPr>
            <a:spLocks/>
          </p:cNvSpPr>
          <p:nvPr userDrawn="1"/>
        </p:nvSpPr>
        <p:spPr bwMode="auto">
          <a:xfrm flipH="1">
            <a:off x="4236" y="3282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0597" tIns="45298" rIns="90597" bIns="45298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 userDrawn="1">
            <p:ph type="ctrTitle"/>
          </p:nvPr>
        </p:nvSpPr>
        <p:spPr>
          <a:xfrm>
            <a:off x="437853" y="2238434"/>
            <a:ext cx="6581329" cy="1292662"/>
          </a:xfrm>
          <a:prstGeom prst="rect">
            <a:avLst/>
          </a:prstGeom>
        </p:spPr>
        <p:txBody>
          <a:bodyPr/>
          <a:lstStyle>
            <a:lvl1pPr>
              <a:defRPr sz="4200" b="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dirty="0" smtClean="0"/>
              <a:t>Click </a:t>
            </a:r>
            <a:r>
              <a:rPr lang="pt-BR" noProof="0" dirty="0" err="1" smtClean="0"/>
              <a:t>to</a:t>
            </a:r>
            <a:r>
              <a:rPr lang="pt-BR" noProof="0" dirty="0" smtClean="0"/>
              <a:t> </a:t>
            </a:r>
            <a:r>
              <a:rPr lang="pt-BR" noProof="0" dirty="0" err="1" smtClean="0"/>
              <a:t>edit</a:t>
            </a:r>
            <a:r>
              <a:rPr lang="pt-BR" noProof="0" dirty="0" smtClean="0"/>
              <a:t> Master </a:t>
            </a:r>
            <a:r>
              <a:rPr lang="pt-BR" noProof="0" dirty="0" err="1" smtClean="0"/>
              <a:t>title</a:t>
            </a:r>
            <a:r>
              <a:rPr lang="pt-BR" noProof="0" dirty="0" smtClean="0"/>
              <a:t> </a:t>
            </a:r>
            <a:r>
              <a:rPr lang="pt-BR" noProof="0" dirty="0" err="1" smtClean="0"/>
              <a:t>style</a:t>
            </a:r>
            <a:endParaRPr lang="pt-BR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437852" y="3762846"/>
            <a:ext cx="6450496" cy="482639"/>
          </a:xfrm>
        </p:spPr>
        <p:txBody>
          <a:bodyPr wrap="square">
            <a:spAutoFit/>
          </a:bodyPr>
          <a:lstStyle>
            <a:lvl1pPr>
              <a:defRPr sz="310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smtClean="0"/>
              <a:t>Click to edit Master subtitle style</a:t>
            </a:r>
            <a:endParaRPr lang="pt-BR" noProof="0" dirty="0" smtClean="0"/>
          </a:p>
        </p:txBody>
      </p:sp>
      <p:grpSp>
        <p:nvGrpSpPr>
          <p:cNvPr id="25" name="Group 24"/>
          <p:cNvGrpSpPr/>
          <p:nvPr userDrawn="1"/>
        </p:nvGrpSpPr>
        <p:grpSpPr>
          <a:xfrm>
            <a:off x="8526083" y="2325908"/>
            <a:ext cx="3423031" cy="3656746"/>
            <a:chOff x="5526523" y="2325890"/>
            <a:chExt cx="3423032" cy="3656747"/>
          </a:xfrm>
        </p:grpSpPr>
        <p:sp>
          <p:nvSpPr>
            <p:cNvPr id="26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27" name="Group 26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28" name="Donut 27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29" name="Oval 28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0" name="Oval 29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07832356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79886432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74717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51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 userDrawn="1"/>
        </p:nvSpPr>
        <p:spPr bwMode="auto">
          <a:xfrm>
            <a:off x="437849" y="131306"/>
            <a:ext cx="88165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pt-BR" sz="800" b="1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WORKING DRAFT</a:t>
            </a:r>
            <a:endParaRPr lang="pt-BR" sz="800" b="1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256937" y="36518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pt-BR" sz="800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 userDrawn="1"/>
        </p:nvSpPr>
        <p:spPr bwMode="auto">
          <a:xfrm>
            <a:off x="437874" y="286879"/>
            <a:ext cx="3069751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 userDrawn="1"/>
        </p:nvSpPr>
        <p:spPr bwMode="auto">
          <a:xfrm>
            <a:off x="437851" y="444039"/>
            <a:ext cx="270106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8" name="McK Title Elements" hidden="1"/>
          <p:cNvGrpSpPr>
            <a:grpSpLocks/>
          </p:cNvGrpSpPr>
          <p:nvPr userDrawn="1"/>
        </p:nvGrpSpPr>
        <p:grpSpPr bwMode="auto">
          <a:xfrm>
            <a:off x="5" y="121"/>
            <a:ext cx="11944879" cy="6723063"/>
            <a:chOff x="0" y="0"/>
            <a:chExt cx="5643" cy="4235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207" y="3361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ocument typ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207" y="3550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at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1" name="McK Disclaimer"/>
            <p:cNvSpPr>
              <a:spLocks noChangeArrowheads="1"/>
            </p:cNvSpPr>
            <p:nvPr/>
          </p:nvSpPr>
          <p:spPr bwMode="auto">
            <a:xfrm>
              <a:off x="207" y="3963"/>
              <a:ext cx="3226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797488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NFIDENTIAL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D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PRIETARY</a:t>
              </a:r>
              <a:endParaRPr lang="pt-BR" sz="80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  <a:p>
              <a:pPr defTabSz="797488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use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his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aterial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without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pecific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ermission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cKinsey &amp;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mpan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is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trictl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hibited</a:t>
              </a:r>
              <a:endParaRPr lang="pt-BR" sz="8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2" name="TitleBottomPlaceholder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3" name="TitleTopPlaceholder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Rectangle 1189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pic>
        <p:nvPicPr>
          <p:cNvPr id="18" name="TitleBottomBarBW" hidden="1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65766" y="6443669"/>
            <a:ext cx="2182379" cy="1920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7" name="Freeform 5"/>
          <p:cNvSpPr>
            <a:spLocks/>
          </p:cNvSpPr>
          <p:nvPr userDrawn="1"/>
        </p:nvSpPr>
        <p:spPr bwMode="auto">
          <a:xfrm flipH="1">
            <a:off x="4236" y="6635876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0587" tIns="45292" rIns="90587" bIns="45292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9" name="Freeform 5"/>
          <p:cNvSpPr>
            <a:spLocks/>
          </p:cNvSpPr>
          <p:nvPr userDrawn="1"/>
        </p:nvSpPr>
        <p:spPr bwMode="auto">
          <a:xfrm flipH="1">
            <a:off x="4236" y="3283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0587" tIns="45292" rIns="90587" bIns="45292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 userDrawn="1">
            <p:ph type="ctrTitle"/>
          </p:nvPr>
        </p:nvSpPr>
        <p:spPr>
          <a:xfrm>
            <a:off x="437853" y="2238434"/>
            <a:ext cx="6581329" cy="1292662"/>
          </a:xfrm>
          <a:prstGeom prst="rect">
            <a:avLst/>
          </a:prstGeom>
        </p:spPr>
        <p:txBody>
          <a:bodyPr/>
          <a:lstStyle>
            <a:lvl1pPr>
              <a:defRPr sz="4200" b="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dirty="0" smtClean="0"/>
              <a:t>Click </a:t>
            </a:r>
            <a:r>
              <a:rPr lang="pt-BR" noProof="0" dirty="0" err="1" smtClean="0"/>
              <a:t>to</a:t>
            </a:r>
            <a:r>
              <a:rPr lang="pt-BR" noProof="0" dirty="0" smtClean="0"/>
              <a:t> </a:t>
            </a:r>
            <a:r>
              <a:rPr lang="pt-BR" noProof="0" dirty="0" err="1" smtClean="0"/>
              <a:t>edit</a:t>
            </a:r>
            <a:r>
              <a:rPr lang="pt-BR" noProof="0" dirty="0" smtClean="0"/>
              <a:t> Master </a:t>
            </a:r>
            <a:r>
              <a:rPr lang="pt-BR" noProof="0" dirty="0" err="1" smtClean="0"/>
              <a:t>title</a:t>
            </a:r>
            <a:r>
              <a:rPr lang="pt-BR" noProof="0" dirty="0" smtClean="0"/>
              <a:t> </a:t>
            </a:r>
            <a:r>
              <a:rPr lang="pt-BR" noProof="0" dirty="0" err="1" smtClean="0"/>
              <a:t>style</a:t>
            </a:r>
            <a:endParaRPr lang="pt-BR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437852" y="3762851"/>
            <a:ext cx="6450496" cy="482639"/>
          </a:xfrm>
        </p:spPr>
        <p:txBody>
          <a:bodyPr wrap="square">
            <a:spAutoFit/>
          </a:bodyPr>
          <a:lstStyle>
            <a:lvl1pPr>
              <a:defRPr sz="310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smtClean="0"/>
              <a:t>Click to edit Master subtitle style</a:t>
            </a:r>
            <a:endParaRPr lang="pt-BR" noProof="0" dirty="0" smtClean="0"/>
          </a:p>
        </p:txBody>
      </p:sp>
      <p:grpSp>
        <p:nvGrpSpPr>
          <p:cNvPr id="25" name="Group 24"/>
          <p:cNvGrpSpPr/>
          <p:nvPr userDrawn="1"/>
        </p:nvGrpSpPr>
        <p:grpSpPr>
          <a:xfrm>
            <a:off x="8526083" y="2325895"/>
            <a:ext cx="3423031" cy="3656746"/>
            <a:chOff x="5526523" y="2325890"/>
            <a:chExt cx="3423032" cy="3656747"/>
          </a:xfrm>
        </p:grpSpPr>
        <p:sp>
          <p:nvSpPr>
            <p:cNvPr id="26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27" name="Group 26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28" name="Donut 27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29" name="Oval 28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0" name="Oval 29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50845247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10234606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72670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51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211678" y="230292"/>
            <a:ext cx="10903658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US" noProof="0" dirty="0" smtClean="0"/>
            </a:lvl1pPr>
          </a:lstStyle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</p:spTree>
    <p:extLst>
      <p:ext uri="{BB962C8B-B14F-4D97-AF65-F5344CB8AC3E}">
        <p14:creationId xmlns:p14="http://schemas.microsoft.com/office/powerpoint/2010/main" val="67331652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21502" y="359015"/>
            <a:ext cx="10306110" cy="307777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312711389"/>
      </p:ext>
    </p:extLst>
  </p:cSld>
  <p:clrMapOvr>
    <a:masterClrMapping/>
  </p:clrMapOvr>
</p:sldLayout>
</file>

<file path=ppt/slideLayouts/slideLayout3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632709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3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422137" y="349431"/>
            <a:ext cx="6749230" cy="254184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703"/>
              </a:lnSpc>
              <a:defRPr sz="4700">
                <a:solidFill>
                  <a:srgbClr val="18C3FF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r>
              <a:rPr lang="en-US" dirty="0" smtClean="0"/>
              <a:t>. LOREM IPSUM DOLOR SIT AMET HAS ID CIBO QUIDAM</a:t>
            </a:r>
            <a:endParaRPr lang="en-US" dirty="0"/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422137" y="3071971"/>
            <a:ext cx="6749230" cy="796308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591926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1926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1926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48925576"/>
      </p:ext>
    </p:extLst>
  </p:cSld>
  <p:clrMapOvr>
    <a:masterClrMapping/>
  </p:clrMapOvr>
</p:sldLayout>
</file>

<file path=ppt/slideLayouts/slideLayout3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3487443560"/>
      </p:ext>
    </p:extLst>
  </p:cSld>
  <p:clrMapOvr>
    <a:masterClrMapping/>
  </p:clrMapOvr>
</p:sldLayout>
</file>

<file path=ppt/slideLayouts/slideLayout3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60" y="1576"/>
          <a:ext cx="1555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73694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51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60" y="1576"/>
                        <a:ext cx="1555" cy="155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 userDrawn="1"/>
        </p:nvSpPr>
        <p:spPr>
          <a:xfrm>
            <a:off x="1" y="-58698"/>
            <a:ext cx="11949113" cy="186905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587" tIns="45292" rIns="90587" bIns="45292"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75613" y="228703"/>
            <a:ext cx="11491891" cy="30777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43999470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34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1199392556"/>
      </p:ext>
    </p:extLst>
  </p:cSld>
  <p:clrMapOvr>
    <a:masterClrMapping/>
  </p:clrMapOvr>
</p:sldLayout>
</file>

<file path=ppt/slideLayouts/slideLayout3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8117162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3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1989245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34183624"/>
              </p:ext>
            </p:extLst>
          </p:nvPr>
        </p:nvGraphicFramePr>
        <p:xfrm>
          <a:off x="2120" y="1606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08102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80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606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211678" y="230291"/>
            <a:ext cx="10903658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US" noProof="0" dirty="0" smtClean="0"/>
            </a:lvl1pPr>
          </a:lstStyle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</p:spTree>
    <p:extLst>
      <p:ext uri="{BB962C8B-B14F-4D97-AF65-F5344CB8AC3E}">
        <p14:creationId xmlns:p14="http://schemas.microsoft.com/office/powerpoint/2010/main" val="160714853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3819029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3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4325606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3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0850625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3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4316099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3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EA288C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1835669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3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6D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6682210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3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A02B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5275873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3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1332590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3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0906727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3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7939211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21502" y="359011"/>
            <a:ext cx="10306110" cy="307777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91870339"/>
      </p:ext>
    </p:extLst>
  </p:cSld>
  <p:clrMapOvr>
    <a:masterClrMapping/>
  </p:clrMapOvr>
</p:sldLayout>
</file>

<file path=ppt/slideLayouts/slideLayout3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1487436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3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9538413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3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EA288C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2824604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3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6D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5172409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3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A02B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554895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3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9686877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3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1469774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3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5796593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3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9145230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3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4296213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434961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3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EA288C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2954995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3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6D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5990547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3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A02B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6165360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3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6417865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3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3057493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3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3471120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3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2976462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3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5200520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3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EA288C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9030982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3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6D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2258300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422137" y="349430"/>
            <a:ext cx="6749230" cy="254184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703"/>
              </a:lnSpc>
              <a:defRPr sz="4700">
                <a:solidFill>
                  <a:srgbClr val="18C3FF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r>
              <a:rPr lang="en-US" dirty="0" smtClean="0"/>
              <a:t>. LOREM IPSUM DOLOR SIT AMET HAS ID CIBO QUIDAM</a:t>
            </a:r>
            <a:endParaRPr lang="en-US" dirty="0"/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422137" y="3071971"/>
            <a:ext cx="6749230" cy="796308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591991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1991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1991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38845509"/>
      </p:ext>
    </p:extLst>
  </p:cSld>
  <p:clrMapOvr>
    <a:masterClrMapping/>
  </p:clrMapOvr>
</p:sldLayout>
</file>

<file path=ppt/slideLayouts/slideLayout3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A02B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2737400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3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81522740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82889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49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 userDrawn="1"/>
        </p:nvSpPr>
        <p:spPr bwMode="auto">
          <a:xfrm>
            <a:off x="437849" y="131306"/>
            <a:ext cx="88165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pt-BR" sz="800" b="1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WORKING DRAFT</a:t>
            </a:r>
            <a:endParaRPr lang="pt-BR" sz="800" b="1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256937" y="36518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pt-BR" sz="800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 userDrawn="1"/>
        </p:nvSpPr>
        <p:spPr bwMode="auto">
          <a:xfrm>
            <a:off x="437874" y="286879"/>
            <a:ext cx="3069751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 userDrawn="1"/>
        </p:nvSpPr>
        <p:spPr bwMode="auto">
          <a:xfrm>
            <a:off x="437851" y="444039"/>
            <a:ext cx="270106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8" name="McK Title Elements" hidden="1"/>
          <p:cNvGrpSpPr>
            <a:grpSpLocks/>
          </p:cNvGrpSpPr>
          <p:nvPr userDrawn="1"/>
        </p:nvGrpSpPr>
        <p:grpSpPr bwMode="auto">
          <a:xfrm>
            <a:off x="5" y="121"/>
            <a:ext cx="11944879" cy="6723063"/>
            <a:chOff x="0" y="0"/>
            <a:chExt cx="5643" cy="4235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207" y="3361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ocument typ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207" y="3550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at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1" name="McK Disclaimer"/>
            <p:cNvSpPr>
              <a:spLocks noChangeArrowheads="1"/>
            </p:cNvSpPr>
            <p:nvPr/>
          </p:nvSpPr>
          <p:spPr bwMode="auto">
            <a:xfrm>
              <a:off x="207" y="3963"/>
              <a:ext cx="3226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797488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NFIDENTIAL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D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PRIETARY</a:t>
              </a:r>
              <a:endParaRPr lang="pt-BR" sz="80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  <a:p>
              <a:pPr defTabSz="797488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use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his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aterial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without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pecific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ermission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cKinsey &amp;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mpan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is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trictl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hibited</a:t>
              </a:r>
              <a:endParaRPr lang="pt-BR" sz="8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2" name="TitleBottomPlaceholder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3" name="TitleTopPlaceholder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Rectangle 1189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pic>
        <p:nvPicPr>
          <p:cNvPr id="18" name="TitleBottomBarBW" hidden="1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65766" y="6443669"/>
            <a:ext cx="2182379" cy="1920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7" name="Freeform 5"/>
          <p:cNvSpPr>
            <a:spLocks/>
          </p:cNvSpPr>
          <p:nvPr userDrawn="1"/>
        </p:nvSpPr>
        <p:spPr bwMode="auto">
          <a:xfrm flipH="1">
            <a:off x="4236" y="6635876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0587" tIns="45292" rIns="90587" bIns="45292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9" name="Freeform 5"/>
          <p:cNvSpPr>
            <a:spLocks/>
          </p:cNvSpPr>
          <p:nvPr userDrawn="1"/>
        </p:nvSpPr>
        <p:spPr bwMode="auto">
          <a:xfrm flipH="1">
            <a:off x="4236" y="3283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0587" tIns="45292" rIns="90587" bIns="45292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 userDrawn="1">
            <p:ph type="ctrTitle"/>
          </p:nvPr>
        </p:nvSpPr>
        <p:spPr>
          <a:xfrm>
            <a:off x="437853" y="2238434"/>
            <a:ext cx="6581329" cy="1292662"/>
          </a:xfrm>
          <a:prstGeom prst="rect">
            <a:avLst/>
          </a:prstGeom>
        </p:spPr>
        <p:txBody>
          <a:bodyPr/>
          <a:lstStyle>
            <a:lvl1pPr>
              <a:defRPr sz="4200" b="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dirty="0" smtClean="0"/>
              <a:t>Click </a:t>
            </a:r>
            <a:r>
              <a:rPr lang="pt-BR" noProof="0" dirty="0" err="1" smtClean="0"/>
              <a:t>to</a:t>
            </a:r>
            <a:r>
              <a:rPr lang="pt-BR" noProof="0" dirty="0" smtClean="0"/>
              <a:t> </a:t>
            </a:r>
            <a:r>
              <a:rPr lang="pt-BR" noProof="0" dirty="0" err="1" smtClean="0"/>
              <a:t>edit</a:t>
            </a:r>
            <a:r>
              <a:rPr lang="pt-BR" noProof="0" dirty="0" smtClean="0"/>
              <a:t> Master </a:t>
            </a:r>
            <a:r>
              <a:rPr lang="pt-BR" noProof="0" dirty="0" err="1" smtClean="0"/>
              <a:t>title</a:t>
            </a:r>
            <a:r>
              <a:rPr lang="pt-BR" noProof="0" dirty="0" smtClean="0"/>
              <a:t> </a:t>
            </a:r>
            <a:r>
              <a:rPr lang="pt-BR" noProof="0" dirty="0" err="1" smtClean="0"/>
              <a:t>style</a:t>
            </a:r>
            <a:endParaRPr lang="pt-BR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437852" y="3762851"/>
            <a:ext cx="6450496" cy="482639"/>
          </a:xfrm>
        </p:spPr>
        <p:txBody>
          <a:bodyPr wrap="square">
            <a:spAutoFit/>
          </a:bodyPr>
          <a:lstStyle>
            <a:lvl1pPr>
              <a:defRPr sz="310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smtClean="0"/>
              <a:t>Click to edit Master subtitle style</a:t>
            </a:r>
            <a:endParaRPr lang="pt-BR" noProof="0" dirty="0" smtClean="0"/>
          </a:p>
        </p:txBody>
      </p:sp>
      <p:grpSp>
        <p:nvGrpSpPr>
          <p:cNvPr id="25" name="Group 24"/>
          <p:cNvGrpSpPr/>
          <p:nvPr userDrawn="1"/>
        </p:nvGrpSpPr>
        <p:grpSpPr>
          <a:xfrm>
            <a:off x="8526083" y="2325895"/>
            <a:ext cx="3423031" cy="3656746"/>
            <a:chOff x="5526523" y="2325890"/>
            <a:chExt cx="3423032" cy="3656747"/>
          </a:xfrm>
        </p:grpSpPr>
        <p:sp>
          <p:nvSpPr>
            <p:cNvPr id="26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27" name="Group 26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28" name="Donut 27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29" name="Oval 28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0" name="Oval 29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13943896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3899685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80842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49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211678" y="230292"/>
            <a:ext cx="10903658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US" noProof="0" dirty="0" smtClean="0"/>
            </a:lvl1pPr>
          </a:lstStyle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</p:spTree>
    <p:extLst>
      <p:ext uri="{BB962C8B-B14F-4D97-AF65-F5344CB8AC3E}">
        <p14:creationId xmlns:p14="http://schemas.microsoft.com/office/powerpoint/2010/main" val="234246722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21502" y="359015"/>
            <a:ext cx="10306110" cy="307777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062257653"/>
      </p:ext>
    </p:extLst>
  </p:cSld>
  <p:clrMapOvr>
    <a:masterClrMapping/>
  </p:clrMapOvr>
</p:sldLayout>
</file>

<file path=ppt/slideLayouts/slideLayout3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448924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3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422137" y="349431"/>
            <a:ext cx="6749230" cy="254184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703"/>
              </a:lnSpc>
              <a:defRPr sz="4700">
                <a:solidFill>
                  <a:srgbClr val="18C3FF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r>
              <a:rPr lang="en-US" dirty="0" smtClean="0"/>
              <a:t>. LOREM IPSUM DOLOR SIT AMET HAS ID CIBO QUIDAM</a:t>
            </a:r>
            <a:endParaRPr lang="en-US" dirty="0"/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422137" y="3071971"/>
            <a:ext cx="6749230" cy="796308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591926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1926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1926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32745437"/>
      </p:ext>
    </p:extLst>
  </p:cSld>
  <p:clrMapOvr>
    <a:masterClrMapping/>
  </p:clrMapOvr>
</p:sldLayout>
</file>

<file path=ppt/slideLayouts/slideLayout3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2800808033"/>
      </p:ext>
    </p:extLst>
  </p:cSld>
  <p:clrMapOvr>
    <a:masterClrMapping/>
  </p:clrMapOvr>
</p:sldLayout>
</file>

<file path=ppt/slideLayouts/slideLayout38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60" y="1576"/>
          <a:ext cx="1555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81866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49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60" y="1576"/>
                        <a:ext cx="1555" cy="155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 userDrawn="1"/>
        </p:nvSpPr>
        <p:spPr>
          <a:xfrm>
            <a:off x="1" y="-58698"/>
            <a:ext cx="11949113" cy="186905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587" tIns="45292" rIns="90587" bIns="45292"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75613" y="228703"/>
            <a:ext cx="11491891" cy="30777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78082055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38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866588271"/>
      </p:ext>
    </p:extLst>
  </p:cSld>
  <p:clrMapOvr>
    <a:masterClrMapping/>
  </p:clrMapOvr>
</p:sldLayout>
</file>

<file path=ppt/slideLayouts/slideLayout3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09134630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88007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48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 userDrawn="1"/>
        </p:nvSpPr>
        <p:spPr bwMode="auto">
          <a:xfrm>
            <a:off x="437849" y="131306"/>
            <a:ext cx="88165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pt-BR" sz="800" b="1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WORKING DRAFT</a:t>
            </a:r>
            <a:endParaRPr lang="pt-BR" sz="800" b="1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256937" y="36518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pt-BR" sz="800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 userDrawn="1"/>
        </p:nvSpPr>
        <p:spPr bwMode="auto">
          <a:xfrm>
            <a:off x="437874" y="286879"/>
            <a:ext cx="3069751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 userDrawn="1"/>
        </p:nvSpPr>
        <p:spPr bwMode="auto">
          <a:xfrm>
            <a:off x="437851" y="444039"/>
            <a:ext cx="270106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8" name="McK Title Elements" hidden="1"/>
          <p:cNvGrpSpPr>
            <a:grpSpLocks/>
          </p:cNvGrpSpPr>
          <p:nvPr userDrawn="1"/>
        </p:nvGrpSpPr>
        <p:grpSpPr bwMode="auto">
          <a:xfrm>
            <a:off x="5" y="121"/>
            <a:ext cx="11944879" cy="6723063"/>
            <a:chOff x="0" y="0"/>
            <a:chExt cx="5643" cy="4235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207" y="3361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ocument typ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207" y="3550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at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1" name="McK Disclaimer"/>
            <p:cNvSpPr>
              <a:spLocks noChangeArrowheads="1"/>
            </p:cNvSpPr>
            <p:nvPr/>
          </p:nvSpPr>
          <p:spPr bwMode="auto">
            <a:xfrm>
              <a:off x="207" y="3963"/>
              <a:ext cx="3226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797488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NFIDENTIAL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D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PRIETARY</a:t>
              </a:r>
              <a:endParaRPr lang="pt-BR" sz="80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  <a:p>
              <a:pPr defTabSz="797488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use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his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aterial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without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pecific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ermission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cKinsey &amp;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mpan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is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trictl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hibited</a:t>
              </a:r>
              <a:endParaRPr lang="pt-BR" sz="8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2" name="TitleBottomPlaceholder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3" name="TitleTopPlaceholder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Rectangle 1189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pic>
        <p:nvPicPr>
          <p:cNvPr id="18" name="TitleBottomBarBW" hidden="1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65766" y="6443669"/>
            <a:ext cx="2182379" cy="1920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7" name="Freeform 5"/>
          <p:cNvSpPr>
            <a:spLocks/>
          </p:cNvSpPr>
          <p:nvPr userDrawn="1"/>
        </p:nvSpPr>
        <p:spPr bwMode="auto">
          <a:xfrm flipH="1">
            <a:off x="4236" y="6635876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0587" tIns="45292" rIns="90587" bIns="45292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9" name="Freeform 5"/>
          <p:cNvSpPr>
            <a:spLocks/>
          </p:cNvSpPr>
          <p:nvPr userDrawn="1"/>
        </p:nvSpPr>
        <p:spPr bwMode="auto">
          <a:xfrm flipH="1">
            <a:off x="4236" y="3283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0587" tIns="45292" rIns="90587" bIns="45292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 userDrawn="1">
            <p:ph type="ctrTitle"/>
          </p:nvPr>
        </p:nvSpPr>
        <p:spPr>
          <a:xfrm>
            <a:off x="437853" y="2238434"/>
            <a:ext cx="6581329" cy="1292662"/>
          </a:xfrm>
          <a:prstGeom prst="rect">
            <a:avLst/>
          </a:prstGeom>
        </p:spPr>
        <p:txBody>
          <a:bodyPr/>
          <a:lstStyle>
            <a:lvl1pPr>
              <a:defRPr sz="4200" b="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dirty="0" smtClean="0"/>
              <a:t>Click </a:t>
            </a:r>
            <a:r>
              <a:rPr lang="pt-BR" noProof="0" dirty="0" err="1" smtClean="0"/>
              <a:t>to</a:t>
            </a:r>
            <a:r>
              <a:rPr lang="pt-BR" noProof="0" dirty="0" smtClean="0"/>
              <a:t> </a:t>
            </a:r>
            <a:r>
              <a:rPr lang="pt-BR" noProof="0" dirty="0" err="1" smtClean="0"/>
              <a:t>edit</a:t>
            </a:r>
            <a:r>
              <a:rPr lang="pt-BR" noProof="0" dirty="0" smtClean="0"/>
              <a:t> Master </a:t>
            </a:r>
            <a:r>
              <a:rPr lang="pt-BR" noProof="0" dirty="0" err="1" smtClean="0"/>
              <a:t>title</a:t>
            </a:r>
            <a:r>
              <a:rPr lang="pt-BR" noProof="0" dirty="0" smtClean="0"/>
              <a:t> </a:t>
            </a:r>
            <a:r>
              <a:rPr lang="pt-BR" noProof="0" dirty="0" err="1" smtClean="0"/>
              <a:t>style</a:t>
            </a:r>
            <a:endParaRPr lang="pt-BR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437852" y="3762851"/>
            <a:ext cx="6450496" cy="482639"/>
          </a:xfrm>
        </p:spPr>
        <p:txBody>
          <a:bodyPr wrap="square">
            <a:spAutoFit/>
          </a:bodyPr>
          <a:lstStyle>
            <a:lvl1pPr>
              <a:defRPr sz="310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smtClean="0"/>
              <a:t>Click to edit Master subtitle style</a:t>
            </a:r>
            <a:endParaRPr lang="pt-BR" noProof="0" dirty="0" smtClean="0"/>
          </a:p>
        </p:txBody>
      </p:sp>
      <p:grpSp>
        <p:nvGrpSpPr>
          <p:cNvPr id="25" name="Group 24"/>
          <p:cNvGrpSpPr/>
          <p:nvPr userDrawn="1"/>
        </p:nvGrpSpPr>
        <p:grpSpPr>
          <a:xfrm>
            <a:off x="8526083" y="2325895"/>
            <a:ext cx="3423031" cy="3656746"/>
            <a:chOff x="5526523" y="2325890"/>
            <a:chExt cx="3423032" cy="3656747"/>
          </a:xfrm>
        </p:grpSpPr>
        <p:sp>
          <p:nvSpPr>
            <p:cNvPr id="26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27" name="Group 26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28" name="Donut 27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29" name="Oval 28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0" name="Oval 29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29545604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4007712421"/>
      </p:ext>
    </p:extLst>
  </p:cSld>
  <p:clrMapOvr>
    <a:masterClrMapping/>
  </p:clrMapOvr>
</p:sldLayout>
</file>

<file path=ppt/slideLayouts/slideLayout3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2730399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84936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48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211678" y="230292"/>
            <a:ext cx="10903658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US" noProof="0" dirty="0" smtClean="0"/>
            </a:lvl1pPr>
          </a:lstStyle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</p:spTree>
    <p:extLst>
      <p:ext uri="{BB962C8B-B14F-4D97-AF65-F5344CB8AC3E}">
        <p14:creationId xmlns:p14="http://schemas.microsoft.com/office/powerpoint/2010/main" val="361944858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9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21502" y="359015"/>
            <a:ext cx="10306110" cy="307777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879915143"/>
      </p:ext>
    </p:extLst>
  </p:cSld>
  <p:clrMapOvr>
    <a:masterClrMapping/>
  </p:clrMapOvr>
</p:sldLayout>
</file>

<file path=ppt/slideLayouts/slideLayout39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856148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39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422137" y="349431"/>
            <a:ext cx="6749230" cy="254184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703"/>
              </a:lnSpc>
              <a:defRPr sz="4700">
                <a:solidFill>
                  <a:srgbClr val="18C3FF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r>
              <a:rPr lang="en-US" dirty="0" smtClean="0"/>
              <a:t>. LOREM IPSUM DOLOR SIT AMET HAS ID CIBO QUIDAM</a:t>
            </a:r>
            <a:endParaRPr lang="en-US" dirty="0"/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422137" y="3071971"/>
            <a:ext cx="6749230" cy="796308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591926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1926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1926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76721316"/>
      </p:ext>
    </p:extLst>
  </p:cSld>
  <p:clrMapOvr>
    <a:masterClrMapping/>
  </p:clrMapOvr>
</p:sldLayout>
</file>

<file path=ppt/slideLayouts/slideLayout3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3326388916"/>
      </p:ext>
    </p:extLst>
  </p:cSld>
  <p:clrMapOvr>
    <a:masterClrMapping/>
  </p:clrMapOvr>
</p:sldLayout>
</file>

<file path=ppt/slideLayouts/slideLayout39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60" y="1576"/>
          <a:ext cx="1555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85960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48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60" y="1576"/>
                        <a:ext cx="1555" cy="155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 userDrawn="1"/>
        </p:nvSpPr>
        <p:spPr>
          <a:xfrm>
            <a:off x="1" y="-58698"/>
            <a:ext cx="11949113" cy="186905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587" tIns="45292" rIns="90587" bIns="45292"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75613" y="228703"/>
            <a:ext cx="11491891" cy="30777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14753416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39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1603220245"/>
      </p:ext>
    </p:extLst>
  </p:cSld>
  <p:clrMapOvr>
    <a:masterClrMapping/>
  </p:clrMapOvr>
</p:sldLayout>
</file>

<file path=ppt/slideLayouts/slideLayout39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9435354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39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0914707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39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Só image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077" y="2077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86984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48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77" y="2077"/>
                        <a:ext cx="2074" cy="20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3" descr="C:\Users\oi200333\AppData\Local\Microsoft\Windows\Temporary Internet Files\Content.Outlook\A6QMUCU8\OIOI 0004 008 AF 160105 Logomarca_RGB_Roxo_1H.PNG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86782" y="138321"/>
            <a:ext cx="1234572" cy="8731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ítulo 4"/>
          <p:cNvSpPr>
            <a:spLocks noGrp="1"/>
          </p:cNvSpPr>
          <p:nvPr>
            <p:ph type="title"/>
          </p:nvPr>
        </p:nvSpPr>
        <p:spPr>
          <a:xfrm>
            <a:off x="234581" y="420981"/>
            <a:ext cx="10754202" cy="490525"/>
          </a:xfrm>
          <a:prstGeom prst="rect">
            <a:avLst/>
          </a:prstGeom>
        </p:spPr>
        <p:txBody>
          <a:bodyPr/>
          <a:lstStyle>
            <a:lvl1pPr>
              <a:defRPr sz="3100" i="0">
                <a:solidFill>
                  <a:srgbClr val="4D4D4D"/>
                </a:solidFill>
                <a:latin typeface="Simplon Oi Headline" pitchFamily="2" charset="0"/>
              </a:defRPr>
            </a:lvl1pPr>
          </a:lstStyle>
          <a:p>
            <a:endParaRPr lang="pt-BR" dirty="0"/>
          </a:p>
        </p:txBody>
      </p:sp>
      <p:sp>
        <p:nvSpPr>
          <p:cNvPr id="7" name="Espaço Reservado para Texto 6"/>
          <p:cNvSpPr>
            <a:spLocks noGrp="1"/>
          </p:cNvSpPr>
          <p:nvPr>
            <p:ph type="body" sz="quarter" idx="10"/>
          </p:nvPr>
        </p:nvSpPr>
        <p:spPr>
          <a:xfrm>
            <a:off x="241314" y="70581"/>
            <a:ext cx="10487308" cy="402186"/>
          </a:xfrm>
          <a:prstGeom prst="rect">
            <a:avLst/>
          </a:prstGeom>
        </p:spPr>
        <p:txBody>
          <a:bodyPr lIns="119313" tIns="59659" rIns="119313" bIns="59659"/>
          <a:lstStyle>
            <a:lvl1pPr>
              <a:defRPr sz="1800" b="1">
                <a:solidFill>
                  <a:schemeClr val="tx1">
                    <a:lumMod val="50000"/>
                    <a:lumOff val="50000"/>
                  </a:schemeClr>
                </a:solidFill>
                <a:latin typeface="Simplon BP Regular" pitchFamily="2" charset="0"/>
              </a:defRPr>
            </a:lvl1pPr>
            <a:lvl2pPr>
              <a:defRPr sz="1600">
                <a:latin typeface="Simplon BP Regular" pitchFamily="2" charset="0"/>
              </a:defRPr>
            </a:lvl2pPr>
            <a:lvl3pPr>
              <a:defRPr sz="1600">
                <a:latin typeface="Simplon BP Regular" pitchFamily="2" charset="0"/>
              </a:defRPr>
            </a:lvl3pPr>
            <a:lvl4pPr>
              <a:defRPr sz="1600">
                <a:latin typeface="Simplon BP Regular" pitchFamily="2" charset="0"/>
              </a:defRPr>
            </a:lvl4pPr>
            <a:lvl5pPr>
              <a:defRPr sz="1600">
                <a:latin typeface="Simplon BP Regular" pitchFamily="2" charset="0"/>
              </a:defRPr>
            </a:lvl5pPr>
          </a:lstStyle>
          <a:p>
            <a:pPr lvl="0"/>
            <a:r>
              <a:rPr lang="pt-BR" dirty="0" smtClean="0"/>
              <a:t>Clique para editar o texto mestre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76372241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021567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60" y="1572"/>
          <a:ext cx="1555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09126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80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60" y="1572"/>
                        <a:ext cx="1555" cy="155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 userDrawn="1"/>
        </p:nvSpPr>
        <p:spPr>
          <a:xfrm>
            <a:off x="1" y="-58688"/>
            <a:ext cx="11949113" cy="186905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597" tIns="45298" rIns="90597" bIns="45298" rtlCol="0" anchor="ctr"/>
          <a:lstStyle/>
          <a:p>
            <a:pPr algn="ctr"/>
            <a:endParaRPr lang="en-US" sz="1600">
              <a:solidFill>
                <a:srgbClr val="FFFFFF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75608" y="228702"/>
            <a:ext cx="11491891" cy="30777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2525034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4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8185389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4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4512284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4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4961897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4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7560335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4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0831650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4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EA288C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8614750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4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6D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2968523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4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A02B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525143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4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84" y="359001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83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84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4604" indent="0">
              <a:buNone/>
              <a:defRPr sz="2700">
                <a:solidFill>
                  <a:schemeClr val="accent3"/>
                </a:solidFill>
              </a:defRPr>
            </a:lvl2pPr>
            <a:lvl3pPr marL="472756" indent="0">
              <a:buNone/>
              <a:defRPr sz="2700">
                <a:solidFill>
                  <a:schemeClr val="accent3"/>
                </a:solidFill>
              </a:defRPr>
            </a:lvl3pPr>
            <a:lvl4pPr marL="700913" indent="0">
              <a:buNone/>
              <a:defRPr sz="2700">
                <a:solidFill>
                  <a:schemeClr val="accent3"/>
                </a:solidFill>
              </a:defRPr>
            </a:lvl4pPr>
            <a:lvl5pPr marL="929070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908240281"/>
      </p:ext>
    </p:extLst>
  </p:cSld>
  <p:clrMapOvr>
    <a:masterClrMapping/>
  </p:clrMapOvr>
</p:sldLayout>
</file>

<file path=ppt/slideLayouts/slideLayout4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83" y="1854632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6212095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4253552154"/>
      </p:ext>
    </p:extLst>
  </p:cSld>
  <p:clrMapOvr>
    <a:masterClrMapping/>
  </p:clrMapOvr>
</p:sldLayout>
</file>

<file path=ppt/slideLayouts/slideLayout4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19415764"/>
      </p:ext>
    </p:extLst>
  </p:cSld>
  <p:clrMapOvr>
    <a:masterClrMapping/>
  </p:clrMapOvr>
</p:sldLayout>
</file>

<file path=ppt/slideLayouts/slideLayout4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80" y="1854632"/>
            <a:ext cx="5080446" cy="451832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854734"/>
            <a:ext cx="5080448" cy="451832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2084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4604" indent="0">
              <a:buNone/>
              <a:defRPr sz="2700">
                <a:solidFill>
                  <a:schemeClr val="accent3"/>
                </a:solidFill>
              </a:defRPr>
            </a:lvl2pPr>
            <a:lvl3pPr marL="472756" indent="0">
              <a:buNone/>
              <a:defRPr sz="2700">
                <a:solidFill>
                  <a:schemeClr val="accent3"/>
                </a:solidFill>
              </a:defRPr>
            </a:lvl3pPr>
            <a:lvl4pPr marL="700913" indent="0">
              <a:buNone/>
              <a:defRPr sz="2700">
                <a:solidFill>
                  <a:schemeClr val="accent3"/>
                </a:solidFill>
              </a:defRPr>
            </a:lvl4pPr>
            <a:lvl5pPr marL="929070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15715083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4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20" y="358938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20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20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933" indent="0">
              <a:buNone/>
              <a:defRPr sz="2700">
                <a:solidFill>
                  <a:schemeClr val="accent3"/>
                </a:solidFill>
              </a:defRPr>
            </a:lvl2pPr>
            <a:lvl3pPr marL="475329" indent="0">
              <a:buNone/>
              <a:defRPr sz="2700">
                <a:solidFill>
                  <a:schemeClr val="accent3"/>
                </a:solidFill>
              </a:defRPr>
            </a:lvl3pPr>
            <a:lvl4pPr marL="704729" indent="0">
              <a:buNone/>
              <a:defRPr sz="2700">
                <a:solidFill>
                  <a:schemeClr val="accent3"/>
                </a:solidFill>
              </a:defRPr>
            </a:lvl4pPr>
            <a:lvl5pPr marL="934136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599074546"/>
      </p:ext>
    </p:extLst>
  </p:cSld>
  <p:clrMapOvr>
    <a:masterClrMapping/>
  </p:clrMapOvr>
</p:sldLayout>
</file>

<file path=ppt/slideLayouts/slideLayout4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20" y="1854632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7481056"/>
      </p:ext>
    </p:extLst>
  </p:cSld>
  <p:clrMapOvr>
    <a:masterClrMapping/>
  </p:clrMapOvr>
</p:sldLayout>
</file>

<file path=ppt/slideLayouts/slideLayout4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54696539"/>
      </p:ext>
    </p:extLst>
  </p:cSld>
  <p:clrMapOvr>
    <a:masterClrMapping/>
  </p:clrMapOvr>
</p:sldLayout>
</file>

<file path=ppt/slideLayouts/slideLayout4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80" y="1854632"/>
            <a:ext cx="5080446" cy="451832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854672"/>
            <a:ext cx="5080448" cy="451832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2020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933" indent="0">
              <a:buNone/>
              <a:defRPr sz="2700">
                <a:solidFill>
                  <a:schemeClr val="accent3"/>
                </a:solidFill>
              </a:defRPr>
            </a:lvl2pPr>
            <a:lvl3pPr marL="475329" indent="0">
              <a:buNone/>
              <a:defRPr sz="2700">
                <a:solidFill>
                  <a:schemeClr val="accent3"/>
                </a:solidFill>
              </a:defRPr>
            </a:lvl3pPr>
            <a:lvl4pPr marL="704729" indent="0">
              <a:buNone/>
              <a:defRPr sz="2700">
                <a:solidFill>
                  <a:schemeClr val="accent3"/>
                </a:solidFill>
              </a:defRPr>
            </a:lvl4pPr>
            <a:lvl5pPr marL="934136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359243948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4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53" y="358969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50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53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268" indent="0">
              <a:buNone/>
              <a:defRPr sz="2700">
                <a:solidFill>
                  <a:schemeClr val="accent3"/>
                </a:solidFill>
              </a:defRPr>
            </a:lvl2pPr>
            <a:lvl3pPr marL="474041" indent="0">
              <a:buNone/>
              <a:defRPr sz="2700">
                <a:solidFill>
                  <a:schemeClr val="accent3"/>
                </a:solidFill>
              </a:defRPr>
            </a:lvl3pPr>
            <a:lvl4pPr marL="702818" indent="0">
              <a:buNone/>
              <a:defRPr sz="2700">
                <a:solidFill>
                  <a:schemeClr val="accent3"/>
                </a:solidFill>
              </a:defRPr>
            </a:lvl4pPr>
            <a:lvl5pPr marL="931601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3521519985"/>
      </p:ext>
    </p:extLst>
  </p:cSld>
  <p:clrMapOvr>
    <a:masterClrMapping/>
  </p:clrMapOvr>
</p:sldLayout>
</file>

<file path=ppt/slideLayouts/slideLayout4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50" y="1854632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66206984"/>
      </p:ext>
    </p:extLst>
  </p:cSld>
  <p:clrMapOvr>
    <a:masterClrMapping/>
  </p:clrMapOvr>
</p:sldLayout>
</file>

<file path=ppt/slideLayouts/slideLayout4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50141062"/>
      </p:ext>
    </p:extLst>
  </p:cSld>
  <p:clrMapOvr>
    <a:masterClrMapping/>
  </p:clrMapOvr>
</p:sldLayout>
</file>

<file path=ppt/slideLayouts/slideLayout4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80" y="1854632"/>
            <a:ext cx="5080446" cy="451832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854704"/>
            <a:ext cx="5080448" cy="451832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2053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268" indent="0">
              <a:buNone/>
              <a:defRPr sz="2700">
                <a:solidFill>
                  <a:schemeClr val="accent3"/>
                </a:solidFill>
              </a:defRPr>
            </a:lvl2pPr>
            <a:lvl3pPr marL="474041" indent="0">
              <a:buNone/>
              <a:defRPr sz="2700">
                <a:solidFill>
                  <a:schemeClr val="accent3"/>
                </a:solidFill>
              </a:defRPr>
            </a:lvl3pPr>
            <a:lvl4pPr marL="702818" indent="0">
              <a:buNone/>
              <a:defRPr sz="2700">
                <a:solidFill>
                  <a:schemeClr val="accent3"/>
                </a:solidFill>
              </a:defRPr>
            </a:lvl4pPr>
            <a:lvl5pPr marL="931601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35206041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to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48509727"/>
              </p:ext>
            </p:extLst>
          </p:nvPr>
        </p:nvGraphicFramePr>
        <p:xfrm>
          <a:off x="2077" y="1569"/>
          <a:ext cx="2074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10150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80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77" y="1569"/>
                        <a:ext cx="2074" cy="155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022393751"/>
      </p:ext>
    </p:extLst>
  </p:cSld>
  <p:clrMapOvr>
    <a:masterClrMapping/>
  </p:clrMapOvr>
</p:sldLayout>
</file>

<file path=ppt/slideLayouts/slideLayout4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5193154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4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6455330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4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7701969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4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1934641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4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8633900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4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EA288C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0713123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4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6D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3658825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4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A02B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6829522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4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84" y="359001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83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84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4604" indent="0">
              <a:buNone/>
              <a:defRPr sz="2700">
                <a:solidFill>
                  <a:schemeClr val="accent3"/>
                </a:solidFill>
              </a:defRPr>
            </a:lvl2pPr>
            <a:lvl3pPr marL="472756" indent="0">
              <a:buNone/>
              <a:defRPr sz="2700">
                <a:solidFill>
                  <a:schemeClr val="accent3"/>
                </a:solidFill>
              </a:defRPr>
            </a:lvl3pPr>
            <a:lvl4pPr marL="700913" indent="0">
              <a:buNone/>
              <a:defRPr sz="2700">
                <a:solidFill>
                  <a:schemeClr val="accent3"/>
                </a:solidFill>
              </a:defRPr>
            </a:lvl4pPr>
            <a:lvl5pPr marL="929070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675633293"/>
      </p:ext>
    </p:extLst>
  </p:cSld>
  <p:clrMapOvr>
    <a:masterClrMapping/>
  </p:clrMapOvr>
</p:sldLayout>
</file>

<file path=ppt/slideLayouts/slideLayout4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83" y="1854632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29868500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20" y="1601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18340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80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601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 userDrawn="1"/>
        </p:nvSpPr>
        <p:spPr bwMode="auto">
          <a:xfrm>
            <a:off x="437957" y="131191"/>
            <a:ext cx="771045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pt-BR" sz="700" b="1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WORKING DRAFT</a:t>
            </a:r>
            <a:endParaRPr lang="pt-BR" sz="700" b="1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256937" y="36518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pt-BR" sz="700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 userDrawn="1"/>
        </p:nvSpPr>
        <p:spPr bwMode="auto">
          <a:xfrm>
            <a:off x="437954" y="286766"/>
            <a:ext cx="2596865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/02/2017 12:16 E. South America Standard Time</a:t>
            </a:r>
            <a:endParaRPr lang="pt-BR" sz="7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 userDrawn="1"/>
        </p:nvSpPr>
        <p:spPr bwMode="auto">
          <a:xfrm>
            <a:off x="437851" y="443930"/>
            <a:ext cx="234679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sz="7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8" name="McK Title Elements" hidden="1"/>
          <p:cNvGrpSpPr>
            <a:grpSpLocks/>
          </p:cNvGrpSpPr>
          <p:nvPr userDrawn="1"/>
        </p:nvGrpSpPr>
        <p:grpSpPr bwMode="auto">
          <a:xfrm>
            <a:off x="5" y="113"/>
            <a:ext cx="11944879" cy="6723063"/>
            <a:chOff x="0" y="0"/>
            <a:chExt cx="5643" cy="4235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207" y="3400"/>
              <a:ext cx="3109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z="120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ocument type</a:t>
              </a:r>
              <a:endParaRPr lang="pt-BR" sz="120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207" y="3550"/>
              <a:ext cx="3109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z="120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ate</a:t>
              </a:r>
              <a:endParaRPr lang="pt-BR" sz="120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1" name="McK Disclaimer"/>
            <p:cNvSpPr>
              <a:spLocks noChangeArrowheads="1"/>
            </p:cNvSpPr>
            <p:nvPr/>
          </p:nvSpPr>
          <p:spPr bwMode="auto">
            <a:xfrm>
              <a:off x="207" y="3982"/>
              <a:ext cx="3226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610301" eaLnBrk="0" hangingPunct="0"/>
              <a:r>
                <a:rPr lang="pt-BR" sz="700" dirty="0" err="1" smtClean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CONFIDENTIAL</a:t>
              </a:r>
              <a:r>
                <a:rPr lang="pt-BR" sz="700" dirty="0" smtClean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700" dirty="0" err="1" smtClean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AND</a:t>
              </a:r>
              <a:r>
                <a:rPr lang="pt-BR" sz="700" dirty="0" smtClean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700" dirty="0" err="1" smtClean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PROPRIETARY</a:t>
              </a:r>
              <a:endParaRPr lang="pt-BR" sz="700" dirty="0" smtClean="0">
                <a:solidFill>
                  <a:srgbClr val="000000"/>
                </a:solidFill>
                <a:latin typeface="Arial"/>
                <a:cs typeface="Arial" panose="020B0604020202020204" pitchFamily="34" charset="0"/>
                <a:sym typeface="Arial" panose="020B0604020202020204" pitchFamily="34" charset="0"/>
              </a:endParaRPr>
            </a:p>
            <a:p>
              <a:pPr defTabSz="610301" eaLnBrk="0" hangingPunct="0"/>
              <a:r>
                <a:rPr lang="pt-BR" sz="700" dirty="0" err="1" smtClean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Any</a:t>
              </a:r>
              <a:r>
                <a:rPr lang="pt-BR" sz="700" dirty="0" smtClean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 use </a:t>
              </a:r>
              <a:r>
                <a:rPr lang="pt-BR" sz="700" dirty="0" err="1" smtClean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700" dirty="0" smtClean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700" dirty="0" err="1" smtClean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this</a:t>
              </a:r>
              <a:r>
                <a:rPr lang="pt-BR" sz="700" dirty="0" smtClean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 material </a:t>
              </a:r>
              <a:r>
                <a:rPr lang="pt-BR" sz="700" dirty="0" err="1" smtClean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without</a:t>
              </a:r>
              <a:r>
                <a:rPr lang="pt-BR" sz="700" dirty="0" smtClean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700" dirty="0" err="1" smtClean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specific</a:t>
              </a:r>
              <a:r>
                <a:rPr lang="pt-BR" sz="700" dirty="0" smtClean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700" dirty="0" err="1" smtClean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permission</a:t>
              </a:r>
              <a:r>
                <a:rPr lang="pt-BR" sz="700" dirty="0" smtClean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700" dirty="0" err="1" smtClean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700" dirty="0" smtClean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 McKinsey &amp; </a:t>
              </a:r>
              <a:r>
                <a:rPr lang="pt-BR" sz="700" dirty="0" err="1" smtClean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Company</a:t>
              </a:r>
              <a:r>
                <a:rPr lang="pt-BR" sz="700" dirty="0" smtClean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700" dirty="0" err="1" smtClean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is</a:t>
              </a:r>
              <a:r>
                <a:rPr lang="pt-BR" sz="700" dirty="0" smtClean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700" dirty="0" err="1" smtClean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strictly</a:t>
              </a:r>
              <a:r>
                <a:rPr lang="pt-BR" sz="700" dirty="0" smtClean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700" dirty="0" err="1" smtClean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prohibited</a:t>
              </a:r>
              <a:endParaRPr lang="pt-BR" sz="700" dirty="0">
                <a:solidFill>
                  <a:srgbClr val="000000"/>
                </a:solidFill>
                <a:latin typeface="Arial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2" name="TitleBottomPlaceholder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sz="1200" dirty="0">
                <a:solidFill>
                  <a:srgbClr val="000000"/>
                </a:solidFill>
                <a:latin typeface="Arial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3" name="TitleTopPlaceholder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sz="1200" dirty="0">
                <a:solidFill>
                  <a:srgbClr val="000000"/>
                </a:solidFill>
                <a:latin typeface="Arial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Rectangle 1189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sz="1200" dirty="0">
                <a:solidFill>
                  <a:srgbClr val="000000"/>
                </a:solidFill>
                <a:latin typeface="Arial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pic>
        <p:nvPicPr>
          <p:cNvPr id="18" name="TitleBottomBarBW" hidden="1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65754" y="6443677"/>
            <a:ext cx="2182379" cy="1920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7" name="Freeform 5"/>
          <p:cNvSpPr>
            <a:spLocks/>
          </p:cNvSpPr>
          <p:nvPr userDrawn="1"/>
        </p:nvSpPr>
        <p:spPr bwMode="auto">
          <a:xfrm flipH="1">
            <a:off x="4236" y="6635868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69339" tIns="34669" rIns="69339" bIns="34669" numCol="1" anchor="t" anchorCtr="0" compatLnSpc="1">
            <a:prstTxWarp prst="textNoShape">
              <a:avLst/>
            </a:prstTxWarp>
          </a:bodyPr>
          <a:lstStyle/>
          <a:p>
            <a:endParaRPr lang="pt-BR" sz="1200" dirty="0">
              <a:solidFill>
                <a:srgbClr val="000000"/>
              </a:solidFill>
              <a:latin typeface="Arial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9" name="Freeform 5"/>
          <p:cNvSpPr>
            <a:spLocks/>
          </p:cNvSpPr>
          <p:nvPr userDrawn="1"/>
        </p:nvSpPr>
        <p:spPr bwMode="auto">
          <a:xfrm flipH="1">
            <a:off x="4236" y="3282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69339" tIns="34669" rIns="69339" bIns="34669" numCol="1" anchor="t" anchorCtr="0" compatLnSpc="1">
            <a:prstTxWarp prst="textNoShape">
              <a:avLst/>
            </a:prstTxWarp>
          </a:bodyPr>
          <a:lstStyle/>
          <a:p>
            <a:endParaRPr lang="pt-BR" sz="1200" dirty="0">
              <a:solidFill>
                <a:srgbClr val="000000"/>
              </a:solidFill>
              <a:latin typeface="Arial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 userDrawn="1">
            <p:ph type="ctrTitle"/>
          </p:nvPr>
        </p:nvSpPr>
        <p:spPr>
          <a:xfrm>
            <a:off x="437853" y="2238443"/>
            <a:ext cx="6581329" cy="512804"/>
          </a:xfrm>
          <a:prstGeom prst="rect">
            <a:avLst/>
          </a:prstGeom>
        </p:spPr>
        <p:txBody>
          <a:bodyPr/>
          <a:lstStyle>
            <a:lvl1pPr>
              <a:defRPr sz="3300" b="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dirty="0" smtClean="0"/>
              <a:t>Click </a:t>
            </a:r>
            <a:r>
              <a:rPr lang="pt-BR" noProof="0" dirty="0" err="1" smtClean="0"/>
              <a:t>to</a:t>
            </a:r>
            <a:r>
              <a:rPr lang="pt-BR" noProof="0" dirty="0" smtClean="0"/>
              <a:t> </a:t>
            </a:r>
            <a:r>
              <a:rPr lang="pt-BR" noProof="0" dirty="0" err="1" smtClean="0"/>
              <a:t>edit</a:t>
            </a:r>
            <a:r>
              <a:rPr lang="pt-BR" noProof="0" dirty="0" smtClean="0"/>
              <a:t> Master </a:t>
            </a:r>
            <a:r>
              <a:rPr lang="pt-BR" noProof="0" dirty="0" err="1" smtClean="0"/>
              <a:t>title</a:t>
            </a:r>
            <a:r>
              <a:rPr lang="pt-BR" noProof="0" dirty="0" smtClean="0"/>
              <a:t> </a:t>
            </a:r>
            <a:r>
              <a:rPr lang="pt-BR" noProof="0" dirty="0" err="1" smtClean="0"/>
              <a:t>style</a:t>
            </a:r>
            <a:endParaRPr lang="pt-BR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437852" y="3762850"/>
            <a:ext cx="6450496" cy="369332"/>
          </a:xfrm>
        </p:spPr>
        <p:txBody>
          <a:bodyPr wrap="square">
            <a:spAutoFit/>
          </a:bodyPr>
          <a:lstStyle>
            <a:lvl1pPr>
              <a:defRPr sz="240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smtClean="0"/>
              <a:t>Click to edit Master subtitle style</a:t>
            </a:r>
            <a:endParaRPr lang="pt-BR" noProof="0" dirty="0" smtClean="0"/>
          </a:p>
        </p:txBody>
      </p:sp>
      <p:grpSp>
        <p:nvGrpSpPr>
          <p:cNvPr id="25" name="Group 24"/>
          <p:cNvGrpSpPr/>
          <p:nvPr userDrawn="1"/>
        </p:nvGrpSpPr>
        <p:grpSpPr>
          <a:xfrm>
            <a:off x="8526083" y="2325902"/>
            <a:ext cx="3423031" cy="3656746"/>
            <a:chOff x="5526523" y="2325890"/>
            <a:chExt cx="3423032" cy="3656747"/>
          </a:xfrm>
        </p:grpSpPr>
        <p:sp>
          <p:nvSpPr>
            <p:cNvPr id="26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sz="1200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27" name="Group 26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28" name="Donut 27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sz="1200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29" name="Oval 28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sz="1200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0" name="Oval 29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sz="1200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90391236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85466886"/>
      </p:ext>
    </p:extLst>
  </p:cSld>
  <p:clrMapOvr>
    <a:masterClrMapping/>
  </p:clrMapOvr>
</p:sldLayout>
</file>

<file path=ppt/slideLayouts/slideLayout4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80" y="1854632"/>
            <a:ext cx="5080446" cy="451832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854734"/>
            <a:ext cx="5080448" cy="451832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2084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4604" indent="0">
              <a:buNone/>
              <a:defRPr sz="2700">
                <a:solidFill>
                  <a:schemeClr val="accent3"/>
                </a:solidFill>
              </a:defRPr>
            </a:lvl2pPr>
            <a:lvl3pPr marL="472756" indent="0">
              <a:buNone/>
              <a:defRPr sz="2700">
                <a:solidFill>
                  <a:schemeClr val="accent3"/>
                </a:solidFill>
              </a:defRPr>
            </a:lvl3pPr>
            <a:lvl4pPr marL="700913" indent="0">
              <a:buNone/>
              <a:defRPr sz="2700">
                <a:solidFill>
                  <a:schemeClr val="accent3"/>
                </a:solidFill>
              </a:defRPr>
            </a:lvl4pPr>
            <a:lvl5pPr marL="929070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31189583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4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88577149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81744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43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 userDrawn="1"/>
        </p:nvSpPr>
        <p:spPr bwMode="auto">
          <a:xfrm>
            <a:off x="437849" y="131218"/>
            <a:ext cx="88165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pt-BR" sz="800" b="1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WORKING DRAFT</a:t>
            </a:r>
            <a:endParaRPr lang="pt-BR" sz="800" b="1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256937" y="36518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pt-BR" sz="800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 userDrawn="1"/>
        </p:nvSpPr>
        <p:spPr bwMode="auto">
          <a:xfrm>
            <a:off x="437874" y="286792"/>
            <a:ext cx="3069751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 userDrawn="1"/>
        </p:nvSpPr>
        <p:spPr bwMode="auto">
          <a:xfrm>
            <a:off x="437851" y="443953"/>
            <a:ext cx="270106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8" name="McK Title Elements" hidden="1"/>
          <p:cNvGrpSpPr>
            <a:grpSpLocks/>
          </p:cNvGrpSpPr>
          <p:nvPr userDrawn="1"/>
        </p:nvGrpSpPr>
        <p:grpSpPr bwMode="auto">
          <a:xfrm>
            <a:off x="5" y="33"/>
            <a:ext cx="11944879" cy="6723063"/>
            <a:chOff x="0" y="0"/>
            <a:chExt cx="5643" cy="4235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207" y="3361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ocument typ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207" y="3550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at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1" name="McK Disclaimer"/>
            <p:cNvSpPr>
              <a:spLocks noChangeArrowheads="1"/>
            </p:cNvSpPr>
            <p:nvPr/>
          </p:nvSpPr>
          <p:spPr bwMode="auto">
            <a:xfrm>
              <a:off x="207" y="3963"/>
              <a:ext cx="3226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803543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NFIDENTIAL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D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PRIETARY</a:t>
              </a:r>
              <a:endParaRPr lang="pt-BR" sz="80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  <a:p>
              <a:pPr defTabSz="803543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use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his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aterial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without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pecific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ermission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cKinsey &amp;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mpan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is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trictl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hibited</a:t>
              </a:r>
              <a:endParaRPr lang="pt-BR" sz="8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2" name="TitleBottomPlaceholder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3" name="TitleTopPlaceholder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Rectangle 1189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pic>
        <p:nvPicPr>
          <p:cNvPr id="18" name="TitleBottomBarBW" hidden="1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65680" y="6443669"/>
            <a:ext cx="2182379" cy="1920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7" name="Freeform 5"/>
          <p:cNvSpPr>
            <a:spLocks/>
          </p:cNvSpPr>
          <p:nvPr userDrawn="1"/>
        </p:nvSpPr>
        <p:spPr bwMode="auto">
          <a:xfrm flipH="1">
            <a:off x="4236" y="6635788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283" tIns="45643" rIns="91283" bIns="45643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9" name="Freeform 5"/>
          <p:cNvSpPr>
            <a:spLocks/>
          </p:cNvSpPr>
          <p:nvPr userDrawn="1"/>
        </p:nvSpPr>
        <p:spPr bwMode="auto">
          <a:xfrm flipH="1">
            <a:off x="4236" y="3197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283" tIns="45643" rIns="91283" bIns="45643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 userDrawn="1">
            <p:ph type="ctrTitle"/>
          </p:nvPr>
        </p:nvSpPr>
        <p:spPr>
          <a:xfrm>
            <a:off x="437853" y="2238434"/>
            <a:ext cx="6581329" cy="1292662"/>
          </a:xfrm>
          <a:prstGeom prst="rect">
            <a:avLst/>
          </a:prstGeom>
        </p:spPr>
        <p:txBody>
          <a:bodyPr/>
          <a:lstStyle>
            <a:lvl1pPr>
              <a:defRPr sz="4200" b="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dirty="0" smtClean="0"/>
              <a:t>Click </a:t>
            </a:r>
            <a:r>
              <a:rPr lang="pt-BR" noProof="0" dirty="0" err="1" smtClean="0"/>
              <a:t>to</a:t>
            </a:r>
            <a:r>
              <a:rPr lang="pt-BR" noProof="0" dirty="0" smtClean="0"/>
              <a:t> </a:t>
            </a:r>
            <a:r>
              <a:rPr lang="pt-BR" noProof="0" dirty="0" err="1" smtClean="0"/>
              <a:t>edit</a:t>
            </a:r>
            <a:r>
              <a:rPr lang="pt-BR" noProof="0" dirty="0" smtClean="0"/>
              <a:t> Master </a:t>
            </a:r>
            <a:r>
              <a:rPr lang="pt-BR" noProof="0" dirty="0" err="1" smtClean="0"/>
              <a:t>title</a:t>
            </a:r>
            <a:r>
              <a:rPr lang="pt-BR" noProof="0" dirty="0" smtClean="0"/>
              <a:t> </a:t>
            </a:r>
            <a:r>
              <a:rPr lang="pt-BR" noProof="0" dirty="0" err="1" smtClean="0"/>
              <a:t>style</a:t>
            </a:r>
            <a:endParaRPr lang="pt-BR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437852" y="3762851"/>
            <a:ext cx="6450496" cy="482639"/>
          </a:xfrm>
        </p:spPr>
        <p:txBody>
          <a:bodyPr wrap="square">
            <a:spAutoFit/>
          </a:bodyPr>
          <a:lstStyle>
            <a:lvl1pPr>
              <a:defRPr sz="310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smtClean="0"/>
              <a:t>Click to edit Master subtitle style</a:t>
            </a:r>
            <a:endParaRPr lang="pt-BR" noProof="0" dirty="0" smtClean="0"/>
          </a:p>
        </p:txBody>
      </p:sp>
      <p:grpSp>
        <p:nvGrpSpPr>
          <p:cNvPr id="25" name="Group 24"/>
          <p:cNvGrpSpPr/>
          <p:nvPr userDrawn="1"/>
        </p:nvGrpSpPr>
        <p:grpSpPr>
          <a:xfrm>
            <a:off x="8526083" y="2325895"/>
            <a:ext cx="3423031" cy="3656746"/>
            <a:chOff x="5526523" y="2325890"/>
            <a:chExt cx="3423032" cy="3656747"/>
          </a:xfrm>
        </p:grpSpPr>
        <p:sp>
          <p:nvSpPr>
            <p:cNvPr id="26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27" name="Group 26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28" name="Donut 27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29" name="Oval 28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0" name="Oval 29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3142173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11827286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82769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43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211678" y="230206"/>
            <a:ext cx="10903658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US" noProof="0" dirty="0" smtClean="0"/>
            </a:lvl1pPr>
          </a:lstStyle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</p:spTree>
    <p:extLst>
      <p:ext uri="{BB962C8B-B14F-4D97-AF65-F5344CB8AC3E}">
        <p14:creationId xmlns:p14="http://schemas.microsoft.com/office/powerpoint/2010/main" val="121331694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21502" y="358926"/>
            <a:ext cx="10306110" cy="307777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38701419"/>
      </p:ext>
    </p:extLst>
  </p:cSld>
  <p:clrMapOvr>
    <a:masterClrMapping/>
  </p:clrMapOvr>
</p:sldLayout>
</file>

<file path=ppt/slideLayouts/slideLayout4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513711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4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422137" y="349344"/>
            <a:ext cx="6749230" cy="254184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703"/>
              </a:lnSpc>
              <a:defRPr sz="4700">
                <a:solidFill>
                  <a:srgbClr val="18C3FF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r>
              <a:rPr lang="en-US" dirty="0" smtClean="0"/>
              <a:t>. LOREM IPSUM DOLOR SIT AMET HAS ID CIBO QUIDAM</a:t>
            </a:r>
            <a:endParaRPr lang="en-US" dirty="0"/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422137" y="3071971"/>
            <a:ext cx="6749230" cy="796308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596455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6455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6455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47433023"/>
      </p:ext>
    </p:extLst>
  </p:cSld>
  <p:clrMapOvr>
    <a:masterClrMapping/>
  </p:clrMapOvr>
</p:sldLayout>
</file>

<file path=ppt/slideLayouts/slideLayout4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4267898472"/>
      </p:ext>
    </p:extLst>
  </p:cSld>
  <p:clrMapOvr>
    <a:masterClrMapping/>
  </p:clrMapOvr>
</p:sldLayout>
</file>

<file path=ppt/slideLayouts/slideLayout4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60" y="1576"/>
          <a:ext cx="1555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83793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43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60" y="1576"/>
                        <a:ext cx="1555" cy="155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 userDrawn="1"/>
        </p:nvSpPr>
        <p:spPr>
          <a:xfrm>
            <a:off x="1" y="-58698"/>
            <a:ext cx="11949113" cy="186905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283" tIns="45643" rIns="91283" bIns="45643"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75525" y="228616"/>
            <a:ext cx="11491891" cy="30777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5041840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43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3778085810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20" y="1601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13221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80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601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211678" y="230288"/>
            <a:ext cx="10903658" cy="2212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US" noProof="0" dirty="0" smtClean="0"/>
            </a:lvl1pPr>
          </a:lstStyle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</p:spTree>
    <p:extLst>
      <p:ext uri="{BB962C8B-B14F-4D97-AF65-F5344CB8AC3E}">
        <p14:creationId xmlns:p14="http://schemas.microsoft.com/office/powerpoint/2010/main" val="343052511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397983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4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0806671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4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0978660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4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9355988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4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0202105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4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EA288C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4528195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4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6D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0582529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4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A02B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6065910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4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84292113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88908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42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 userDrawn="1"/>
        </p:nvSpPr>
        <p:spPr bwMode="auto">
          <a:xfrm>
            <a:off x="437849" y="131218"/>
            <a:ext cx="88165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pt-BR" sz="800" b="1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WORKING DRAFT</a:t>
            </a:r>
            <a:endParaRPr lang="pt-BR" sz="800" b="1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256937" y="36518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pt-BR" sz="800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 userDrawn="1"/>
        </p:nvSpPr>
        <p:spPr bwMode="auto">
          <a:xfrm>
            <a:off x="437874" y="286792"/>
            <a:ext cx="3069751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 userDrawn="1"/>
        </p:nvSpPr>
        <p:spPr bwMode="auto">
          <a:xfrm>
            <a:off x="437851" y="443953"/>
            <a:ext cx="270106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8" name="McK Title Elements" hidden="1"/>
          <p:cNvGrpSpPr>
            <a:grpSpLocks/>
          </p:cNvGrpSpPr>
          <p:nvPr userDrawn="1"/>
        </p:nvGrpSpPr>
        <p:grpSpPr bwMode="auto">
          <a:xfrm>
            <a:off x="5" y="33"/>
            <a:ext cx="11944879" cy="6723063"/>
            <a:chOff x="0" y="0"/>
            <a:chExt cx="5643" cy="4235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207" y="3361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ocument typ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207" y="3550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at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1" name="McK Disclaimer"/>
            <p:cNvSpPr>
              <a:spLocks noChangeArrowheads="1"/>
            </p:cNvSpPr>
            <p:nvPr/>
          </p:nvSpPr>
          <p:spPr bwMode="auto">
            <a:xfrm>
              <a:off x="207" y="3963"/>
              <a:ext cx="3226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803543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NFIDENTIAL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D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PRIETARY</a:t>
              </a:r>
              <a:endParaRPr lang="pt-BR" sz="80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  <a:p>
              <a:pPr defTabSz="803543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use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his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aterial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without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pecific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ermission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cKinsey &amp;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mpan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is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trictl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hibited</a:t>
              </a:r>
              <a:endParaRPr lang="pt-BR" sz="8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2" name="TitleBottomPlaceholder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3" name="TitleTopPlaceholder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Rectangle 1189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pic>
        <p:nvPicPr>
          <p:cNvPr id="18" name="TitleBottomBarBW" hidden="1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65680" y="6443669"/>
            <a:ext cx="2182379" cy="1920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7" name="Freeform 5"/>
          <p:cNvSpPr>
            <a:spLocks/>
          </p:cNvSpPr>
          <p:nvPr userDrawn="1"/>
        </p:nvSpPr>
        <p:spPr bwMode="auto">
          <a:xfrm flipH="1">
            <a:off x="4236" y="6635788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283" tIns="45643" rIns="91283" bIns="45643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9" name="Freeform 5"/>
          <p:cNvSpPr>
            <a:spLocks/>
          </p:cNvSpPr>
          <p:nvPr userDrawn="1"/>
        </p:nvSpPr>
        <p:spPr bwMode="auto">
          <a:xfrm flipH="1">
            <a:off x="4236" y="3197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283" tIns="45643" rIns="91283" bIns="45643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 userDrawn="1">
            <p:ph type="ctrTitle"/>
          </p:nvPr>
        </p:nvSpPr>
        <p:spPr>
          <a:xfrm>
            <a:off x="437853" y="2238434"/>
            <a:ext cx="6581329" cy="1292662"/>
          </a:xfrm>
          <a:prstGeom prst="rect">
            <a:avLst/>
          </a:prstGeom>
        </p:spPr>
        <p:txBody>
          <a:bodyPr/>
          <a:lstStyle>
            <a:lvl1pPr>
              <a:defRPr sz="4200" b="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dirty="0" smtClean="0"/>
              <a:t>Click </a:t>
            </a:r>
            <a:r>
              <a:rPr lang="pt-BR" noProof="0" dirty="0" err="1" smtClean="0"/>
              <a:t>to</a:t>
            </a:r>
            <a:r>
              <a:rPr lang="pt-BR" noProof="0" dirty="0" smtClean="0"/>
              <a:t> </a:t>
            </a:r>
            <a:r>
              <a:rPr lang="pt-BR" noProof="0" dirty="0" err="1" smtClean="0"/>
              <a:t>edit</a:t>
            </a:r>
            <a:r>
              <a:rPr lang="pt-BR" noProof="0" dirty="0" smtClean="0"/>
              <a:t> Master </a:t>
            </a:r>
            <a:r>
              <a:rPr lang="pt-BR" noProof="0" dirty="0" err="1" smtClean="0"/>
              <a:t>title</a:t>
            </a:r>
            <a:r>
              <a:rPr lang="pt-BR" noProof="0" dirty="0" smtClean="0"/>
              <a:t> </a:t>
            </a:r>
            <a:r>
              <a:rPr lang="pt-BR" noProof="0" dirty="0" err="1" smtClean="0"/>
              <a:t>style</a:t>
            </a:r>
            <a:endParaRPr lang="pt-BR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437852" y="3762851"/>
            <a:ext cx="6450496" cy="482639"/>
          </a:xfrm>
        </p:spPr>
        <p:txBody>
          <a:bodyPr wrap="square">
            <a:spAutoFit/>
          </a:bodyPr>
          <a:lstStyle>
            <a:lvl1pPr>
              <a:defRPr sz="310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smtClean="0"/>
              <a:t>Click to edit Master subtitle style</a:t>
            </a:r>
            <a:endParaRPr lang="pt-BR" noProof="0" dirty="0" smtClean="0"/>
          </a:p>
        </p:txBody>
      </p:sp>
      <p:grpSp>
        <p:nvGrpSpPr>
          <p:cNvPr id="25" name="Group 24"/>
          <p:cNvGrpSpPr/>
          <p:nvPr userDrawn="1"/>
        </p:nvGrpSpPr>
        <p:grpSpPr>
          <a:xfrm>
            <a:off x="8526083" y="2325895"/>
            <a:ext cx="3423031" cy="3656746"/>
            <a:chOff x="5526523" y="2325890"/>
            <a:chExt cx="3423032" cy="3656747"/>
          </a:xfrm>
        </p:grpSpPr>
        <p:sp>
          <p:nvSpPr>
            <p:cNvPr id="26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27" name="Group 26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28" name="Donut 27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29" name="Oval 28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0" name="Oval 29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97039617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26471339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89933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43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211678" y="230206"/>
            <a:ext cx="10903658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US" noProof="0" dirty="0" smtClean="0"/>
            </a:lvl1pPr>
          </a:lstStyle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</p:spTree>
    <p:extLst>
      <p:ext uri="{BB962C8B-B14F-4D97-AF65-F5344CB8AC3E}">
        <p14:creationId xmlns:p14="http://schemas.microsoft.com/office/powerpoint/2010/main" val="133430832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21502" y="358999"/>
            <a:ext cx="10306110" cy="22121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759403367"/>
      </p:ext>
    </p:extLst>
  </p:cSld>
  <p:clrMapOvr>
    <a:masterClrMapping/>
  </p:clrMapOvr>
</p:sldLayout>
</file>

<file path=ppt/slideLayouts/slideLayout4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21502" y="358926"/>
            <a:ext cx="10306110" cy="307777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127407932"/>
      </p:ext>
    </p:extLst>
  </p:cSld>
  <p:clrMapOvr>
    <a:masterClrMapping/>
  </p:clrMapOvr>
</p:sldLayout>
</file>

<file path=ppt/slideLayouts/slideLayout45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648559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45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422137" y="349344"/>
            <a:ext cx="6749230" cy="254184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703"/>
              </a:lnSpc>
              <a:defRPr sz="4700">
                <a:solidFill>
                  <a:srgbClr val="18C3FF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r>
              <a:rPr lang="en-US" dirty="0" smtClean="0"/>
              <a:t>. LOREM IPSUM DOLOR SIT AMET HAS ID CIBO QUIDAM</a:t>
            </a:r>
            <a:endParaRPr lang="en-US" dirty="0"/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422137" y="3071971"/>
            <a:ext cx="6749230" cy="796308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596455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6455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6455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63105698"/>
      </p:ext>
    </p:extLst>
  </p:cSld>
  <p:clrMapOvr>
    <a:masterClrMapping/>
  </p:clrMapOvr>
</p:sldLayout>
</file>

<file path=ppt/slideLayouts/slideLayout4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1856558295"/>
      </p:ext>
    </p:extLst>
  </p:cSld>
  <p:clrMapOvr>
    <a:masterClrMapping/>
  </p:clrMapOvr>
</p:sldLayout>
</file>

<file path=ppt/slideLayouts/slideLayout45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60" y="1576"/>
          <a:ext cx="1555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90957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43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60" y="1576"/>
                        <a:ext cx="1555" cy="155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 userDrawn="1"/>
        </p:nvSpPr>
        <p:spPr>
          <a:xfrm>
            <a:off x="1" y="-58698"/>
            <a:ext cx="11949113" cy="186905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283" tIns="45643" rIns="91283" bIns="45643"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75525" y="228616"/>
            <a:ext cx="11491891" cy="30777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23119415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45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88982744"/>
      </p:ext>
    </p:extLst>
  </p:cSld>
  <p:clrMapOvr>
    <a:masterClrMapping/>
  </p:clrMapOvr>
</p:sldLayout>
</file>

<file path=ppt/slideLayouts/slideLayout4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32299076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93000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42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 userDrawn="1"/>
        </p:nvSpPr>
        <p:spPr bwMode="auto">
          <a:xfrm>
            <a:off x="437849" y="131306"/>
            <a:ext cx="88165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pt-BR" sz="800" b="1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WORKING DRAFT</a:t>
            </a:r>
            <a:endParaRPr lang="pt-BR" sz="800" b="1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256937" y="36518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pt-BR" sz="800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 userDrawn="1"/>
        </p:nvSpPr>
        <p:spPr bwMode="auto">
          <a:xfrm>
            <a:off x="437874" y="286879"/>
            <a:ext cx="3069751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 userDrawn="1"/>
        </p:nvSpPr>
        <p:spPr bwMode="auto">
          <a:xfrm>
            <a:off x="437851" y="444039"/>
            <a:ext cx="270106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8" name="McK Title Elements" hidden="1"/>
          <p:cNvGrpSpPr>
            <a:grpSpLocks/>
          </p:cNvGrpSpPr>
          <p:nvPr userDrawn="1"/>
        </p:nvGrpSpPr>
        <p:grpSpPr bwMode="auto">
          <a:xfrm>
            <a:off x="5" y="121"/>
            <a:ext cx="11944879" cy="6723063"/>
            <a:chOff x="0" y="0"/>
            <a:chExt cx="5643" cy="4235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207" y="3361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ocument typ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207" y="3550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at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1" name="McK Disclaimer"/>
            <p:cNvSpPr>
              <a:spLocks noChangeArrowheads="1"/>
            </p:cNvSpPr>
            <p:nvPr/>
          </p:nvSpPr>
          <p:spPr bwMode="auto">
            <a:xfrm>
              <a:off x="207" y="3963"/>
              <a:ext cx="3226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797488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NFIDENTIAL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D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PRIETARY</a:t>
              </a:r>
              <a:endParaRPr lang="pt-BR" sz="80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  <a:p>
              <a:pPr defTabSz="797488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use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his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aterial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without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pecific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ermission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cKinsey &amp;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mpan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is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trictl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hibited</a:t>
              </a:r>
              <a:endParaRPr lang="pt-BR" sz="8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2" name="TitleBottomPlaceholder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3" name="TitleTopPlaceholder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Rectangle 1189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pic>
        <p:nvPicPr>
          <p:cNvPr id="18" name="TitleBottomBarBW" hidden="1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65766" y="6443669"/>
            <a:ext cx="2182379" cy="1920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7" name="Freeform 5"/>
          <p:cNvSpPr>
            <a:spLocks/>
          </p:cNvSpPr>
          <p:nvPr userDrawn="1"/>
        </p:nvSpPr>
        <p:spPr bwMode="auto">
          <a:xfrm flipH="1">
            <a:off x="4236" y="6635876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0587" tIns="45292" rIns="90587" bIns="45292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9" name="Freeform 5"/>
          <p:cNvSpPr>
            <a:spLocks/>
          </p:cNvSpPr>
          <p:nvPr userDrawn="1"/>
        </p:nvSpPr>
        <p:spPr bwMode="auto">
          <a:xfrm flipH="1">
            <a:off x="4236" y="3283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0587" tIns="45292" rIns="90587" bIns="45292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 userDrawn="1">
            <p:ph type="ctrTitle"/>
          </p:nvPr>
        </p:nvSpPr>
        <p:spPr>
          <a:xfrm>
            <a:off x="437853" y="2238434"/>
            <a:ext cx="6581329" cy="1292662"/>
          </a:xfrm>
          <a:prstGeom prst="rect">
            <a:avLst/>
          </a:prstGeom>
        </p:spPr>
        <p:txBody>
          <a:bodyPr/>
          <a:lstStyle>
            <a:lvl1pPr>
              <a:defRPr sz="4200" b="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dirty="0" smtClean="0"/>
              <a:t>Click </a:t>
            </a:r>
            <a:r>
              <a:rPr lang="pt-BR" noProof="0" dirty="0" err="1" smtClean="0"/>
              <a:t>to</a:t>
            </a:r>
            <a:r>
              <a:rPr lang="pt-BR" noProof="0" dirty="0" smtClean="0"/>
              <a:t> </a:t>
            </a:r>
            <a:r>
              <a:rPr lang="pt-BR" noProof="0" dirty="0" err="1" smtClean="0"/>
              <a:t>edit</a:t>
            </a:r>
            <a:r>
              <a:rPr lang="pt-BR" noProof="0" dirty="0" smtClean="0"/>
              <a:t> Master </a:t>
            </a:r>
            <a:r>
              <a:rPr lang="pt-BR" noProof="0" dirty="0" err="1" smtClean="0"/>
              <a:t>title</a:t>
            </a:r>
            <a:r>
              <a:rPr lang="pt-BR" noProof="0" dirty="0" smtClean="0"/>
              <a:t> </a:t>
            </a:r>
            <a:r>
              <a:rPr lang="pt-BR" noProof="0" dirty="0" err="1" smtClean="0"/>
              <a:t>style</a:t>
            </a:r>
            <a:endParaRPr lang="pt-BR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437852" y="3762851"/>
            <a:ext cx="6450496" cy="482639"/>
          </a:xfrm>
        </p:spPr>
        <p:txBody>
          <a:bodyPr wrap="square">
            <a:spAutoFit/>
          </a:bodyPr>
          <a:lstStyle>
            <a:lvl1pPr>
              <a:defRPr sz="310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smtClean="0"/>
              <a:t>Click to edit Master subtitle style</a:t>
            </a:r>
            <a:endParaRPr lang="pt-BR" noProof="0" dirty="0" smtClean="0"/>
          </a:p>
        </p:txBody>
      </p:sp>
      <p:grpSp>
        <p:nvGrpSpPr>
          <p:cNvPr id="25" name="Group 24"/>
          <p:cNvGrpSpPr/>
          <p:nvPr userDrawn="1"/>
        </p:nvGrpSpPr>
        <p:grpSpPr>
          <a:xfrm>
            <a:off x="8526083" y="2325895"/>
            <a:ext cx="3423031" cy="3656746"/>
            <a:chOff x="5526523" y="2325890"/>
            <a:chExt cx="3423032" cy="3656747"/>
          </a:xfrm>
        </p:grpSpPr>
        <p:sp>
          <p:nvSpPr>
            <p:cNvPr id="26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27" name="Group 26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28" name="Donut 27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29" name="Oval 28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0" name="Oval 29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56541238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556602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94025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42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211678" y="230292"/>
            <a:ext cx="10903658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US" noProof="0" dirty="0" smtClean="0"/>
            </a:lvl1pPr>
          </a:lstStyle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</p:spTree>
    <p:extLst>
      <p:ext uri="{BB962C8B-B14F-4D97-AF65-F5344CB8AC3E}">
        <p14:creationId xmlns:p14="http://schemas.microsoft.com/office/powerpoint/2010/main" val="147722514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5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21502" y="359015"/>
            <a:ext cx="10306110" cy="307777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147312370"/>
      </p:ext>
    </p:extLst>
  </p:cSld>
  <p:clrMapOvr>
    <a:masterClrMapping/>
  </p:clrMapOvr>
</p:sldLayout>
</file>

<file path=ppt/slideLayouts/slideLayout45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737448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032485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46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422137" y="349431"/>
            <a:ext cx="6749230" cy="254184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703"/>
              </a:lnSpc>
              <a:defRPr sz="4700">
                <a:solidFill>
                  <a:srgbClr val="18C3FF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r>
              <a:rPr lang="en-US" dirty="0" smtClean="0"/>
              <a:t>. LOREM IPSUM DOLOR SIT AMET HAS ID CIBO QUIDAM</a:t>
            </a:r>
            <a:endParaRPr lang="en-US" dirty="0"/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422137" y="3071971"/>
            <a:ext cx="6749230" cy="796308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591926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1926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1926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8823223"/>
      </p:ext>
    </p:extLst>
  </p:cSld>
  <p:clrMapOvr>
    <a:masterClrMapping/>
  </p:clrMapOvr>
</p:sldLayout>
</file>

<file path=ppt/slideLayouts/slideLayout4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2233250832"/>
      </p:ext>
    </p:extLst>
  </p:cSld>
  <p:clrMapOvr>
    <a:masterClrMapping/>
  </p:clrMapOvr>
</p:sldLayout>
</file>

<file path=ppt/slideLayouts/slideLayout46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60" y="1576"/>
          <a:ext cx="1555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95049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42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60" y="1576"/>
                        <a:ext cx="1555" cy="155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 userDrawn="1"/>
        </p:nvSpPr>
        <p:spPr>
          <a:xfrm>
            <a:off x="1" y="-58698"/>
            <a:ext cx="11949113" cy="186905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587" tIns="45292" rIns="90587" bIns="45292"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75613" y="228703"/>
            <a:ext cx="11491891" cy="30777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58098832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46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3102504968"/>
      </p:ext>
    </p:extLst>
  </p:cSld>
  <p:clrMapOvr>
    <a:masterClrMapping/>
  </p:clrMapOvr>
</p:sldLayout>
</file>

<file path=ppt/slideLayouts/slideLayout46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4882679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46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47635766"/>
              </p:ext>
            </p:extLst>
          </p:nvPr>
        </p:nvGraphicFramePr>
        <p:xfrm>
          <a:off x="2077" y="2077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96073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42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77" y="2077"/>
                        <a:ext cx="2074" cy="20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11676" y="230279"/>
            <a:ext cx="10530036" cy="643520"/>
          </a:xfrm>
        </p:spPr>
        <p:txBody>
          <a:bodyPr/>
          <a:lstStyle>
            <a:lvl1pPr>
              <a:defRPr sz="4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78372794"/>
      </p:ext>
    </p:extLst>
  </p:cSld>
  <p:clrMapOvr>
    <a:masterClrMapping/>
  </p:clrMapOvr>
</p:sldLayout>
</file>

<file path=ppt/slideLayouts/slideLayout4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842377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4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0392404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4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3167404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4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9362044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422137" y="349430"/>
            <a:ext cx="6749230" cy="254184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3600"/>
              </a:lnSpc>
              <a:defRPr sz="3700">
                <a:solidFill>
                  <a:srgbClr val="18C3FF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r>
              <a:rPr lang="en-US" dirty="0" smtClean="0"/>
              <a:t>. LOREM IPSUM DOLOR SIT AMET HAS ID CIBO QUIDAM</a:t>
            </a:r>
            <a:endParaRPr lang="en-US" dirty="0"/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422137" y="3071971"/>
            <a:ext cx="6749230" cy="796308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453046" rtl="0" eaLnBrk="1" fontAlgn="auto" latinLnBrk="0" hangingPunct="1">
              <a:lnSpc>
                <a:spcPts val="1398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453046" rtl="0" eaLnBrk="1" fontAlgn="auto" latinLnBrk="0" hangingPunct="1">
              <a:lnSpc>
                <a:spcPts val="1398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453046" rtl="0" eaLnBrk="1" fontAlgn="auto" latinLnBrk="0" hangingPunct="1">
              <a:lnSpc>
                <a:spcPts val="1398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06828230"/>
      </p:ext>
    </p:extLst>
  </p:cSld>
  <p:clrMapOvr>
    <a:masterClrMapping/>
  </p:clrMapOvr>
</p:sldLayout>
</file>

<file path=ppt/slideLayouts/slideLayout4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8560012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4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EA288C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3408408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4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6D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7978400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4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A02B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0010672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4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53" y="358969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50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53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268" indent="0">
              <a:buNone/>
              <a:defRPr sz="2700">
                <a:solidFill>
                  <a:schemeClr val="accent3"/>
                </a:solidFill>
              </a:defRPr>
            </a:lvl2pPr>
            <a:lvl3pPr marL="474041" indent="0">
              <a:buNone/>
              <a:defRPr sz="2700">
                <a:solidFill>
                  <a:schemeClr val="accent3"/>
                </a:solidFill>
              </a:defRPr>
            </a:lvl3pPr>
            <a:lvl4pPr marL="702818" indent="0">
              <a:buNone/>
              <a:defRPr sz="2700">
                <a:solidFill>
                  <a:schemeClr val="accent3"/>
                </a:solidFill>
              </a:defRPr>
            </a:lvl4pPr>
            <a:lvl5pPr marL="931601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320354384"/>
      </p:ext>
    </p:extLst>
  </p:cSld>
  <p:clrMapOvr>
    <a:masterClrMapping/>
  </p:clrMapOvr>
</p:sldLayout>
</file>

<file path=ppt/slideLayouts/slideLayout4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50" y="1854632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86146483"/>
      </p:ext>
    </p:extLst>
  </p:cSld>
  <p:clrMapOvr>
    <a:masterClrMapping/>
  </p:clrMapOvr>
</p:sldLayout>
</file>

<file path=ppt/slideLayouts/slideLayout4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55592318"/>
      </p:ext>
    </p:extLst>
  </p:cSld>
  <p:clrMapOvr>
    <a:masterClrMapping/>
  </p:clrMapOvr>
</p:sldLayout>
</file>

<file path=ppt/slideLayouts/slideLayout4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80" y="1854632"/>
            <a:ext cx="5080446" cy="451832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854704"/>
            <a:ext cx="5080448" cy="451832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2053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268" indent="0">
              <a:buNone/>
              <a:defRPr sz="2700">
                <a:solidFill>
                  <a:schemeClr val="accent3"/>
                </a:solidFill>
              </a:defRPr>
            </a:lvl2pPr>
            <a:lvl3pPr marL="474041" indent="0">
              <a:buNone/>
              <a:defRPr sz="2700">
                <a:solidFill>
                  <a:schemeClr val="accent3"/>
                </a:solidFill>
              </a:defRPr>
            </a:lvl3pPr>
            <a:lvl4pPr marL="702818" indent="0">
              <a:buNone/>
              <a:defRPr sz="2700">
                <a:solidFill>
                  <a:schemeClr val="accent3"/>
                </a:solidFill>
              </a:defRPr>
            </a:lvl4pPr>
            <a:lvl5pPr marL="931601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324334762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47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1140963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47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20" y="358935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19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20" y="819634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960" indent="0">
              <a:buNone/>
              <a:defRPr sz="2700">
                <a:solidFill>
                  <a:schemeClr val="accent3"/>
                </a:solidFill>
              </a:defRPr>
            </a:lvl2pPr>
            <a:lvl3pPr marL="475383" indent="0">
              <a:buNone/>
              <a:defRPr sz="2700">
                <a:solidFill>
                  <a:schemeClr val="accent3"/>
                </a:solidFill>
              </a:defRPr>
            </a:lvl3pPr>
            <a:lvl4pPr marL="704809" indent="0">
              <a:buNone/>
              <a:defRPr sz="2700">
                <a:solidFill>
                  <a:schemeClr val="accent3"/>
                </a:solidFill>
              </a:defRPr>
            </a:lvl4pPr>
            <a:lvl5pPr marL="934242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3329640841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2392569607"/>
      </p:ext>
    </p:extLst>
  </p:cSld>
  <p:clrMapOvr>
    <a:masterClrMapping/>
  </p:clrMapOvr>
</p:sldLayout>
</file>

<file path=ppt/slideLayouts/slideLayout480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>
          <a:xfrm>
            <a:off x="597456" y="6229821"/>
            <a:ext cx="2788126" cy="357857"/>
          </a:xfrm>
          <a:prstGeom prst="rect">
            <a:avLst/>
          </a:prstGeom>
        </p:spPr>
        <p:txBody>
          <a:bodyPr lIns="91086" tIns="45542" rIns="91086" bIns="45542"/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>
          <a:xfrm>
            <a:off x="4082614" y="6229821"/>
            <a:ext cx="3783886" cy="357857"/>
          </a:xfrm>
          <a:prstGeom prst="rect">
            <a:avLst/>
          </a:prstGeom>
        </p:spPr>
        <p:txBody>
          <a:bodyPr lIns="91086" tIns="45542" rIns="91086" bIns="45542"/>
          <a:lstStyle/>
          <a:p>
            <a:endParaRPr lang="pt-BR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08480094"/>
      </p:ext>
    </p:extLst>
  </p:cSld>
  <p:clrMapOvr>
    <a:masterClrMapping/>
  </p:clrMapOvr>
</p:sldLayout>
</file>

<file path=ppt/slideLayouts/slideLayout48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a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08731568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5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 userDrawn="1"/>
        </p:nvSpPr>
        <p:spPr>
          <a:xfrm>
            <a:off x="9689506" y="3762877"/>
            <a:ext cx="1194911" cy="896197"/>
          </a:xfrm>
          <a:prstGeom prst="rect">
            <a:avLst/>
          </a:prstGeom>
        </p:spPr>
        <p:txBody>
          <a:bodyPr vert="horz" wrap="none" lIns="119306" tIns="59655" rIns="119306" bIns="59655" rtlCol="0" anchor="ctr">
            <a:noAutofit/>
          </a:bodyPr>
          <a:lstStyle/>
          <a:p>
            <a:pPr marL="372800" indent="-372800">
              <a:buFont typeface="Arial"/>
              <a:buChar char="•"/>
            </a:pPr>
            <a:endParaRPr lang="en-US" sz="2700" dirty="0">
              <a:solidFill>
                <a:srgbClr val="4D4D4D"/>
              </a:solidFill>
              <a:latin typeface="Simplon BP"/>
            </a:endParaRPr>
          </a:p>
        </p:txBody>
      </p:sp>
      <p:sp>
        <p:nvSpPr>
          <p:cNvPr id="13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422135" y="2848723"/>
            <a:ext cx="5577332" cy="1562434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596478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6478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6478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6478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  <p:sp>
        <p:nvSpPr>
          <p:cNvPr id="14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422135" y="1790555"/>
            <a:ext cx="4970423" cy="73342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596478" rtl="0" eaLnBrk="1" fontAlgn="auto" latinLnBrk="0" hangingPunct="1">
              <a:lnSpc>
                <a:spcPts val="2352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 cap="all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64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smtClean="0"/>
              <a:t>has </a:t>
            </a:r>
            <a:br>
              <a:rPr lang="en-US" dirty="0" smtClean="0"/>
            </a:br>
            <a:r>
              <a:rPr lang="en-US" dirty="0" smtClean="0"/>
              <a:t>id </a:t>
            </a:r>
            <a:r>
              <a:rPr lang="en-US" dirty="0" err="1" smtClean="0"/>
              <a:t>cibo</a:t>
            </a:r>
            <a:r>
              <a:rPr lang="en-US" dirty="0" smtClean="0"/>
              <a:t> </a:t>
            </a:r>
            <a:r>
              <a:rPr lang="en-US" dirty="0" err="1" smtClean="0"/>
              <a:t>quidam</a:t>
            </a:r>
            <a:r>
              <a:rPr lang="en-US" dirty="0" smtClean="0"/>
              <a:t> </a:t>
            </a:r>
            <a:r>
              <a:rPr lang="en-US" dirty="0" err="1" smtClean="0"/>
              <a:t>facilis</a:t>
            </a:r>
            <a:endParaRPr lang="en-US" dirty="0"/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422136" y="349342"/>
            <a:ext cx="4970421" cy="123378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703"/>
              </a:lnSpc>
              <a:defRPr sz="4700">
                <a:solidFill>
                  <a:srgbClr val="EA288C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</a:t>
            </a:r>
            <a:br>
              <a:rPr lang="en-US" dirty="0" smtClean="0"/>
            </a:br>
            <a:r>
              <a:rPr lang="en-US" dirty="0" smtClean="0"/>
              <a:t>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28517792"/>
      </p:ext>
    </p:extLst>
  </p:cSld>
  <p:clrMapOvr>
    <a:masterClrMapping/>
  </p:clrMapOvr>
</p:sldLayout>
</file>

<file path=ppt/slideLayouts/slideLayout4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85517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4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Oi Capa">
    <p:bg>
      <p:bgPr>
        <a:blipFill dpi="0" rotWithShape="1">
          <a:blip r:embed="rId2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9866573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48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dt" sz="half" idx="10"/>
          </p:nvPr>
        </p:nvSpPr>
        <p:spPr>
          <a:xfrm>
            <a:off x="896183" y="6124011"/>
            <a:ext cx="2489399" cy="448098"/>
          </a:xfrm>
          <a:prstGeom prst="rect">
            <a:avLst/>
          </a:prstGeom>
          <a:ln/>
        </p:spPr>
        <p:txBody>
          <a:bodyPr lIns="119313" tIns="59659" rIns="119313" bIns="59659"/>
          <a:lstStyle>
            <a:lvl1pPr>
              <a:defRPr/>
            </a:lvl1pPr>
          </a:lstStyle>
          <a:p>
            <a:pPr defTabSz="596545" fontAlgn="auto">
              <a:spcBef>
                <a:spcPts val="0"/>
              </a:spcBef>
              <a:spcAft>
                <a:spcPts val="0"/>
              </a:spcAft>
              <a:defRPr/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1"/>
          </p:nvPr>
        </p:nvSpPr>
        <p:spPr>
          <a:xfrm>
            <a:off x="4082614" y="6124011"/>
            <a:ext cx="3783886" cy="448098"/>
          </a:xfrm>
          <a:prstGeom prst="rect">
            <a:avLst/>
          </a:prstGeom>
          <a:ln/>
        </p:spPr>
        <p:txBody>
          <a:bodyPr lIns="119313" tIns="59659" rIns="119313" bIns="59659"/>
          <a:lstStyle>
            <a:lvl1pPr>
              <a:defRPr/>
            </a:lvl1pPr>
          </a:lstStyle>
          <a:p>
            <a:pPr defTabSz="596545" fontAlgn="auto">
              <a:spcBef>
                <a:spcPts val="0"/>
              </a:spcBef>
              <a:spcAft>
                <a:spcPts val="0"/>
              </a:spcAft>
              <a:defRPr/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865404892"/>
      </p:ext>
    </p:extLst>
  </p:cSld>
  <p:clrMapOvr>
    <a:masterClrMapping/>
  </p:clrMapOvr>
</p:sldLayout>
</file>

<file path=ppt/slideLayouts/slideLayout4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7284059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4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5926458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4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626272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4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3827972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60" y="1567"/>
          <a:ext cx="1555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14245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80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60" y="1567"/>
                        <a:ext cx="1555" cy="155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 userDrawn="1"/>
        </p:nvSpPr>
        <p:spPr>
          <a:xfrm>
            <a:off x="1" y="-58693"/>
            <a:ext cx="11949113" cy="186905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597" tIns="45298" rIns="90597" bIns="45298" rtlCol="0" anchor="ctr"/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75601" y="228704"/>
            <a:ext cx="11491891" cy="22121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84197767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4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5641798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4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EA288C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3915363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4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6D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9108408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4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A02B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1825501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4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51439659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99143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42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 userDrawn="1"/>
        </p:nvSpPr>
        <p:spPr bwMode="auto">
          <a:xfrm>
            <a:off x="437849" y="131218"/>
            <a:ext cx="88165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pt-BR" sz="800" b="1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WORKING DRAFT</a:t>
            </a:r>
            <a:endParaRPr lang="pt-BR" sz="800" b="1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256937" y="36518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pt-BR" sz="800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 userDrawn="1"/>
        </p:nvSpPr>
        <p:spPr bwMode="auto">
          <a:xfrm>
            <a:off x="437874" y="286792"/>
            <a:ext cx="3069751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 userDrawn="1"/>
        </p:nvSpPr>
        <p:spPr bwMode="auto">
          <a:xfrm>
            <a:off x="437851" y="443953"/>
            <a:ext cx="270106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8" name="McK Title Elements" hidden="1"/>
          <p:cNvGrpSpPr>
            <a:grpSpLocks/>
          </p:cNvGrpSpPr>
          <p:nvPr userDrawn="1"/>
        </p:nvGrpSpPr>
        <p:grpSpPr bwMode="auto">
          <a:xfrm>
            <a:off x="5" y="33"/>
            <a:ext cx="11944879" cy="6723063"/>
            <a:chOff x="0" y="0"/>
            <a:chExt cx="5643" cy="4235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207" y="3361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ocument typ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207" y="3550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at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1" name="McK Disclaimer"/>
            <p:cNvSpPr>
              <a:spLocks noChangeArrowheads="1"/>
            </p:cNvSpPr>
            <p:nvPr/>
          </p:nvSpPr>
          <p:spPr bwMode="auto">
            <a:xfrm>
              <a:off x="207" y="3963"/>
              <a:ext cx="3226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803543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NFIDENTIAL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D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PRIETARY</a:t>
              </a:r>
              <a:endParaRPr lang="pt-BR" sz="80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  <a:p>
              <a:pPr defTabSz="803543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use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his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aterial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without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pecific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ermission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cKinsey &amp;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mpan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is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trictl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hibited</a:t>
              </a:r>
              <a:endParaRPr lang="pt-BR" sz="8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2" name="TitleBottomPlaceholder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3" name="TitleTopPlaceholder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Rectangle 1189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pic>
        <p:nvPicPr>
          <p:cNvPr id="18" name="TitleBottomBarBW" hidden="1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65680" y="6443669"/>
            <a:ext cx="2182379" cy="1920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7" name="Freeform 5"/>
          <p:cNvSpPr>
            <a:spLocks/>
          </p:cNvSpPr>
          <p:nvPr userDrawn="1"/>
        </p:nvSpPr>
        <p:spPr bwMode="auto">
          <a:xfrm flipH="1">
            <a:off x="4236" y="6635788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283" tIns="45643" rIns="91283" bIns="45643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9" name="Freeform 5"/>
          <p:cNvSpPr>
            <a:spLocks/>
          </p:cNvSpPr>
          <p:nvPr userDrawn="1"/>
        </p:nvSpPr>
        <p:spPr bwMode="auto">
          <a:xfrm flipH="1">
            <a:off x="4236" y="3197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283" tIns="45643" rIns="91283" bIns="45643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 userDrawn="1">
            <p:ph type="ctrTitle"/>
          </p:nvPr>
        </p:nvSpPr>
        <p:spPr>
          <a:xfrm>
            <a:off x="437853" y="2238434"/>
            <a:ext cx="6581329" cy="1292662"/>
          </a:xfrm>
          <a:prstGeom prst="rect">
            <a:avLst/>
          </a:prstGeom>
        </p:spPr>
        <p:txBody>
          <a:bodyPr/>
          <a:lstStyle>
            <a:lvl1pPr>
              <a:defRPr sz="4200" b="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dirty="0" smtClean="0"/>
              <a:t>Click </a:t>
            </a:r>
            <a:r>
              <a:rPr lang="pt-BR" noProof="0" dirty="0" err="1" smtClean="0"/>
              <a:t>to</a:t>
            </a:r>
            <a:r>
              <a:rPr lang="pt-BR" noProof="0" dirty="0" smtClean="0"/>
              <a:t> </a:t>
            </a:r>
            <a:r>
              <a:rPr lang="pt-BR" noProof="0" dirty="0" err="1" smtClean="0"/>
              <a:t>edit</a:t>
            </a:r>
            <a:r>
              <a:rPr lang="pt-BR" noProof="0" dirty="0" smtClean="0"/>
              <a:t> Master </a:t>
            </a:r>
            <a:r>
              <a:rPr lang="pt-BR" noProof="0" dirty="0" err="1" smtClean="0"/>
              <a:t>title</a:t>
            </a:r>
            <a:r>
              <a:rPr lang="pt-BR" noProof="0" dirty="0" smtClean="0"/>
              <a:t> </a:t>
            </a:r>
            <a:r>
              <a:rPr lang="pt-BR" noProof="0" dirty="0" err="1" smtClean="0"/>
              <a:t>style</a:t>
            </a:r>
            <a:endParaRPr lang="pt-BR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437852" y="3762851"/>
            <a:ext cx="6450496" cy="482639"/>
          </a:xfrm>
        </p:spPr>
        <p:txBody>
          <a:bodyPr wrap="square">
            <a:spAutoFit/>
          </a:bodyPr>
          <a:lstStyle>
            <a:lvl1pPr>
              <a:defRPr sz="310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smtClean="0"/>
              <a:t>Click to edit Master subtitle style</a:t>
            </a:r>
            <a:endParaRPr lang="pt-BR" noProof="0" dirty="0" smtClean="0"/>
          </a:p>
        </p:txBody>
      </p:sp>
      <p:grpSp>
        <p:nvGrpSpPr>
          <p:cNvPr id="25" name="Group 24"/>
          <p:cNvGrpSpPr/>
          <p:nvPr userDrawn="1"/>
        </p:nvGrpSpPr>
        <p:grpSpPr>
          <a:xfrm>
            <a:off x="8526083" y="2325895"/>
            <a:ext cx="3423031" cy="3656746"/>
            <a:chOff x="5526523" y="2325890"/>
            <a:chExt cx="3423032" cy="3656747"/>
          </a:xfrm>
        </p:grpSpPr>
        <p:sp>
          <p:nvSpPr>
            <p:cNvPr id="26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27" name="Group 26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28" name="Donut 27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29" name="Oval 28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0" name="Oval 29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19541722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80052069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00168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42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211678" y="230206"/>
            <a:ext cx="10903658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US" noProof="0" dirty="0" smtClean="0"/>
            </a:lvl1pPr>
          </a:lstStyle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</p:spTree>
    <p:extLst>
      <p:ext uri="{BB962C8B-B14F-4D97-AF65-F5344CB8AC3E}">
        <p14:creationId xmlns:p14="http://schemas.microsoft.com/office/powerpoint/2010/main" val="423312349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9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21502" y="358926"/>
            <a:ext cx="10306110" cy="307777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766777422"/>
      </p:ext>
    </p:extLst>
  </p:cSld>
  <p:clrMapOvr>
    <a:masterClrMapping/>
  </p:clrMapOvr>
</p:sldLayout>
</file>

<file path=ppt/slideLayouts/slideLayout49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781677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49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422137" y="349344"/>
            <a:ext cx="6749230" cy="254184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703"/>
              </a:lnSpc>
              <a:defRPr sz="4700">
                <a:solidFill>
                  <a:srgbClr val="18C3FF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r>
              <a:rPr lang="en-US" dirty="0" smtClean="0"/>
              <a:t>. LOREM IPSUM DOLOR SIT AMET HAS ID CIBO QUIDAM</a:t>
            </a:r>
            <a:endParaRPr lang="en-US" dirty="0"/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422137" y="3071971"/>
            <a:ext cx="6749230" cy="796308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596455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6455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6455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27343142"/>
      </p:ext>
    </p:extLst>
  </p:cSld>
  <p:clrMapOvr>
    <a:masterClrMapping/>
  </p:clrMapOvr>
</p:sldLayout>
</file>

<file path=ppt/slideLayouts/slideLayout4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280069989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422137" y="349431"/>
            <a:ext cx="6749230" cy="254184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703"/>
              </a:lnSpc>
              <a:defRPr sz="4700">
                <a:solidFill>
                  <a:srgbClr val="18C3FF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r>
              <a:rPr lang="en-US" dirty="0" smtClean="0"/>
              <a:t>. LOREM IPSUM DOLOR SIT AMET HAS ID CIBO QUIDAM</a:t>
            </a:r>
            <a:endParaRPr lang="en-US" dirty="0"/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422137" y="3071971"/>
            <a:ext cx="6749230" cy="796308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591926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1926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1926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6411248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3816830376"/>
      </p:ext>
    </p:extLst>
  </p:cSld>
  <p:clrMapOvr>
    <a:masterClrMapping/>
  </p:clrMapOvr>
</p:sldLayout>
</file>

<file path=ppt/slideLayouts/slideLayout50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60" y="1576"/>
          <a:ext cx="1555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01192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42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60" y="1576"/>
                        <a:ext cx="1555" cy="155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 userDrawn="1"/>
        </p:nvSpPr>
        <p:spPr>
          <a:xfrm>
            <a:off x="1" y="-58698"/>
            <a:ext cx="11949113" cy="186905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283" tIns="45643" rIns="91283" bIns="45643"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75525" y="228616"/>
            <a:ext cx="11491891" cy="30777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93519662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50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4260168330"/>
      </p:ext>
    </p:extLst>
  </p:cSld>
  <p:clrMapOvr>
    <a:masterClrMapping/>
  </p:clrMapOvr>
</p:sldLayout>
</file>

<file path=ppt/slideLayouts/slideLayout5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0414913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10403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42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 userDrawn="1"/>
        </p:nvSpPr>
        <p:spPr bwMode="auto">
          <a:xfrm>
            <a:off x="437849" y="131306"/>
            <a:ext cx="88165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pt-BR" sz="800" b="1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WORKING DRAFT</a:t>
            </a:r>
            <a:endParaRPr lang="pt-BR" sz="800" b="1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256937" y="36518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pt-BR" sz="800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 userDrawn="1"/>
        </p:nvSpPr>
        <p:spPr bwMode="auto">
          <a:xfrm>
            <a:off x="437874" y="286879"/>
            <a:ext cx="3069751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 userDrawn="1"/>
        </p:nvSpPr>
        <p:spPr bwMode="auto">
          <a:xfrm>
            <a:off x="437851" y="444039"/>
            <a:ext cx="270106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8" name="McK Title Elements" hidden="1"/>
          <p:cNvGrpSpPr>
            <a:grpSpLocks/>
          </p:cNvGrpSpPr>
          <p:nvPr userDrawn="1"/>
        </p:nvGrpSpPr>
        <p:grpSpPr bwMode="auto">
          <a:xfrm>
            <a:off x="5" y="121"/>
            <a:ext cx="11944879" cy="6723063"/>
            <a:chOff x="0" y="0"/>
            <a:chExt cx="5643" cy="4235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207" y="3361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ocument typ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207" y="3550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at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1" name="McK Disclaimer"/>
            <p:cNvSpPr>
              <a:spLocks noChangeArrowheads="1"/>
            </p:cNvSpPr>
            <p:nvPr/>
          </p:nvSpPr>
          <p:spPr bwMode="auto">
            <a:xfrm>
              <a:off x="207" y="3963"/>
              <a:ext cx="3226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797488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NFIDENTIAL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D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PRIETARY</a:t>
              </a:r>
              <a:endParaRPr lang="pt-BR" sz="80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  <a:p>
              <a:pPr defTabSz="797488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use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his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aterial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without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pecific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ermission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cKinsey &amp;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mpan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is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trictl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hibited</a:t>
              </a:r>
              <a:endParaRPr lang="pt-BR" sz="8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2" name="TitleBottomPlaceholder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3" name="TitleTopPlaceholder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Rectangle 1189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pic>
        <p:nvPicPr>
          <p:cNvPr id="18" name="TitleBottomBarBW" hidden="1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65766" y="6443669"/>
            <a:ext cx="2182379" cy="1920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7" name="Freeform 5"/>
          <p:cNvSpPr>
            <a:spLocks/>
          </p:cNvSpPr>
          <p:nvPr userDrawn="1"/>
        </p:nvSpPr>
        <p:spPr bwMode="auto">
          <a:xfrm flipH="1">
            <a:off x="4236" y="6635876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0587" tIns="45292" rIns="90587" bIns="45292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9" name="Freeform 5"/>
          <p:cNvSpPr>
            <a:spLocks/>
          </p:cNvSpPr>
          <p:nvPr userDrawn="1"/>
        </p:nvSpPr>
        <p:spPr bwMode="auto">
          <a:xfrm flipH="1">
            <a:off x="4236" y="3283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0587" tIns="45292" rIns="90587" bIns="45292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 userDrawn="1">
            <p:ph type="ctrTitle"/>
          </p:nvPr>
        </p:nvSpPr>
        <p:spPr>
          <a:xfrm>
            <a:off x="437853" y="2238434"/>
            <a:ext cx="6581329" cy="1292662"/>
          </a:xfrm>
          <a:prstGeom prst="rect">
            <a:avLst/>
          </a:prstGeom>
        </p:spPr>
        <p:txBody>
          <a:bodyPr/>
          <a:lstStyle>
            <a:lvl1pPr>
              <a:defRPr sz="4200" b="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dirty="0" smtClean="0"/>
              <a:t>Click </a:t>
            </a:r>
            <a:r>
              <a:rPr lang="pt-BR" noProof="0" dirty="0" err="1" smtClean="0"/>
              <a:t>to</a:t>
            </a:r>
            <a:r>
              <a:rPr lang="pt-BR" noProof="0" dirty="0" smtClean="0"/>
              <a:t> </a:t>
            </a:r>
            <a:r>
              <a:rPr lang="pt-BR" noProof="0" dirty="0" err="1" smtClean="0"/>
              <a:t>edit</a:t>
            </a:r>
            <a:r>
              <a:rPr lang="pt-BR" noProof="0" dirty="0" smtClean="0"/>
              <a:t> Master </a:t>
            </a:r>
            <a:r>
              <a:rPr lang="pt-BR" noProof="0" dirty="0" err="1" smtClean="0"/>
              <a:t>title</a:t>
            </a:r>
            <a:r>
              <a:rPr lang="pt-BR" noProof="0" dirty="0" smtClean="0"/>
              <a:t> </a:t>
            </a:r>
            <a:r>
              <a:rPr lang="pt-BR" noProof="0" dirty="0" err="1" smtClean="0"/>
              <a:t>style</a:t>
            </a:r>
            <a:endParaRPr lang="pt-BR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437852" y="3762851"/>
            <a:ext cx="6450496" cy="482639"/>
          </a:xfrm>
        </p:spPr>
        <p:txBody>
          <a:bodyPr wrap="square">
            <a:spAutoFit/>
          </a:bodyPr>
          <a:lstStyle>
            <a:lvl1pPr>
              <a:defRPr sz="310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smtClean="0"/>
              <a:t>Click to edit Master subtitle style</a:t>
            </a:r>
            <a:endParaRPr lang="pt-BR" noProof="0" dirty="0" smtClean="0"/>
          </a:p>
        </p:txBody>
      </p:sp>
      <p:grpSp>
        <p:nvGrpSpPr>
          <p:cNvPr id="25" name="Group 24"/>
          <p:cNvGrpSpPr/>
          <p:nvPr userDrawn="1"/>
        </p:nvGrpSpPr>
        <p:grpSpPr>
          <a:xfrm>
            <a:off x="8526083" y="2325895"/>
            <a:ext cx="3423031" cy="3656746"/>
            <a:chOff x="5526523" y="2325890"/>
            <a:chExt cx="3423032" cy="3656747"/>
          </a:xfrm>
        </p:grpSpPr>
        <p:sp>
          <p:nvSpPr>
            <p:cNvPr id="26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27" name="Group 26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28" name="Donut 27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29" name="Oval 28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0" name="Oval 29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95599377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90607986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11428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42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211678" y="230292"/>
            <a:ext cx="10903658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US" noProof="0" dirty="0" smtClean="0"/>
            </a:lvl1pPr>
          </a:lstStyle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</p:spTree>
    <p:extLst>
      <p:ext uri="{BB962C8B-B14F-4D97-AF65-F5344CB8AC3E}">
        <p14:creationId xmlns:p14="http://schemas.microsoft.com/office/powerpoint/2010/main" val="170480651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0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21502" y="359015"/>
            <a:ext cx="10306110" cy="307777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489189753"/>
      </p:ext>
    </p:extLst>
  </p:cSld>
  <p:clrMapOvr>
    <a:masterClrMapping/>
  </p:clrMapOvr>
</p:sldLayout>
</file>

<file path=ppt/slideLayouts/slideLayout50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992210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50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422137" y="349431"/>
            <a:ext cx="6749230" cy="254184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703"/>
              </a:lnSpc>
              <a:defRPr sz="4700">
                <a:solidFill>
                  <a:srgbClr val="18C3FF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r>
              <a:rPr lang="en-US" dirty="0" smtClean="0"/>
              <a:t>. LOREM IPSUM DOLOR SIT AMET HAS ID CIBO QUIDAM</a:t>
            </a:r>
            <a:endParaRPr lang="en-US" dirty="0"/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422137" y="3071971"/>
            <a:ext cx="6749230" cy="796308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591926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1926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1926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14091947"/>
      </p:ext>
    </p:extLst>
  </p:cSld>
  <p:clrMapOvr>
    <a:masterClrMapping/>
  </p:clrMapOvr>
</p:sldLayout>
</file>

<file path=ppt/slideLayouts/slideLayout5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4187075153"/>
      </p:ext>
    </p:extLst>
  </p:cSld>
  <p:clrMapOvr>
    <a:masterClrMapping/>
  </p:clrMapOvr>
</p:sldLayout>
</file>

<file path=ppt/slideLayouts/slideLayout50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60" y="1576"/>
          <a:ext cx="1555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12452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42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60" y="1576"/>
                        <a:ext cx="1555" cy="155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 userDrawn="1"/>
        </p:nvSpPr>
        <p:spPr>
          <a:xfrm>
            <a:off x="1" y="-58698"/>
            <a:ext cx="11949113" cy="186905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587" tIns="45292" rIns="90587" bIns="45292"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75613" y="228703"/>
            <a:ext cx="11491891" cy="30777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13662282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50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3692982425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77268724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19364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80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 userDrawn="1"/>
        </p:nvSpPr>
        <p:spPr bwMode="auto">
          <a:xfrm>
            <a:off x="437849" y="131290"/>
            <a:ext cx="88165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pt-BR" sz="800" b="1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WORKING DRAFT</a:t>
            </a:r>
            <a:endParaRPr lang="pt-BR" sz="800" b="1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256937" y="36518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pt-BR" sz="800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 userDrawn="1"/>
        </p:nvSpPr>
        <p:spPr bwMode="auto">
          <a:xfrm>
            <a:off x="437853" y="286866"/>
            <a:ext cx="2987997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/02/2017 08:07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 userDrawn="1"/>
        </p:nvSpPr>
        <p:spPr bwMode="auto">
          <a:xfrm>
            <a:off x="437851" y="444027"/>
            <a:ext cx="270106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8" name="McK Title Elements" hidden="1"/>
          <p:cNvGrpSpPr>
            <a:grpSpLocks/>
          </p:cNvGrpSpPr>
          <p:nvPr userDrawn="1"/>
        </p:nvGrpSpPr>
        <p:grpSpPr bwMode="auto">
          <a:xfrm>
            <a:off x="5" y="106"/>
            <a:ext cx="11944879" cy="6723063"/>
            <a:chOff x="0" y="0"/>
            <a:chExt cx="5643" cy="4235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207" y="3361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ocument typ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207" y="3550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at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1" name="McK Disclaimer"/>
            <p:cNvSpPr>
              <a:spLocks noChangeArrowheads="1"/>
            </p:cNvSpPr>
            <p:nvPr/>
          </p:nvSpPr>
          <p:spPr bwMode="auto">
            <a:xfrm>
              <a:off x="207" y="3963"/>
              <a:ext cx="3226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797578" eaLnBrk="0" hangingPunct="0"/>
              <a:r>
                <a:rPr lang="pt-BR" sz="800" dirty="0" err="1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CONFIDENTIAL</a:t>
              </a:r>
              <a:r>
                <a:rPr lang="pt-BR" sz="800" dirty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AND</a:t>
              </a:r>
              <a:r>
                <a:rPr lang="pt-BR" sz="800" dirty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PROPRIETARY</a:t>
              </a:r>
              <a:endParaRPr lang="pt-BR" sz="800" dirty="0">
                <a:solidFill>
                  <a:srgbClr val="000000"/>
                </a:solidFill>
                <a:latin typeface="Arial"/>
                <a:cs typeface="Arial" panose="020B0604020202020204" pitchFamily="34" charset="0"/>
                <a:sym typeface="Arial" panose="020B0604020202020204" pitchFamily="34" charset="0"/>
              </a:endParaRPr>
            </a:p>
            <a:p>
              <a:pPr defTabSz="797578" eaLnBrk="0" hangingPunct="0"/>
              <a:r>
                <a:rPr lang="pt-BR" sz="800" dirty="0" err="1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Any</a:t>
              </a:r>
              <a:r>
                <a:rPr lang="pt-BR" sz="800" dirty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 use </a:t>
              </a:r>
              <a:r>
                <a:rPr lang="pt-BR" sz="800" dirty="0" err="1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this</a:t>
              </a:r>
              <a:r>
                <a:rPr lang="pt-BR" sz="800" dirty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 material </a:t>
              </a:r>
              <a:r>
                <a:rPr lang="pt-BR" sz="800" dirty="0" err="1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without</a:t>
              </a:r>
              <a:r>
                <a:rPr lang="pt-BR" sz="800" dirty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specific</a:t>
              </a:r>
              <a:r>
                <a:rPr lang="pt-BR" sz="800" dirty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permission</a:t>
              </a:r>
              <a:r>
                <a:rPr lang="pt-BR" sz="800" dirty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 McKinsey &amp; </a:t>
              </a:r>
              <a:r>
                <a:rPr lang="pt-BR" sz="800" dirty="0" err="1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Company</a:t>
              </a:r>
              <a:r>
                <a:rPr lang="pt-BR" sz="800" dirty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is</a:t>
              </a:r>
              <a:r>
                <a:rPr lang="pt-BR" sz="800" dirty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strictly</a:t>
              </a:r>
              <a:r>
                <a:rPr lang="pt-BR" sz="800" dirty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prohibited</a:t>
              </a:r>
              <a:endParaRPr lang="pt-BR" sz="800" dirty="0">
                <a:solidFill>
                  <a:srgbClr val="000000"/>
                </a:solidFill>
                <a:latin typeface="Arial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2" name="TitleBottomPlaceholder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3" name="TitleTopPlaceholder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Rectangle 1189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pic>
        <p:nvPicPr>
          <p:cNvPr id="18" name="TitleBottomBarBW" hidden="1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65747" y="6443673"/>
            <a:ext cx="2182379" cy="1920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7" name="Freeform 5"/>
          <p:cNvSpPr>
            <a:spLocks/>
          </p:cNvSpPr>
          <p:nvPr userDrawn="1"/>
        </p:nvSpPr>
        <p:spPr bwMode="auto">
          <a:xfrm flipH="1">
            <a:off x="4236" y="6635861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0597" tIns="45298" rIns="90597" bIns="45298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9" name="Freeform 5"/>
          <p:cNvSpPr>
            <a:spLocks/>
          </p:cNvSpPr>
          <p:nvPr userDrawn="1"/>
        </p:nvSpPr>
        <p:spPr bwMode="auto">
          <a:xfrm flipH="1">
            <a:off x="4236" y="3282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0597" tIns="45298" rIns="90597" bIns="45298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 userDrawn="1">
            <p:ph type="ctrTitle"/>
          </p:nvPr>
        </p:nvSpPr>
        <p:spPr>
          <a:xfrm>
            <a:off x="437853" y="2238434"/>
            <a:ext cx="6581329" cy="1292662"/>
          </a:xfrm>
          <a:prstGeom prst="rect">
            <a:avLst/>
          </a:prstGeom>
        </p:spPr>
        <p:txBody>
          <a:bodyPr/>
          <a:lstStyle>
            <a:lvl1pPr>
              <a:defRPr sz="4200" b="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dirty="0" smtClean="0"/>
              <a:t>Click </a:t>
            </a:r>
            <a:r>
              <a:rPr lang="pt-BR" noProof="0" dirty="0" err="1" smtClean="0"/>
              <a:t>to</a:t>
            </a:r>
            <a:r>
              <a:rPr lang="pt-BR" noProof="0" dirty="0" smtClean="0"/>
              <a:t> </a:t>
            </a:r>
            <a:r>
              <a:rPr lang="pt-BR" noProof="0" dirty="0" err="1" smtClean="0"/>
              <a:t>edit</a:t>
            </a:r>
            <a:r>
              <a:rPr lang="pt-BR" noProof="0" dirty="0" smtClean="0"/>
              <a:t> Master </a:t>
            </a:r>
            <a:r>
              <a:rPr lang="pt-BR" noProof="0" dirty="0" err="1" smtClean="0"/>
              <a:t>title</a:t>
            </a:r>
            <a:r>
              <a:rPr lang="pt-BR" noProof="0" dirty="0" smtClean="0"/>
              <a:t> </a:t>
            </a:r>
            <a:r>
              <a:rPr lang="pt-BR" noProof="0" dirty="0" err="1" smtClean="0"/>
              <a:t>style</a:t>
            </a:r>
            <a:endParaRPr lang="pt-BR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437852" y="3762846"/>
            <a:ext cx="6450496" cy="482639"/>
          </a:xfrm>
        </p:spPr>
        <p:txBody>
          <a:bodyPr wrap="square">
            <a:spAutoFit/>
          </a:bodyPr>
          <a:lstStyle>
            <a:lvl1pPr>
              <a:defRPr sz="310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smtClean="0"/>
              <a:t>Click to edit Master subtitle style</a:t>
            </a:r>
            <a:endParaRPr lang="pt-BR" noProof="0" dirty="0" smtClean="0"/>
          </a:p>
        </p:txBody>
      </p:sp>
      <p:grpSp>
        <p:nvGrpSpPr>
          <p:cNvPr id="25" name="Group 24"/>
          <p:cNvGrpSpPr/>
          <p:nvPr userDrawn="1"/>
        </p:nvGrpSpPr>
        <p:grpSpPr>
          <a:xfrm>
            <a:off x="8526083" y="2325896"/>
            <a:ext cx="3423031" cy="3656746"/>
            <a:chOff x="5526523" y="2325890"/>
            <a:chExt cx="3423032" cy="3656747"/>
          </a:xfrm>
        </p:grpSpPr>
        <p:sp>
          <p:nvSpPr>
            <p:cNvPr id="26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27" name="Group 26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28" name="Donut 27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29" name="Oval 28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0" name="Oval 29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67561905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38" y="358955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37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38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573" indent="0">
              <a:buNone/>
              <a:defRPr sz="2700">
                <a:solidFill>
                  <a:schemeClr val="accent3"/>
                </a:solidFill>
              </a:defRPr>
            </a:lvl2pPr>
            <a:lvl3pPr marL="474630" indent="0">
              <a:buNone/>
              <a:defRPr sz="2700">
                <a:solidFill>
                  <a:schemeClr val="accent3"/>
                </a:solidFill>
              </a:defRPr>
            </a:lvl3pPr>
            <a:lvl4pPr marL="703695" indent="0">
              <a:buNone/>
              <a:defRPr sz="2700">
                <a:solidFill>
                  <a:schemeClr val="accent3"/>
                </a:solidFill>
              </a:defRPr>
            </a:lvl4pPr>
            <a:lvl5pPr marL="932760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4166134480"/>
      </p:ext>
    </p:extLst>
  </p:cSld>
  <p:clrMapOvr>
    <a:masterClrMapping/>
  </p:clrMapOvr>
</p:sldLayout>
</file>

<file path=ppt/slideLayouts/slideLayout5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37" y="1854632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87904296"/>
      </p:ext>
    </p:extLst>
  </p:cSld>
  <p:clrMapOvr>
    <a:masterClrMapping/>
  </p:clrMapOvr>
</p:sldLayout>
</file>

<file path=ppt/slideLayouts/slideLayout5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02071599"/>
      </p:ext>
    </p:extLst>
  </p:cSld>
  <p:clrMapOvr>
    <a:masterClrMapping/>
  </p:clrMapOvr>
</p:sldLayout>
</file>

<file path=ppt/slideLayouts/slideLayout5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80" y="1854632"/>
            <a:ext cx="5080446" cy="451832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854690"/>
            <a:ext cx="5080448" cy="451832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2038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573" indent="0">
              <a:buNone/>
              <a:defRPr sz="2700">
                <a:solidFill>
                  <a:schemeClr val="accent3"/>
                </a:solidFill>
              </a:defRPr>
            </a:lvl2pPr>
            <a:lvl3pPr marL="474630" indent="0">
              <a:buNone/>
              <a:defRPr sz="2700">
                <a:solidFill>
                  <a:schemeClr val="accent3"/>
                </a:solidFill>
              </a:defRPr>
            </a:lvl3pPr>
            <a:lvl4pPr marL="703695" indent="0">
              <a:buNone/>
              <a:defRPr sz="2700">
                <a:solidFill>
                  <a:schemeClr val="accent3"/>
                </a:solidFill>
              </a:defRPr>
            </a:lvl4pPr>
            <a:lvl5pPr marL="932760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01901505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5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37" y="358952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36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37" y="819634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601" indent="0">
              <a:buNone/>
              <a:defRPr sz="2700">
                <a:solidFill>
                  <a:schemeClr val="accent3"/>
                </a:solidFill>
              </a:defRPr>
            </a:lvl2pPr>
            <a:lvl3pPr marL="474684" indent="0">
              <a:buNone/>
              <a:defRPr sz="2700">
                <a:solidFill>
                  <a:schemeClr val="accent3"/>
                </a:solidFill>
              </a:defRPr>
            </a:lvl3pPr>
            <a:lvl4pPr marL="703774" indent="0">
              <a:buNone/>
              <a:defRPr sz="2700">
                <a:solidFill>
                  <a:schemeClr val="accent3"/>
                </a:solidFill>
              </a:defRPr>
            </a:lvl4pPr>
            <a:lvl5pPr marL="932866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337943589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37" y="358952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37" y="819634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601" indent="0">
              <a:buNone/>
              <a:defRPr sz="2700">
                <a:solidFill>
                  <a:schemeClr val="accent3"/>
                </a:solidFill>
              </a:defRPr>
            </a:lvl2pPr>
            <a:lvl3pPr marL="474684" indent="0">
              <a:buNone/>
              <a:defRPr sz="2700">
                <a:solidFill>
                  <a:schemeClr val="accent3"/>
                </a:solidFill>
              </a:defRPr>
            </a:lvl3pPr>
            <a:lvl4pPr marL="703774" indent="0">
              <a:buNone/>
              <a:defRPr sz="2700">
                <a:solidFill>
                  <a:schemeClr val="accent3"/>
                </a:solidFill>
              </a:defRPr>
            </a:lvl4pPr>
            <a:lvl5pPr marL="932866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22853019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37" y="358952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36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37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601" indent="0">
              <a:buNone/>
              <a:defRPr sz="2700">
                <a:solidFill>
                  <a:schemeClr val="accent3"/>
                </a:solidFill>
              </a:defRPr>
            </a:lvl2pPr>
            <a:lvl3pPr marL="474684" indent="0">
              <a:buNone/>
              <a:defRPr sz="2700">
                <a:solidFill>
                  <a:schemeClr val="accent3"/>
                </a:solidFill>
              </a:defRPr>
            </a:lvl3pPr>
            <a:lvl4pPr marL="703774" indent="0">
              <a:buNone/>
              <a:defRPr sz="2700">
                <a:solidFill>
                  <a:schemeClr val="accent3"/>
                </a:solidFill>
              </a:defRPr>
            </a:lvl4pPr>
            <a:lvl5pPr marL="932866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369088448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36" y="1854632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1449117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37606694"/>
              </p:ext>
            </p:extLst>
          </p:nvPr>
        </p:nvGraphicFramePr>
        <p:xfrm>
          <a:off x="2077" y="2077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15518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41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77" y="2077"/>
                        <a:ext cx="2074" cy="20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7862189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orytelling: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80" y="1854632"/>
            <a:ext cx="5080446" cy="451832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854687"/>
            <a:ext cx="5080448" cy="451832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2037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601" indent="0">
              <a:buNone/>
              <a:defRPr sz="2700">
                <a:solidFill>
                  <a:schemeClr val="accent3"/>
                </a:solidFill>
              </a:defRPr>
            </a:lvl2pPr>
            <a:lvl3pPr marL="474684" indent="0">
              <a:buNone/>
              <a:defRPr sz="2700">
                <a:solidFill>
                  <a:schemeClr val="accent3"/>
                </a:solidFill>
              </a:defRPr>
            </a:lvl3pPr>
            <a:lvl4pPr marL="703774" indent="0">
              <a:buNone/>
              <a:defRPr sz="2700">
                <a:solidFill>
                  <a:schemeClr val="accent3"/>
                </a:solidFill>
              </a:defRPr>
            </a:lvl4pPr>
            <a:lvl5pPr marL="932866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3916720228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9975751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16293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80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211678" y="230291"/>
            <a:ext cx="10903658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US" noProof="0" dirty="0" smtClean="0"/>
            </a:lvl1pPr>
          </a:lstStyle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</p:spTree>
    <p:extLst>
      <p:ext uri="{BB962C8B-B14F-4D97-AF65-F5344CB8AC3E}">
        <p14:creationId xmlns:p14="http://schemas.microsoft.com/office/powerpoint/2010/main" val="317380473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20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21504" y="6382745"/>
            <a:ext cx="1012745" cy="271470"/>
          </a:xfrm>
          <a:prstGeom prst="rect">
            <a:avLst/>
          </a:prstGeom>
        </p:spPr>
        <p:txBody>
          <a:bodyPr lIns="118893" tIns="59446" rIns="118893" bIns="59446"/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en-US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80690766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2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96184" y="2088072"/>
            <a:ext cx="10156746" cy="1440761"/>
          </a:xfrm>
        </p:spPr>
        <p:txBody>
          <a:bodyPr/>
          <a:lstStyle/>
          <a:p>
            <a:r>
              <a:rPr lang="x-none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792368" y="3808836"/>
            <a:ext cx="8364379" cy="171771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4578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915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373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7831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289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6747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2056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5663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x-none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597456" y="6229813"/>
            <a:ext cx="2788126" cy="357857"/>
          </a:xfrm>
          <a:prstGeom prst="rect">
            <a:avLst/>
          </a:prstGeom>
        </p:spPr>
        <p:txBody>
          <a:bodyPr lIns="118893" tIns="59446" rIns="118893" bIns="59446"/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en-US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17692841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ó image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3016387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23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le &amp;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" name="Shape 66"/>
          <p:cNvSpPr>
            <a:spLocks noGrp="1"/>
          </p:cNvSpPr>
          <p:nvPr>
            <p:ph type="title"/>
          </p:nvPr>
        </p:nvSpPr>
        <p:spPr>
          <a:xfrm>
            <a:off x="875240" y="306320"/>
            <a:ext cx="10198755" cy="1487826"/>
          </a:xfrm>
          <a:prstGeom prst="rect">
            <a:avLst/>
          </a:prstGeom>
        </p:spPr>
        <p:txBody>
          <a:bodyPr/>
          <a:lstStyle>
            <a:lvl1pPr algn="l">
              <a:defRPr b="1">
                <a:latin typeface="Bebas Neue"/>
                <a:ea typeface="Bebas Neue"/>
                <a:cs typeface="Bebas Neue"/>
                <a:sym typeface="Bebas Neue"/>
              </a:defRPr>
            </a:lvl1pPr>
          </a:lstStyle>
          <a:p>
            <a:r>
              <a:t>Title Text</a:t>
            </a:r>
          </a:p>
        </p:txBody>
      </p:sp>
      <p:sp>
        <p:nvSpPr>
          <p:cNvPr id="67" name="Shape 67"/>
          <p:cNvSpPr>
            <a:spLocks noGrp="1"/>
          </p:cNvSpPr>
          <p:nvPr>
            <p:ph type="body" idx="1"/>
          </p:nvPr>
        </p:nvSpPr>
        <p:spPr>
          <a:xfrm>
            <a:off x="875240" y="1794143"/>
            <a:ext cx="10198755" cy="4332200"/>
          </a:xfrm>
          <a:prstGeom prst="rect">
            <a:avLst/>
          </a:prstGeom>
        </p:spPr>
        <p:txBody>
          <a:bodyPr/>
          <a:lstStyle>
            <a:lvl1pPr marL="339576" indent="-339576">
              <a:spcBef>
                <a:spcPts val="1075"/>
              </a:spcBef>
              <a:defRPr sz="2000" b="1">
                <a:latin typeface="Bebas Neue"/>
                <a:ea typeface="Bebas Neue"/>
                <a:cs typeface="Bebas Neue"/>
                <a:sym typeface="Bebas Neue"/>
              </a:defRPr>
            </a:lvl1pPr>
            <a:lvl2pPr>
              <a:spcBef>
                <a:spcPts val="1075"/>
              </a:spcBef>
              <a:defRPr sz="2000" b="1">
                <a:latin typeface="Bebas Neue"/>
                <a:ea typeface="Bebas Neue"/>
                <a:cs typeface="Bebas Neue"/>
                <a:sym typeface="Bebas Neue"/>
              </a:defRPr>
            </a:lvl2pPr>
            <a:lvl3pPr>
              <a:spcBef>
                <a:spcPts val="1075"/>
              </a:spcBef>
              <a:defRPr sz="2000" b="1">
                <a:latin typeface="Bebas Neue"/>
                <a:ea typeface="Bebas Neue"/>
                <a:cs typeface="Bebas Neue"/>
                <a:sym typeface="Bebas Neue"/>
              </a:defRPr>
            </a:lvl3pPr>
            <a:lvl4pPr>
              <a:spcBef>
                <a:spcPts val="1075"/>
              </a:spcBef>
              <a:defRPr sz="2000" b="1">
                <a:latin typeface="Bebas Neue"/>
                <a:ea typeface="Bebas Neue"/>
                <a:cs typeface="Bebas Neue"/>
                <a:sym typeface="Bebas Neue"/>
              </a:defRPr>
            </a:lvl4pPr>
            <a:lvl5pPr>
              <a:spcBef>
                <a:spcPts val="1075"/>
              </a:spcBef>
              <a:defRPr sz="2000" b="1">
                <a:latin typeface="Bebas Neue"/>
                <a:ea typeface="Bebas Neue"/>
                <a:cs typeface="Bebas Neue"/>
                <a:sym typeface="Bebas Neue"/>
              </a:defRPr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68" name="Shape 68"/>
          <p:cNvSpPr>
            <a:spLocks noGrp="1"/>
          </p:cNvSpPr>
          <p:nvPr>
            <p:ph type="sldNum" sz="quarter" idx="2"/>
          </p:nvPr>
        </p:nvSpPr>
        <p:spPr>
          <a:xfrm>
            <a:off x="5790830" y="6375777"/>
            <a:ext cx="355789" cy="295966"/>
          </a:xfrm>
          <a:prstGeom prst="rect">
            <a:avLst/>
          </a:prstGeom>
        </p:spPr>
        <p:txBody>
          <a:bodyPr lIns="91304" tIns="45652" rIns="91304" bIns="45652"/>
          <a:lstStyle/>
          <a:p>
            <a:fld id="{86CB4B4D-7CA3-9044-876B-883B54F8677D}" type="slidenum">
              <a:rPr>
                <a:solidFill>
                  <a:srgbClr val="5F5F5F"/>
                </a:solidFill>
                <a:latin typeface="Helvetica Light"/>
                <a:ea typeface="Helvetica Light"/>
                <a:cs typeface="Helvetica Light"/>
              </a:rPr>
              <a:pPr/>
              <a:t>‹nº›</a:t>
            </a:fld>
            <a:endParaRPr>
              <a:solidFill>
                <a:srgbClr val="5F5F5F"/>
              </a:solidFill>
              <a:latin typeface="Helvetica Light"/>
              <a:ea typeface="Helvetica Light"/>
              <a:cs typeface="Helvetica Light"/>
            </a:endParaRPr>
          </a:p>
        </p:txBody>
      </p:sp>
    </p:spTree>
    <p:extLst>
      <p:ext uri="{BB962C8B-B14F-4D97-AF65-F5344CB8AC3E}">
        <p14:creationId xmlns:p14="http://schemas.microsoft.com/office/powerpoint/2010/main" val="1958425913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Layout>
</file>

<file path=ppt/slideLayouts/slideLayout52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798019245"/>
      </p:ext>
    </p:extLst>
  </p:cSld>
  <p:clrMapOvr>
    <a:masterClrMapping/>
  </p:clrMapOvr>
</p:sldLayout>
</file>

<file path=ppt/slideLayouts/slideLayout5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84" y="359001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83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84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4604" indent="0">
              <a:buNone/>
              <a:defRPr sz="2700">
                <a:solidFill>
                  <a:schemeClr val="accent3"/>
                </a:solidFill>
              </a:defRPr>
            </a:lvl2pPr>
            <a:lvl3pPr marL="472756" indent="0">
              <a:buNone/>
              <a:defRPr sz="2700">
                <a:solidFill>
                  <a:schemeClr val="accent3"/>
                </a:solidFill>
              </a:defRPr>
            </a:lvl3pPr>
            <a:lvl4pPr marL="700913" indent="0">
              <a:buNone/>
              <a:defRPr sz="2700">
                <a:solidFill>
                  <a:schemeClr val="accent3"/>
                </a:solidFill>
              </a:defRPr>
            </a:lvl4pPr>
            <a:lvl5pPr marL="929070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570859046"/>
      </p:ext>
    </p:extLst>
  </p:cSld>
  <p:clrMapOvr>
    <a:masterClrMapping/>
  </p:clrMapOvr>
</p:sldLayout>
</file>

<file path=ppt/slideLayouts/slideLayout5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83" y="1854632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1626419"/>
      </p:ext>
    </p:extLst>
  </p:cSld>
  <p:clrMapOvr>
    <a:masterClrMapping/>
  </p:clrMapOvr>
</p:sldLayout>
</file>

<file path=ppt/slideLayouts/slideLayout5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54160591"/>
      </p:ext>
    </p:extLst>
  </p:cSld>
  <p:clrMapOvr>
    <a:masterClrMapping/>
  </p:clrMapOvr>
</p:sldLayout>
</file>

<file path=ppt/slideLayouts/slideLayout5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80" y="1854632"/>
            <a:ext cx="5080446" cy="451832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854734"/>
            <a:ext cx="5080448" cy="451832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2084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4604" indent="0">
              <a:buNone/>
              <a:defRPr sz="2700">
                <a:solidFill>
                  <a:schemeClr val="accent3"/>
                </a:solidFill>
              </a:defRPr>
            </a:lvl2pPr>
            <a:lvl3pPr marL="472756" indent="0">
              <a:buNone/>
              <a:defRPr sz="2700">
                <a:solidFill>
                  <a:schemeClr val="accent3"/>
                </a:solidFill>
              </a:defRPr>
            </a:lvl3pPr>
            <a:lvl4pPr marL="700913" indent="0">
              <a:buNone/>
              <a:defRPr sz="2700">
                <a:solidFill>
                  <a:schemeClr val="accent3"/>
                </a:solidFill>
              </a:defRPr>
            </a:lvl4pPr>
            <a:lvl5pPr marL="929070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87306326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5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80" y="358997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79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80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4687" indent="0">
              <a:buNone/>
              <a:defRPr sz="2700">
                <a:solidFill>
                  <a:schemeClr val="accent3"/>
                </a:solidFill>
              </a:defRPr>
            </a:lvl2pPr>
            <a:lvl3pPr marL="472916" indent="0">
              <a:buNone/>
              <a:defRPr sz="2700">
                <a:solidFill>
                  <a:schemeClr val="accent3"/>
                </a:solidFill>
              </a:defRPr>
            </a:lvl3pPr>
            <a:lvl4pPr marL="701150" indent="0">
              <a:buNone/>
              <a:defRPr sz="2700">
                <a:solidFill>
                  <a:schemeClr val="accent3"/>
                </a:solidFill>
              </a:defRPr>
            </a:lvl4pPr>
            <a:lvl5pPr marL="929386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4279178819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21502" y="358999"/>
            <a:ext cx="10306110" cy="307777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689496923"/>
      </p:ext>
    </p:extLst>
  </p:cSld>
  <p:clrMapOvr>
    <a:masterClrMapping/>
  </p:clrMapOvr>
</p:sldLayout>
</file>

<file path=ppt/slideLayouts/slideLayout5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79" y="1854632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33319579"/>
      </p:ext>
    </p:extLst>
  </p:cSld>
  <p:clrMapOvr>
    <a:masterClrMapping/>
  </p:clrMapOvr>
</p:sldLayout>
</file>

<file path=ppt/slideLayouts/slideLayout5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55429108"/>
      </p:ext>
    </p:extLst>
  </p:cSld>
  <p:clrMapOvr>
    <a:masterClrMapping/>
  </p:clrMapOvr>
</p:sldLayout>
</file>

<file path=ppt/slideLayouts/slideLayout5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80" y="1854632"/>
            <a:ext cx="5080446" cy="451832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854730"/>
            <a:ext cx="5080448" cy="451832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2080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4687" indent="0">
              <a:buNone/>
              <a:defRPr sz="2700">
                <a:solidFill>
                  <a:schemeClr val="accent3"/>
                </a:solidFill>
              </a:defRPr>
            </a:lvl2pPr>
            <a:lvl3pPr marL="472916" indent="0">
              <a:buNone/>
              <a:defRPr sz="2700">
                <a:solidFill>
                  <a:schemeClr val="accent3"/>
                </a:solidFill>
              </a:defRPr>
            </a:lvl3pPr>
            <a:lvl4pPr marL="701150" indent="0">
              <a:buNone/>
              <a:defRPr sz="2700">
                <a:solidFill>
                  <a:schemeClr val="accent3"/>
                </a:solidFill>
              </a:defRPr>
            </a:lvl4pPr>
            <a:lvl5pPr marL="929386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36971823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5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20" y="358938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20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20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933" indent="0">
              <a:buNone/>
              <a:defRPr sz="2700">
                <a:solidFill>
                  <a:schemeClr val="accent3"/>
                </a:solidFill>
              </a:defRPr>
            </a:lvl2pPr>
            <a:lvl3pPr marL="475329" indent="0">
              <a:buNone/>
              <a:defRPr sz="2700">
                <a:solidFill>
                  <a:schemeClr val="accent3"/>
                </a:solidFill>
              </a:defRPr>
            </a:lvl3pPr>
            <a:lvl4pPr marL="704729" indent="0">
              <a:buNone/>
              <a:defRPr sz="2700">
                <a:solidFill>
                  <a:schemeClr val="accent3"/>
                </a:solidFill>
              </a:defRPr>
            </a:lvl4pPr>
            <a:lvl5pPr marL="934136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3356769368"/>
      </p:ext>
    </p:extLst>
  </p:cSld>
  <p:clrMapOvr>
    <a:masterClrMapping/>
  </p:clrMapOvr>
</p:sldLayout>
</file>

<file path=ppt/slideLayouts/slideLayout5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20" y="1854632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81291272"/>
      </p:ext>
    </p:extLst>
  </p:cSld>
  <p:clrMapOvr>
    <a:masterClrMapping/>
  </p:clrMapOvr>
</p:sldLayout>
</file>

<file path=ppt/slideLayouts/slideLayout5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76022190"/>
      </p:ext>
    </p:extLst>
  </p:cSld>
  <p:clrMapOvr>
    <a:masterClrMapping/>
  </p:clrMapOvr>
</p:sldLayout>
</file>

<file path=ppt/slideLayouts/slideLayout5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80" y="1854632"/>
            <a:ext cx="5080446" cy="451832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854672"/>
            <a:ext cx="5080448" cy="451832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2020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933" indent="0">
              <a:buNone/>
              <a:defRPr sz="2700">
                <a:solidFill>
                  <a:schemeClr val="accent3"/>
                </a:solidFill>
              </a:defRPr>
            </a:lvl2pPr>
            <a:lvl3pPr marL="475329" indent="0">
              <a:buNone/>
              <a:defRPr sz="2700">
                <a:solidFill>
                  <a:schemeClr val="accent3"/>
                </a:solidFill>
              </a:defRPr>
            </a:lvl3pPr>
            <a:lvl4pPr marL="704729" indent="0">
              <a:buNone/>
              <a:defRPr sz="2700">
                <a:solidFill>
                  <a:schemeClr val="accent3"/>
                </a:solidFill>
              </a:defRPr>
            </a:lvl4pPr>
            <a:lvl5pPr marL="934136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90696909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5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53" y="358969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50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53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268" indent="0">
              <a:buNone/>
              <a:defRPr sz="2700">
                <a:solidFill>
                  <a:schemeClr val="accent3"/>
                </a:solidFill>
              </a:defRPr>
            </a:lvl2pPr>
            <a:lvl3pPr marL="474041" indent="0">
              <a:buNone/>
              <a:defRPr sz="2700">
                <a:solidFill>
                  <a:schemeClr val="accent3"/>
                </a:solidFill>
              </a:defRPr>
            </a:lvl3pPr>
            <a:lvl4pPr marL="702818" indent="0">
              <a:buNone/>
              <a:defRPr sz="2700">
                <a:solidFill>
                  <a:schemeClr val="accent3"/>
                </a:solidFill>
              </a:defRPr>
            </a:lvl4pPr>
            <a:lvl5pPr marL="931601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731292805"/>
      </p:ext>
    </p:extLst>
  </p:cSld>
  <p:clrMapOvr>
    <a:masterClrMapping/>
  </p:clrMapOvr>
</p:sldLayout>
</file>

<file path=ppt/slideLayouts/slideLayout5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50" y="1854632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43384174"/>
      </p:ext>
    </p:extLst>
  </p:cSld>
  <p:clrMapOvr>
    <a:masterClrMapping/>
  </p:clrMapOvr>
</p:sldLayout>
</file>

<file path=ppt/slideLayouts/slideLayout5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13455734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177554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5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80" y="1854632"/>
            <a:ext cx="5080446" cy="451832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854704"/>
            <a:ext cx="5080448" cy="451832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2053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268" indent="0">
              <a:buNone/>
              <a:defRPr sz="2700">
                <a:solidFill>
                  <a:schemeClr val="accent3"/>
                </a:solidFill>
              </a:defRPr>
            </a:lvl2pPr>
            <a:lvl3pPr marL="474041" indent="0">
              <a:buNone/>
              <a:defRPr sz="2700">
                <a:solidFill>
                  <a:schemeClr val="accent3"/>
                </a:solidFill>
              </a:defRPr>
            </a:lvl3pPr>
            <a:lvl4pPr marL="702818" indent="0">
              <a:buNone/>
              <a:defRPr sz="2700">
                <a:solidFill>
                  <a:schemeClr val="accent3"/>
                </a:solidFill>
              </a:defRPr>
            </a:lvl4pPr>
            <a:lvl5pPr marL="931601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707967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5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5554930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5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20" y="358935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19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20" y="819634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960" indent="0">
              <a:buNone/>
              <a:defRPr sz="2700">
                <a:solidFill>
                  <a:schemeClr val="accent3"/>
                </a:solidFill>
              </a:defRPr>
            </a:lvl2pPr>
            <a:lvl3pPr marL="475383" indent="0">
              <a:buNone/>
              <a:defRPr sz="2700">
                <a:solidFill>
                  <a:schemeClr val="accent3"/>
                </a:solidFill>
              </a:defRPr>
            </a:lvl3pPr>
            <a:lvl4pPr marL="704809" indent="0">
              <a:buNone/>
              <a:defRPr sz="2700">
                <a:solidFill>
                  <a:schemeClr val="accent3"/>
                </a:solidFill>
              </a:defRPr>
            </a:lvl4pPr>
            <a:lvl5pPr marL="934242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4251065300"/>
      </p:ext>
    </p:extLst>
  </p:cSld>
  <p:clrMapOvr>
    <a:masterClrMapping/>
  </p:clrMapOvr>
</p:sldLayout>
</file>

<file path=ppt/slideLayouts/slideLayout54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>
          <a:xfrm>
            <a:off x="597456" y="6229821"/>
            <a:ext cx="2788126" cy="357857"/>
          </a:xfrm>
          <a:prstGeom prst="rect">
            <a:avLst/>
          </a:prstGeom>
        </p:spPr>
        <p:txBody>
          <a:bodyPr lIns="91086" tIns="45542" rIns="91086" bIns="45542"/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>
          <a:xfrm>
            <a:off x="4082614" y="6229821"/>
            <a:ext cx="3783886" cy="357857"/>
          </a:xfrm>
          <a:prstGeom prst="rect">
            <a:avLst/>
          </a:prstGeom>
        </p:spPr>
        <p:txBody>
          <a:bodyPr lIns="91086" tIns="45542" rIns="91086" bIns="45542"/>
          <a:lstStyle/>
          <a:p>
            <a:endParaRPr lang="pt-BR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05628684"/>
      </p:ext>
    </p:extLst>
  </p:cSld>
  <p:clrMapOvr>
    <a:masterClrMapping/>
  </p:clrMapOvr>
</p:sldLayout>
</file>

<file path=ppt/slideLayouts/slideLayout5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a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02982384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5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 userDrawn="1"/>
        </p:nvSpPr>
        <p:spPr>
          <a:xfrm>
            <a:off x="9689506" y="3762877"/>
            <a:ext cx="1194911" cy="896197"/>
          </a:xfrm>
          <a:prstGeom prst="rect">
            <a:avLst/>
          </a:prstGeom>
        </p:spPr>
        <p:txBody>
          <a:bodyPr vert="horz" wrap="none" lIns="119306" tIns="59655" rIns="119306" bIns="59655" rtlCol="0" anchor="ctr">
            <a:noAutofit/>
          </a:bodyPr>
          <a:lstStyle/>
          <a:p>
            <a:pPr marL="372800" indent="-372800">
              <a:buFont typeface="Arial"/>
              <a:buChar char="•"/>
            </a:pPr>
            <a:endParaRPr lang="en-US" sz="2700" dirty="0">
              <a:solidFill>
                <a:srgbClr val="4D4D4D"/>
              </a:solidFill>
              <a:latin typeface="Simplon BP"/>
            </a:endParaRPr>
          </a:p>
        </p:txBody>
      </p:sp>
      <p:sp>
        <p:nvSpPr>
          <p:cNvPr id="13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422135" y="2848723"/>
            <a:ext cx="5577332" cy="1562434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596478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6478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6478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6478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  <p:sp>
        <p:nvSpPr>
          <p:cNvPr id="14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422135" y="1790555"/>
            <a:ext cx="4970423" cy="73342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596478" rtl="0" eaLnBrk="1" fontAlgn="auto" latinLnBrk="0" hangingPunct="1">
              <a:lnSpc>
                <a:spcPts val="2352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 cap="all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64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smtClean="0"/>
              <a:t>has </a:t>
            </a:r>
            <a:br>
              <a:rPr lang="en-US" dirty="0" smtClean="0"/>
            </a:br>
            <a:r>
              <a:rPr lang="en-US" dirty="0" smtClean="0"/>
              <a:t>id </a:t>
            </a:r>
            <a:r>
              <a:rPr lang="en-US" dirty="0" err="1" smtClean="0"/>
              <a:t>cibo</a:t>
            </a:r>
            <a:r>
              <a:rPr lang="en-US" dirty="0" smtClean="0"/>
              <a:t> </a:t>
            </a:r>
            <a:r>
              <a:rPr lang="en-US" dirty="0" err="1" smtClean="0"/>
              <a:t>quidam</a:t>
            </a:r>
            <a:r>
              <a:rPr lang="en-US" dirty="0" smtClean="0"/>
              <a:t> </a:t>
            </a:r>
            <a:r>
              <a:rPr lang="en-US" dirty="0" err="1" smtClean="0"/>
              <a:t>facilis</a:t>
            </a:r>
            <a:endParaRPr lang="en-US" dirty="0"/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422136" y="349342"/>
            <a:ext cx="4970421" cy="123378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703"/>
              </a:lnSpc>
              <a:defRPr sz="4700">
                <a:solidFill>
                  <a:srgbClr val="EA288C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</a:t>
            </a:r>
            <a:br>
              <a:rPr lang="en-US" dirty="0" smtClean="0"/>
            </a:br>
            <a:r>
              <a:rPr lang="en-US" dirty="0" smtClean="0"/>
              <a:t>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0087249"/>
      </p:ext>
    </p:extLst>
  </p:cSld>
  <p:clrMapOvr>
    <a:masterClrMapping/>
  </p:clrMapOvr>
</p:sldLayout>
</file>

<file path=ppt/slideLayouts/slideLayout5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7012195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5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Oi Capa">
    <p:bg>
      <p:bgPr>
        <a:blipFill dpi="0" rotWithShape="1">
          <a:blip r:embed="rId2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31645191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54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dt" sz="half" idx="10"/>
          </p:nvPr>
        </p:nvSpPr>
        <p:spPr>
          <a:xfrm>
            <a:off x="896183" y="6124011"/>
            <a:ext cx="2489399" cy="448098"/>
          </a:xfrm>
          <a:prstGeom prst="rect">
            <a:avLst/>
          </a:prstGeom>
          <a:ln/>
        </p:spPr>
        <p:txBody>
          <a:bodyPr lIns="119313" tIns="59659" rIns="119313" bIns="59659"/>
          <a:lstStyle>
            <a:lvl1pPr>
              <a:defRPr/>
            </a:lvl1pPr>
          </a:lstStyle>
          <a:p>
            <a:pPr defTabSz="596545" fontAlgn="auto">
              <a:spcBef>
                <a:spcPts val="0"/>
              </a:spcBef>
              <a:spcAft>
                <a:spcPts val="0"/>
              </a:spcAft>
              <a:defRPr/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1"/>
          </p:nvPr>
        </p:nvSpPr>
        <p:spPr>
          <a:xfrm>
            <a:off x="4082614" y="6124011"/>
            <a:ext cx="3783886" cy="448098"/>
          </a:xfrm>
          <a:prstGeom prst="rect">
            <a:avLst/>
          </a:prstGeom>
          <a:ln/>
        </p:spPr>
        <p:txBody>
          <a:bodyPr lIns="119313" tIns="59659" rIns="119313" bIns="59659"/>
          <a:lstStyle>
            <a:lvl1pPr>
              <a:defRPr/>
            </a:lvl1pPr>
          </a:lstStyle>
          <a:p>
            <a:pPr defTabSz="596545" fontAlgn="auto">
              <a:spcBef>
                <a:spcPts val="0"/>
              </a:spcBef>
              <a:spcAft>
                <a:spcPts val="0"/>
              </a:spcAft>
              <a:defRPr/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809405027"/>
      </p:ext>
    </p:extLst>
  </p:cSld>
  <p:clrMapOvr>
    <a:masterClrMapping/>
  </p:clrMapOvr>
</p:sldLayout>
</file>

<file path=ppt/slideLayouts/slideLayout5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94586172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20605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38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 userDrawn="1"/>
        </p:nvSpPr>
        <p:spPr bwMode="auto">
          <a:xfrm>
            <a:off x="437849" y="131306"/>
            <a:ext cx="88165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pt-BR" sz="800" b="1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WORKING DRAFT</a:t>
            </a:r>
            <a:endParaRPr lang="pt-BR" sz="800" b="1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256937" y="36518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pt-BR" sz="800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 userDrawn="1"/>
        </p:nvSpPr>
        <p:spPr bwMode="auto">
          <a:xfrm>
            <a:off x="437874" y="286879"/>
            <a:ext cx="3069751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 userDrawn="1"/>
        </p:nvSpPr>
        <p:spPr bwMode="auto">
          <a:xfrm>
            <a:off x="437851" y="444039"/>
            <a:ext cx="270106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8" name="McK Title Elements" hidden="1"/>
          <p:cNvGrpSpPr>
            <a:grpSpLocks/>
          </p:cNvGrpSpPr>
          <p:nvPr userDrawn="1"/>
        </p:nvGrpSpPr>
        <p:grpSpPr bwMode="auto">
          <a:xfrm>
            <a:off x="5" y="121"/>
            <a:ext cx="11944879" cy="6723063"/>
            <a:chOff x="0" y="0"/>
            <a:chExt cx="5643" cy="4235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207" y="3361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ocument typ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207" y="3550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at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1" name="McK Disclaimer"/>
            <p:cNvSpPr>
              <a:spLocks noChangeArrowheads="1"/>
            </p:cNvSpPr>
            <p:nvPr/>
          </p:nvSpPr>
          <p:spPr bwMode="auto">
            <a:xfrm>
              <a:off x="207" y="3963"/>
              <a:ext cx="3226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797488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NFIDENTIAL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D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PRIETARY</a:t>
              </a:r>
              <a:endParaRPr lang="pt-BR" sz="80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  <a:p>
              <a:pPr defTabSz="797488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use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his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aterial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without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pecific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ermission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cKinsey &amp;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mpan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is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trictl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hibited</a:t>
              </a:r>
              <a:endParaRPr lang="pt-BR" sz="8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2" name="TitleBottomPlaceholder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3" name="TitleTopPlaceholder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Rectangle 1189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pic>
        <p:nvPicPr>
          <p:cNvPr id="18" name="TitleBottomBarBW" hidden="1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65766" y="6443669"/>
            <a:ext cx="2182379" cy="1920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7" name="Freeform 5"/>
          <p:cNvSpPr>
            <a:spLocks/>
          </p:cNvSpPr>
          <p:nvPr userDrawn="1"/>
        </p:nvSpPr>
        <p:spPr bwMode="auto">
          <a:xfrm flipH="1">
            <a:off x="4236" y="6635876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0587" tIns="45292" rIns="90587" bIns="45292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9" name="Freeform 5"/>
          <p:cNvSpPr>
            <a:spLocks/>
          </p:cNvSpPr>
          <p:nvPr userDrawn="1"/>
        </p:nvSpPr>
        <p:spPr bwMode="auto">
          <a:xfrm flipH="1">
            <a:off x="4236" y="3283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0587" tIns="45292" rIns="90587" bIns="45292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 userDrawn="1">
            <p:ph type="ctrTitle"/>
          </p:nvPr>
        </p:nvSpPr>
        <p:spPr>
          <a:xfrm>
            <a:off x="437853" y="2238434"/>
            <a:ext cx="6581329" cy="1292662"/>
          </a:xfrm>
          <a:prstGeom prst="rect">
            <a:avLst/>
          </a:prstGeom>
        </p:spPr>
        <p:txBody>
          <a:bodyPr/>
          <a:lstStyle>
            <a:lvl1pPr>
              <a:defRPr sz="4200" b="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dirty="0" smtClean="0"/>
              <a:t>Click </a:t>
            </a:r>
            <a:r>
              <a:rPr lang="pt-BR" noProof="0" dirty="0" err="1" smtClean="0"/>
              <a:t>to</a:t>
            </a:r>
            <a:r>
              <a:rPr lang="pt-BR" noProof="0" dirty="0" smtClean="0"/>
              <a:t> </a:t>
            </a:r>
            <a:r>
              <a:rPr lang="pt-BR" noProof="0" dirty="0" err="1" smtClean="0"/>
              <a:t>edit</a:t>
            </a:r>
            <a:r>
              <a:rPr lang="pt-BR" noProof="0" dirty="0" smtClean="0"/>
              <a:t> Master </a:t>
            </a:r>
            <a:r>
              <a:rPr lang="pt-BR" noProof="0" dirty="0" err="1" smtClean="0"/>
              <a:t>title</a:t>
            </a:r>
            <a:r>
              <a:rPr lang="pt-BR" noProof="0" dirty="0" smtClean="0"/>
              <a:t> </a:t>
            </a:r>
            <a:r>
              <a:rPr lang="pt-BR" noProof="0" dirty="0" err="1" smtClean="0"/>
              <a:t>style</a:t>
            </a:r>
            <a:endParaRPr lang="pt-BR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437852" y="3762851"/>
            <a:ext cx="6450496" cy="482639"/>
          </a:xfrm>
        </p:spPr>
        <p:txBody>
          <a:bodyPr wrap="square">
            <a:spAutoFit/>
          </a:bodyPr>
          <a:lstStyle>
            <a:lvl1pPr>
              <a:defRPr sz="310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smtClean="0"/>
              <a:t>Click to edit Master subtitle style</a:t>
            </a:r>
            <a:endParaRPr lang="pt-BR" noProof="0" dirty="0" smtClean="0"/>
          </a:p>
        </p:txBody>
      </p:sp>
      <p:grpSp>
        <p:nvGrpSpPr>
          <p:cNvPr id="25" name="Group 24"/>
          <p:cNvGrpSpPr/>
          <p:nvPr userDrawn="1"/>
        </p:nvGrpSpPr>
        <p:grpSpPr>
          <a:xfrm>
            <a:off x="8526083" y="2325895"/>
            <a:ext cx="3423031" cy="3656746"/>
            <a:chOff x="5526523" y="2325890"/>
            <a:chExt cx="3423032" cy="3656747"/>
          </a:xfrm>
        </p:grpSpPr>
        <p:sp>
          <p:nvSpPr>
            <p:cNvPr id="26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27" name="Group 26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28" name="Donut 27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29" name="Oval 28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0" name="Oval 29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66978529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422137" y="349430"/>
            <a:ext cx="6749230" cy="254184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703"/>
              </a:lnSpc>
              <a:defRPr sz="4700">
                <a:solidFill>
                  <a:srgbClr val="18C3FF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r>
              <a:rPr lang="en-US" dirty="0" smtClean="0"/>
              <a:t>. LOREM IPSUM DOLOR SIT AMET HAS ID CIBO QUIDAM</a:t>
            </a:r>
            <a:endParaRPr lang="en-US" dirty="0"/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422137" y="3071971"/>
            <a:ext cx="6749230" cy="796308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591991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1991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1991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17058944"/>
      </p:ext>
    </p:extLst>
  </p:cSld>
  <p:clrMapOvr>
    <a:masterClrMapping/>
  </p:clrMapOvr>
</p:sldLayout>
</file>

<file path=ppt/slideLayouts/slideLayout5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60700081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21630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38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211678" y="230292"/>
            <a:ext cx="10903658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US" noProof="0" dirty="0" smtClean="0"/>
            </a:lvl1pPr>
          </a:lstStyle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</p:spTree>
    <p:extLst>
      <p:ext uri="{BB962C8B-B14F-4D97-AF65-F5344CB8AC3E}">
        <p14:creationId xmlns:p14="http://schemas.microsoft.com/office/powerpoint/2010/main" val="364926308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5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21502" y="359015"/>
            <a:ext cx="10306110" cy="307777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134334618"/>
      </p:ext>
    </p:extLst>
  </p:cSld>
  <p:clrMapOvr>
    <a:masterClrMapping/>
  </p:clrMapOvr>
</p:sldLayout>
</file>

<file path=ppt/slideLayouts/slideLayout55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071522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55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422137" y="349431"/>
            <a:ext cx="6749230" cy="254184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703"/>
              </a:lnSpc>
              <a:defRPr sz="4700">
                <a:solidFill>
                  <a:srgbClr val="18C3FF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r>
              <a:rPr lang="en-US" dirty="0" smtClean="0"/>
              <a:t>. LOREM IPSUM DOLOR SIT AMET HAS ID CIBO QUIDAM</a:t>
            </a:r>
            <a:endParaRPr lang="en-US" dirty="0"/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422137" y="3071971"/>
            <a:ext cx="6749230" cy="796308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591926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1926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1926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60447337"/>
      </p:ext>
    </p:extLst>
  </p:cSld>
  <p:clrMapOvr>
    <a:masterClrMapping/>
  </p:clrMapOvr>
</p:sldLayout>
</file>

<file path=ppt/slideLayouts/slideLayout5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1266141893"/>
      </p:ext>
    </p:extLst>
  </p:cSld>
  <p:clrMapOvr>
    <a:masterClrMapping/>
  </p:clrMapOvr>
</p:sldLayout>
</file>

<file path=ppt/slideLayouts/slideLayout55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60" y="1576"/>
          <a:ext cx="1555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22654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38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60" y="1576"/>
                        <a:ext cx="1555" cy="155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 userDrawn="1"/>
        </p:nvSpPr>
        <p:spPr>
          <a:xfrm>
            <a:off x="1" y="-58698"/>
            <a:ext cx="11949113" cy="186905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587" tIns="45292" rIns="90587" bIns="45292"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75613" y="228703"/>
            <a:ext cx="11491891" cy="30777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67225917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55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2904083943"/>
      </p:ext>
    </p:extLst>
  </p:cSld>
  <p:clrMapOvr>
    <a:masterClrMapping/>
  </p:clrMapOvr>
</p:sldLayout>
</file>

<file path=ppt/slideLayouts/slideLayout55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1085630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55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75325393"/>
              </p:ext>
            </p:extLst>
          </p:nvPr>
        </p:nvGraphicFramePr>
        <p:xfrm>
          <a:off x="2077" y="2077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23678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38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77" y="2077"/>
                        <a:ext cx="2074" cy="20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11676" y="230279"/>
            <a:ext cx="10530036" cy="643520"/>
          </a:xfrm>
        </p:spPr>
        <p:txBody>
          <a:bodyPr/>
          <a:lstStyle>
            <a:lvl1pPr>
              <a:defRPr sz="4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89582727"/>
      </p:ext>
    </p:extLst>
  </p:cSld>
  <p:clrMapOvr>
    <a:masterClrMapping/>
  </p:clrMapOvr>
</p:sldLayout>
</file>

<file path=ppt/slideLayouts/slideLayout5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53" y="358969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50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53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268" indent="0">
              <a:buNone/>
              <a:defRPr sz="2700">
                <a:solidFill>
                  <a:schemeClr val="accent3"/>
                </a:solidFill>
              </a:defRPr>
            </a:lvl2pPr>
            <a:lvl3pPr marL="474041" indent="0">
              <a:buNone/>
              <a:defRPr sz="2700">
                <a:solidFill>
                  <a:schemeClr val="accent3"/>
                </a:solidFill>
              </a:defRPr>
            </a:lvl3pPr>
            <a:lvl4pPr marL="702818" indent="0">
              <a:buNone/>
              <a:defRPr sz="2700">
                <a:solidFill>
                  <a:schemeClr val="accent3"/>
                </a:solidFill>
              </a:defRPr>
            </a:lvl4pPr>
            <a:lvl5pPr marL="931601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836052393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3994951622"/>
      </p:ext>
    </p:extLst>
  </p:cSld>
  <p:clrMapOvr>
    <a:masterClrMapping/>
  </p:clrMapOvr>
</p:sldLayout>
</file>

<file path=ppt/slideLayouts/slideLayout5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50" y="1854632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81217229"/>
      </p:ext>
    </p:extLst>
  </p:cSld>
  <p:clrMapOvr>
    <a:masterClrMapping/>
  </p:clrMapOvr>
</p:sldLayout>
</file>

<file path=ppt/slideLayouts/slideLayout5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55905743"/>
      </p:ext>
    </p:extLst>
  </p:cSld>
  <p:clrMapOvr>
    <a:masterClrMapping/>
  </p:clrMapOvr>
</p:sldLayout>
</file>

<file path=ppt/slideLayouts/slideLayout5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80" y="1854632"/>
            <a:ext cx="5080446" cy="451832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854704"/>
            <a:ext cx="5080448" cy="451832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2053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268" indent="0">
              <a:buNone/>
              <a:defRPr sz="2700">
                <a:solidFill>
                  <a:schemeClr val="accent3"/>
                </a:solidFill>
              </a:defRPr>
            </a:lvl2pPr>
            <a:lvl3pPr marL="474041" indent="0">
              <a:buNone/>
              <a:defRPr sz="2700">
                <a:solidFill>
                  <a:schemeClr val="accent3"/>
                </a:solidFill>
              </a:defRPr>
            </a:lvl3pPr>
            <a:lvl4pPr marL="702818" indent="0">
              <a:buNone/>
              <a:defRPr sz="2700">
                <a:solidFill>
                  <a:schemeClr val="accent3"/>
                </a:solidFill>
              </a:defRPr>
            </a:lvl4pPr>
            <a:lvl5pPr marL="931601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355266915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56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4882775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56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20" y="358935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19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20" y="819634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960" indent="0">
              <a:buNone/>
              <a:defRPr sz="2700">
                <a:solidFill>
                  <a:schemeClr val="accent3"/>
                </a:solidFill>
              </a:defRPr>
            </a:lvl2pPr>
            <a:lvl3pPr marL="475383" indent="0">
              <a:buNone/>
              <a:defRPr sz="2700">
                <a:solidFill>
                  <a:schemeClr val="accent3"/>
                </a:solidFill>
              </a:defRPr>
            </a:lvl3pPr>
            <a:lvl4pPr marL="704809" indent="0">
              <a:buNone/>
              <a:defRPr sz="2700">
                <a:solidFill>
                  <a:schemeClr val="accent3"/>
                </a:solidFill>
              </a:defRPr>
            </a:lvl4pPr>
            <a:lvl5pPr marL="934242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3682332072"/>
      </p:ext>
    </p:extLst>
  </p:cSld>
  <p:clrMapOvr>
    <a:masterClrMapping/>
  </p:clrMapOvr>
</p:sldLayout>
</file>

<file path=ppt/slideLayouts/slideLayout56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>
          <a:xfrm>
            <a:off x="597456" y="6229821"/>
            <a:ext cx="2788126" cy="357857"/>
          </a:xfrm>
          <a:prstGeom prst="rect">
            <a:avLst/>
          </a:prstGeom>
        </p:spPr>
        <p:txBody>
          <a:bodyPr lIns="91086" tIns="45542" rIns="91086" bIns="45542"/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>
          <a:xfrm>
            <a:off x="4082614" y="6229821"/>
            <a:ext cx="3783886" cy="357857"/>
          </a:xfrm>
          <a:prstGeom prst="rect">
            <a:avLst/>
          </a:prstGeom>
        </p:spPr>
        <p:txBody>
          <a:bodyPr lIns="91086" tIns="45542" rIns="91086" bIns="45542"/>
          <a:lstStyle/>
          <a:p>
            <a:endParaRPr lang="pt-BR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53584654"/>
      </p:ext>
    </p:extLst>
  </p:cSld>
  <p:clrMapOvr>
    <a:masterClrMapping/>
  </p:clrMapOvr>
</p:sldLayout>
</file>

<file path=ppt/slideLayouts/slideLayout56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a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7174241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6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5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 userDrawn="1"/>
        </p:nvSpPr>
        <p:spPr>
          <a:xfrm>
            <a:off x="9689506" y="3762877"/>
            <a:ext cx="1194911" cy="896197"/>
          </a:xfrm>
          <a:prstGeom prst="rect">
            <a:avLst/>
          </a:prstGeom>
        </p:spPr>
        <p:txBody>
          <a:bodyPr vert="horz" wrap="none" lIns="119306" tIns="59655" rIns="119306" bIns="59655" rtlCol="0" anchor="ctr">
            <a:noAutofit/>
          </a:bodyPr>
          <a:lstStyle/>
          <a:p>
            <a:pPr marL="372800" indent="-372800">
              <a:buFont typeface="Arial"/>
              <a:buChar char="•"/>
            </a:pPr>
            <a:endParaRPr lang="en-US" sz="2700" dirty="0">
              <a:solidFill>
                <a:srgbClr val="4D4D4D"/>
              </a:solidFill>
              <a:latin typeface="Simplon BP"/>
            </a:endParaRPr>
          </a:p>
        </p:txBody>
      </p:sp>
      <p:sp>
        <p:nvSpPr>
          <p:cNvPr id="13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422135" y="2848723"/>
            <a:ext cx="5577332" cy="1562434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596478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6478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6478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6478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  <p:sp>
        <p:nvSpPr>
          <p:cNvPr id="14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422135" y="1790555"/>
            <a:ext cx="4970423" cy="73342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596478" rtl="0" eaLnBrk="1" fontAlgn="auto" latinLnBrk="0" hangingPunct="1">
              <a:lnSpc>
                <a:spcPts val="2352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 cap="all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64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smtClean="0"/>
              <a:t>has </a:t>
            </a:r>
            <a:br>
              <a:rPr lang="en-US" dirty="0" smtClean="0"/>
            </a:br>
            <a:r>
              <a:rPr lang="en-US" dirty="0" smtClean="0"/>
              <a:t>id </a:t>
            </a:r>
            <a:r>
              <a:rPr lang="en-US" dirty="0" err="1" smtClean="0"/>
              <a:t>cibo</a:t>
            </a:r>
            <a:r>
              <a:rPr lang="en-US" dirty="0" smtClean="0"/>
              <a:t> </a:t>
            </a:r>
            <a:r>
              <a:rPr lang="en-US" dirty="0" err="1" smtClean="0"/>
              <a:t>quidam</a:t>
            </a:r>
            <a:r>
              <a:rPr lang="en-US" dirty="0" smtClean="0"/>
              <a:t> </a:t>
            </a:r>
            <a:r>
              <a:rPr lang="en-US" dirty="0" err="1" smtClean="0"/>
              <a:t>facilis</a:t>
            </a:r>
            <a:endParaRPr lang="en-US" dirty="0"/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422136" y="349342"/>
            <a:ext cx="4970421" cy="123378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703"/>
              </a:lnSpc>
              <a:defRPr sz="4700">
                <a:solidFill>
                  <a:srgbClr val="EA288C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</a:t>
            </a:r>
            <a:br>
              <a:rPr lang="en-US" dirty="0" smtClean="0"/>
            </a:br>
            <a:r>
              <a:rPr lang="en-US" dirty="0" smtClean="0"/>
              <a:t>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97050645"/>
      </p:ext>
    </p:extLst>
  </p:cSld>
  <p:clrMapOvr>
    <a:masterClrMapping/>
  </p:clrMapOvr>
</p:sldLayout>
</file>

<file path=ppt/slideLayouts/slideLayout5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3719067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5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8465107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60" y="1560"/>
          <a:ext cx="1555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17317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80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60" y="1560"/>
                        <a:ext cx="1555" cy="155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 userDrawn="1"/>
        </p:nvSpPr>
        <p:spPr>
          <a:xfrm>
            <a:off x="1" y="-58698"/>
            <a:ext cx="11949113" cy="186905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597" tIns="45298" rIns="90597" bIns="45298" rtlCol="0" anchor="ctr"/>
          <a:lstStyle/>
          <a:p>
            <a:pPr algn="ctr"/>
            <a:endParaRPr lang="en-US" sz="1600">
              <a:solidFill>
                <a:srgbClr val="FFFFFF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75593" y="228702"/>
            <a:ext cx="11491891" cy="30777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65030247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5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1697231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5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259541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5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3533132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5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EA288C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5480057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5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6D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4759426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5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A02B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1067996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5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56135559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27773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38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 userDrawn="1"/>
        </p:nvSpPr>
        <p:spPr bwMode="auto">
          <a:xfrm>
            <a:off x="437849" y="131306"/>
            <a:ext cx="88165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pt-BR" sz="800" b="1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WORKING DRAFT</a:t>
            </a:r>
            <a:endParaRPr lang="pt-BR" sz="800" b="1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256937" y="36518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pt-BR" sz="800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 userDrawn="1"/>
        </p:nvSpPr>
        <p:spPr bwMode="auto">
          <a:xfrm>
            <a:off x="437874" y="286879"/>
            <a:ext cx="3069751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 userDrawn="1"/>
        </p:nvSpPr>
        <p:spPr bwMode="auto">
          <a:xfrm>
            <a:off x="437851" y="444039"/>
            <a:ext cx="270106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8" name="McK Title Elements" hidden="1"/>
          <p:cNvGrpSpPr>
            <a:grpSpLocks/>
          </p:cNvGrpSpPr>
          <p:nvPr userDrawn="1"/>
        </p:nvGrpSpPr>
        <p:grpSpPr bwMode="auto">
          <a:xfrm>
            <a:off x="5" y="121"/>
            <a:ext cx="11944879" cy="6723063"/>
            <a:chOff x="0" y="0"/>
            <a:chExt cx="5643" cy="4235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207" y="3361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ocument typ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207" y="3550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at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1" name="McK Disclaimer"/>
            <p:cNvSpPr>
              <a:spLocks noChangeArrowheads="1"/>
            </p:cNvSpPr>
            <p:nvPr/>
          </p:nvSpPr>
          <p:spPr bwMode="auto">
            <a:xfrm>
              <a:off x="207" y="3963"/>
              <a:ext cx="3226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797488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NFIDENTIAL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D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PRIETARY</a:t>
              </a:r>
              <a:endParaRPr lang="pt-BR" sz="80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  <a:p>
              <a:pPr defTabSz="797488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use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his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aterial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without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pecific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ermission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cKinsey &amp;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mpan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is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trictl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hibited</a:t>
              </a:r>
              <a:endParaRPr lang="pt-BR" sz="8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2" name="TitleBottomPlaceholder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3" name="TitleTopPlaceholder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Rectangle 1189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pic>
        <p:nvPicPr>
          <p:cNvPr id="18" name="TitleBottomBarBW" hidden="1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65766" y="6443669"/>
            <a:ext cx="2182379" cy="1920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7" name="Freeform 5"/>
          <p:cNvSpPr>
            <a:spLocks/>
          </p:cNvSpPr>
          <p:nvPr userDrawn="1"/>
        </p:nvSpPr>
        <p:spPr bwMode="auto">
          <a:xfrm flipH="1">
            <a:off x="4236" y="6635876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0587" tIns="45292" rIns="90587" bIns="45292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9" name="Freeform 5"/>
          <p:cNvSpPr>
            <a:spLocks/>
          </p:cNvSpPr>
          <p:nvPr userDrawn="1"/>
        </p:nvSpPr>
        <p:spPr bwMode="auto">
          <a:xfrm flipH="1">
            <a:off x="4236" y="3283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0587" tIns="45292" rIns="90587" bIns="45292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 userDrawn="1">
            <p:ph type="ctrTitle"/>
          </p:nvPr>
        </p:nvSpPr>
        <p:spPr>
          <a:xfrm>
            <a:off x="437853" y="2238434"/>
            <a:ext cx="6581329" cy="1292662"/>
          </a:xfrm>
          <a:prstGeom prst="rect">
            <a:avLst/>
          </a:prstGeom>
        </p:spPr>
        <p:txBody>
          <a:bodyPr/>
          <a:lstStyle>
            <a:lvl1pPr>
              <a:defRPr sz="4200" b="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dirty="0" smtClean="0"/>
              <a:t>Click </a:t>
            </a:r>
            <a:r>
              <a:rPr lang="pt-BR" noProof="0" dirty="0" err="1" smtClean="0"/>
              <a:t>to</a:t>
            </a:r>
            <a:r>
              <a:rPr lang="pt-BR" noProof="0" dirty="0" smtClean="0"/>
              <a:t> </a:t>
            </a:r>
            <a:r>
              <a:rPr lang="pt-BR" noProof="0" dirty="0" err="1" smtClean="0"/>
              <a:t>edit</a:t>
            </a:r>
            <a:r>
              <a:rPr lang="pt-BR" noProof="0" dirty="0" smtClean="0"/>
              <a:t> Master </a:t>
            </a:r>
            <a:r>
              <a:rPr lang="pt-BR" noProof="0" dirty="0" err="1" smtClean="0"/>
              <a:t>title</a:t>
            </a:r>
            <a:r>
              <a:rPr lang="pt-BR" noProof="0" dirty="0" smtClean="0"/>
              <a:t> </a:t>
            </a:r>
            <a:r>
              <a:rPr lang="pt-BR" noProof="0" dirty="0" err="1" smtClean="0"/>
              <a:t>style</a:t>
            </a:r>
            <a:endParaRPr lang="pt-BR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437852" y="3762851"/>
            <a:ext cx="6450496" cy="482639"/>
          </a:xfrm>
        </p:spPr>
        <p:txBody>
          <a:bodyPr wrap="square">
            <a:spAutoFit/>
          </a:bodyPr>
          <a:lstStyle>
            <a:lvl1pPr>
              <a:defRPr sz="310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smtClean="0"/>
              <a:t>Click to edit Master subtitle style</a:t>
            </a:r>
            <a:endParaRPr lang="pt-BR" noProof="0" dirty="0" smtClean="0"/>
          </a:p>
        </p:txBody>
      </p:sp>
      <p:grpSp>
        <p:nvGrpSpPr>
          <p:cNvPr id="25" name="Group 24"/>
          <p:cNvGrpSpPr/>
          <p:nvPr userDrawn="1"/>
        </p:nvGrpSpPr>
        <p:grpSpPr>
          <a:xfrm>
            <a:off x="8526083" y="2325895"/>
            <a:ext cx="3423031" cy="3656746"/>
            <a:chOff x="5526523" y="2325890"/>
            <a:chExt cx="3423032" cy="3656747"/>
          </a:xfrm>
        </p:grpSpPr>
        <p:sp>
          <p:nvSpPr>
            <p:cNvPr id="26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27" name="Group 26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28" name="Donut 27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29" name="Oval 28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0" name="Oval 29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95239664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60500215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28798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38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211678" y="230292"/>
            <a:ext cx="10903658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US" noProof="0" dirty="0" smtClean="0"/>
            </a:lvl1pPr>
          </a:lstStyle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</p:spTree>
    <p:extLst>
      <p:ext uri="{BB962C8B-B14F-4D97-AF65-F5344CB8AC3E}">
        <p14:creationId xmlns:p14="http://schemas.microsoft.com/office/powerpoint/2010/main" val="228290205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7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21502" y="359015"/>
            <a:ext cx="10306110" cy="307777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010416654"/>
      </p:ext>
    </p:extLst>
  </p:cSld>
  <p:clrMapOvr>
    <a:masterClrMapping/>
  </p:clrMapOvr>
</p:sldLayout>
</file>

<file path=ppt/slideLayouts/slideLayout57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722733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1881128072"/>
      </p:ext>
    </p:extLst>
  </p:cSld>
  <p:clrMapOvr>
    <a:masterClrMapping/>
  </p:clrMapOvr>
</p:sldLayout>
</file>

<file path=ppt/slideLayouts/slideLayout58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422137" y="349431"/>
            <a:ext cx="6749230" cy="254184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703"/>
              </a:lnSpc>
              <a:defRPr sz="4700">
                <a:solidFill>
                  <a:srgbClr val="18C3FF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r>
              <a:rPr lang="en-US" dirty="0" smtClean="0"/>
              <a:t>. LOREM IPSUM DOLOR SIT AMET HAS ID CIBO QUIDAM</a:t>
            </a:r>
            <a:endParaRPr lang="en-US" dirty="0"/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422137" y="3071971"/>
            <a:ext cx="6749230" cy="796308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591926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1926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1926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52277232"/>
      </p:ext>
    </p:extLst>
  </p:cSld>
  <p:clrMapOvr>
    <a:masterClrMapping/>
  </p:clrMapOvr>
</p:sldLayout>
</file>

<file path=ppt/slideLayouts/slideLayout5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3822527444"/>
      </p:ext>
    </p:extLst>
  </p:cSld>
  <p:clrMapOvr>
    <a:masterClrMapping/>
  </p:clrMapOvr>
</p:sldLayout>
</file>

<file path=ppt/slideLayouts/slideLayout5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60" y="1576"/>
          <a:ext cx="1555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29822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38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60" y="1576"/>
                        <a:ext cx="1555" cy="155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 userDrawn="1"/>
        </p:nvSpPr>
        <p:spPr>
          <a:xfrm>
            <a:off x="1" y="-58698"/>
            <a:ext cx="11949113" cy="186905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587" tIns="45292" rIns="90587" bIns="45292"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75613" y="228703"/>
            <a:ext cx="11491891" cy="30777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47673449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58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1829037658"/>
      </p:ext>
    </p:extLst>
  </p:cSld>
  <p:clrMapOvr>
    <a:masterClrMapping/>
  </p:clrMapOvr>
</p:sldLayout>
</file>

<file path=ppt/slideLayouts/slideLayout5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8845382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5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70854975"/>
              </p:ext>
            </p:extLst>
          </p:nvPr>
        </p:nvGraphicFramePr>
        <p:xfrm>
          <a:off x="2077" y="2077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30846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38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77" y="2077"/>
                        <a:ext cx="2074" cy="20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11676" y="230279"/>
            <a:ext cx="10530036" cy="643520"/>
          </a:xfrm>
        </p:spPr>
        <p:txBody>
          <a:bodyPr/>
          <a:lstStyle>
            <a:lvl1pPr>
              <a:defRPr sz="4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65037431"/>
      </p:ext>
    </p:extLst>
  </p:cSld>
  <p:clrMapOvr>
    <a:masterClrMapping/>
  </p:clrMapOvr>
</p:sldLayout>
</file>

<file path=ppt/slideLayouts/slideLayout5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81276711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32893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38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 userDrawn="1"/>
        </p:nvSpPr>
        <p:spPr bwMode="auto">
          <a:xfrm>
            <a:off x="437849" y="131306"/>
            <a:ext cx="88165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pt-BR" sz="800" b="1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WORKING DRAFT</a:t>
            </a:r>
            <a:endParaRPr lang="pt-BR" sz="800" b="1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256937" y="36518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pt-BR" sz="800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 userDrawn="1"/>
        </p:nvSpPr>
        <p:spPr bwMode="auto">
          <a:xfrm>
            <a:off x="437874" y="286879"/>
            <a:ext cx="3069751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 userDrawn="1"/>
        </p:nvSpPr>
        <p:spPr bwMode="auto">
          <a:xfrm>
            <a:off x="437851" y="444039"/>
            <a:ext cx="270106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8" name="McK Title Elements" hidden="1"/>
          <p:cNvGrpSpPr>
            <a:grpSpLocks/>
          </p:cNvGrpSpPr>
          <p:nvPr userDrawn="1"/>
        </p:nvGrpSpPr>
        <p:grpSpPr bwMode="auto">
          <a:xfrm>
            <a:off x="5" y="121"/>
            <a:ext cx="11944879" cy="6723063"/>
            <a:chOff x="0" y="0"/>
            <a:chExt cx="5643" cy="4235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207" y="3361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ocument typ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207" y="3550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at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1" name="McK Disclaimer"/>
            <p:cNvSpPr>
              <a:spLocks noChangeArrowheads="1"/>
            </p:cNvSpPr>
            <p:nvPr/>
          </p:nvSpPr>
          <p:spPr bwMode="auto">
            <a:xfrm>
              <a:off x="207" y="3963"/>
              <a:ext cx="3226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797488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NFIDENTIAL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D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PRIETARY</a:t>
              </a:r>
              <a:endParaRPr lang="pt-BR" sz="80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  <a:p>
              <a:pPr defTabSz="797488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use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his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aterial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without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pecific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ermission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cKinsey &amp;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mpan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is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trictl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hibited</a:t>
              </a:r>
              <a:endParaRPr lang="pt-BR" sz="8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2" name="TitleBottomPlaceholder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3" name="TitleTopPlaceholder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Rectangle 1189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pic>
        <p:nvPicPr>
          <p:cNvPr id="18" name="TitleBottomBarBW" hidden="1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65766" y="6443669"/>
            <a:ext cx="2182379" cy="1920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7" name="Freeform 5"/>
          <p:cNvSpPr>
            <a:spLocks/>
          </p:cNvSpPr>
          <p:nvPr userDrawn="1"/>
        </p:nvSpPr>
        <p:spPr bwMode="auto">
          <a:xfrm flipH="1">
            <a:off x="4236" y="6635876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0587" tIns="45292" rIns="90587" bIns="45292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9" name="Freeform 5"/>
          <p:cNvSpPr>
            <a:spLocks/>
          </p:cNvSpPr>
          <p:nvPr userDrawn="1"/>
        </p:nvSpPr>
        <p:spPr bwMode="auto">
          <a:xfrm flipH="1">
            <a:off x="4236" y="3283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0587" tIns="45292" rIns="90587" bIns="45292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 userDrawn="1">
            <p:ph type="ctrTitle"/>
          </p:nvPr>
        </p:nvSpPr>
        <p:spPr>
          <a:xfrm>
            <a:off x="437853" y="2238434"/>
            <a:ext cx="6581329" cy="1292662"/>
          </a:xfrm>
          <a:prstGeom prst="rect">
            <a:avLst/>
          </a:prstGeom>
        </p:spPr>
        <p:txBody>
          <a:bodyPr/>
          <a:lstStyle>
            <a:lvl1pPr>
              <a:defRPr sz="4200" b="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dirty="0" smtClean="0"/>
              <a:t>Click </a:t>
            </a:r>
            <a:r>
              <a:rPr lang="pt-BR" noProof="0" dirty="0" err="1" smtClean="0"/>
              <a:t>to</a:t>
            </a:r>
            <a:r>
              <a:rPr lang="pt-BR" noProof="0" dirty="0" smtClean="0"/>
              <a:t> </a:t>
            </a:r>
            <a:r>
              <a:rPr lang="pt-BR" noProof="0" dirty="0" err="1" smtClean="0"/>
              <a:t>edit</a:t>
            </a:r>
            <a:r>
              <a:rPr lang="pt-BR" noProof="0" dirty="0" smtClean="0"/>
              <a:t> Master </a:t>
            </a:r>
            <a:r>
              <a:rPr lang="pt-BR" noProof="0" dirty="0" err="1" smtClean="0"/>
              <a:t>title</a:t>
            </a:r>
            <a:r>
              <a:rPr lang="pt-BR" noProof="0" dirty="0" smtClean="0"/>
              <a:t> </a:t>
            </a:r>
            <a:r>
              <a:rPr lang="pt-BR" noProof="0" dirty="0" err="1" smtClean="0"/>
              <a:t>style</a:t>
            </a:r>
            <a:endParaRPr lang="pt-BR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437852" y="3762851"/>
            <a:ext cx="6450496" cy="482639"/>
          </a:xfrm>
        </p:spPr>
        <p:txBody>
          <a:bodyPr wrap="square">
            <a:spAutoFit/>
          </a:bodyPr>
          <a:lstStyle>
            <a:lvl1pPr>
              <a:defRPr sz="310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smtClean="0"/>
              <a:t>Click to edit Master subtitle style</a:t>
            </a:r>
            <a:endParaRPr lang="pt-BR" noProof="0" dirty="0" smtClean="0"/>
          </a:p>
        </p:txBody>
      </p:sp>
      <p:grpSp>
        <p:nvGrpSpPr>
          <p:cNvPr id="25" name="Group 24"/>
          <p:cNvGrpSpPr/>
          <p:nvPr userDrawn="1"/>
        </p:nvGrpSpPr>
        <p:grpSpPr>
          <a:xfrm>
            <a:off x="8526083" y="2325895"/>
            <a:ext cx="3423031" cy="3656746"/>
            <a:chOff x="5526523" y="2325890"/>
            <a:chExt cx="3423032" cy="3656747"/>
          </a:xfrm>
        </p:grpSpPr>
        <p:sp>
          <p:nvSpPr>
            <p:cNvPr id="26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27" name="Group 26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28" name="Donut 27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29" name="Oval 28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0" name="Oval 29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80538213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07704985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33918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38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211678" y="230292"/>
            <a:ext cx="10903658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US" noProof="0" dirty="0" smtClean="0"/>
            </a:lvl1pPr>
          </a:lstStyle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</p:spTree>
    <p:extLst>
      <p:ext uri="{BB962C8B-B14F-4D97-AF65-F5344CB8AC3E}">
        <p14:creationId xmlns:p14="http://schemas.microsoft.com/office/powerpoint/2010/main" val="135430293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8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21502" y="359015"/>
            <a:ext cx="10306110" cy="307777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695282295"/>
      </p:ext>
    </p:extLst>
  </p:cSld>
  <p:clrMapOvr>
    <a:masterClrMapping/>
  </p:clrMapOvr>
</p:sldLayout>
</file>

<file path=ppt/slideLayouts/slideLayout58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050979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38304292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4223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60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 userDrawn="1"/>
        </p:nvSpPr>
        <p:spPr bwMode="auto">
          <a:xfrm>
            <a:off x="437849" y="131306"/>
            <a:ext cx="88165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pt-BR" sz="800" b="1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WORKING DRAFT</a:t>
            </a:r>
            <a:endParaRPr lang="pt-BR" sz="800" b="1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256937" y="36518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pt-BR" sz="800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 userDrawn="1"/>
        </p:nvSpPr>
        <p:spPr bwMode="auto">
          <a:xfrm>
            <a:off x="437874" y="286879"/>
            <a:ext cx="3069751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 userDrawn="1"/>
        </p:nvSpPr>
        <p:spPr bwMode="auto">
          <a:xfrm>
            <a:off x="437851" y="444039"/>
            <a:ext cx="270106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8" name="McK Title Elements" hidden="1"/>
          <p:cNvGrpSpPr>
            <a:grpSpLocks/>
          </p:cNvGrpSpPr>
          <p:nvPr userDrawn="1"/>
        </p:nvGrpSpPr>
        <p:grpSpPr bwMode="auto">
          <a:xfrm>
            <a:off x="5" y="121"/>
            <a:ext cx="11944879" cy="6723063"/>
            <a:chOff x="0" y="0"/>
            <a:chExt cx="5643" cy="4235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207" y="3361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ocument typ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207" y="3550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at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1" name="McK Disclaimer"/>
            <p:cNvSpPr>
              <a:spLocks noChangeArrowheads="1"/>
            </p:cNvSpPr>
            <p:nvPr/>
          </p:nvSpPr>
          <p:spPr bwMode="auto">
            <a:xfrm>
              <a:off x="207" y="3963"/>
              <a:ext cx="3226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797488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NFIDENTIAL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D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PRIETARY</a:t>
              </a:r>
              <a:endParaRPr lang="pt-BR" sz="80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  <a:p>
              <a:pPr defTabSz="797488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use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his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aterial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without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pecific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ermission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cKinsey &amp;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mpan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is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trictl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hibited</a:t>
              </a:r>
              <a:endParaRPr lang="pt-BR" sz="8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2" name="TitleBottomPlaceholder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3" name="TitleTopPlaceholder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Rectangle 1189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pic>
        <p:nvPicPr>
          <p:cNvPr id="18" name="TitleBottomBarBW" hidden="1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65766" y="6443669"/>
            <a:ext cx="2182379" cy="1920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7" name="Freeform 5"/>
          <p:cNvSpPr>
            <a:spLocks/>
          </p:cNvSpPr>
          <p:nvPr userDrawn="1"/>
        </p:nvSpPr>
        <p:spPr bwMode="auto">
          <a:xfrm flipH="1">
            <a:off x="4236" y="6635876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0587" tIns="45292" rIns="90587" bIns="45292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9" name="Freeform 5"/>
          <p:cNvSpPr>
            <a:spLocks/>
          </p:cNvSpPr>
          <p:nvPr userDrawn="1"/>
        </p:nvSpPr>
        <p:spPr bwMode="auto">
          <a:xfrm flipH="1">
            <a:off x="4236" y="3283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0587" tIns="45292" rIns="90587" bIns="45292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 userDrawn="1">
            <p:ph type="ctrTitle"/>
          </p:nvPr>
        </p:nvSpPr>
        <p:spPr>
          <a:xfrm>
            <a:off x="437853" y="2238434"/>
            <a:ext cx="6581329" cy="1292662"/>
          </a:xfrm>
          <a:prstGeom prst="rect">
            <a:avLst/>
          </a:prstGeom>
        </p:spPr>
        <p:txBody>
          <a:bodyPr/>
          <a:lstStyle>
            <a:lvl1pPr>
              <a:defRPr sz="4200" b="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dirty="0" smtClean="0"/>
              <a:t>Click </a:t>
            </a:r>
            <a:r>
              <a:rPr lang="pt-BR" noProof="0" dirty="0" err="1" smtClean="0"/>
              <a:t>to</a:t>
            </a:r>
            <a:r>
              <a:rPr lang="pt-BR" noProof="0" dirty="0" smtClean="0"/>
              <a:t> </a:t>
            </a:r>
            <a:r>
              <a:rPr lang="pt-BR" noProof="0" dirty="0" err="1" smtClean="0"/>
              <a:t>edit</a:t>
            </a:r>
            <a:r>
              <a:rPr lang="pt-BR" noProof="0" dirty="0" smtClean="0"/>
              <a:t> Master </a:t>
            </a:r>
            <a:r>
              <a:rPr lang="pt-BR" noProof="0" dirty="0" err="1" smtClean="0"/>
              <a:t>title</a:t>
            </a:r>
            <a:r>
              <a:rPr lang="pt-BR" noProof="0" dirty="0" smtClean="0"/>
              <a:t> </a:t>
            </a:r>
            <a:r>
              <a:rPr lang="pt-BR" noProof="0" dirty="0" err="1" smtClean="0"/>
              <a:t>style</a:t>
            </a:r>
            <a:endParaRPr lang="pt-BR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437852" y="3762851"/>
            <a:ext cx="6450496" cy="482639"/>
          </a:xfrm>
        </p:spPr>
        <p:txBody>
          <a:bodyPr wrap="square">
            <a:spAutoFit/>
          </a:bodyPr>
          <a:lstStyle>
            <a:lvl1pPr>
              <a:defRPr sz="310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smtClean="0"/>
              <a:t>Click to edit Master subtitle style</a:t>
            </a:r>
            <a:endParaRPr lang="pt-BR" noProof="0" dirty="0" smtClean="0"/>
          </a:p>
        </p:txBody>
      </p:sp>
      <p:grpSp>
        <p:nvGrpSpPr>
          <p:cNvPr id="25" name="Group 24"/>
          <p:cNvGrpSpPr/>
          <p:nvPr userDrawn="1"/>
        </p:nvGrpSpPr>
        <p:grpSpPr>
          <a:xfrm>
            <a:off x="8526083" y="2325895"/>
            <a:ext cx="3423031" cy="3656746"/>
            <a:chOff x="5526523" y="2325890"/>
            <a:chExt cx="3423032" cy="3656747"/>
          </a:xfrm>
        </p:grpSpPr>
        <p:sp>
          <p:nvSpPr>
            <p:cNvPr id="26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27" name="Group 26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28" name="Donut 27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29" name="Oval 28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0" name="Oval 29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06955616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9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422137" y="349431"/>
            <a:ext cx="6749230" cy="254184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703"/>
              </a:lnSpc>
              <a:defRPr sz="4700">
                <a:solidFill>
                  <a:srgbClr val="18C3FF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r>
              <a:rPr lang="en-US" dirty="0" smtClean="0"/>
              <a:t>. LOREM IPSUM DOLOR SIT AMET HAS ID CIBO QUIDAM</a:t>
            </a:r>
            <a:endParaRPr lang="en-US" dirty="0"/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422137" y="3071971"/>
            <a:ext cx="6749230" cy="796308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591926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1926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1926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18772739"/>
      </p:ext>
    </p:extLst>
  </p:cSld>
  <p:clrMapOvr>
    <a:masterClrMapping/>
  </p:clrMapOvr>
</p:sldLayout>
</file>

<file path=ppt/slideLayouts/slideLayout5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651067363"/>
      </p:ext>
    </p:extLst>
  </p:cSld>
  <p:clrMapOvr>
    <a:masterClrMapping/>
  </p:clrMapOvr>
</p:sldLayout>
</file>

<file path=ppt/slideLayouts/slideLayout59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60" y="1576"/>
          <a:ext cx="1555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34942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38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60" y="1576"/>
                        <a:ext cx="1555" cy="155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 userDrawn="1"/>
        </p:nvSpPr>
        <p:spPr>
          <a:xfrm>
            <a:off x="1" y="-58698"/>
            <a:ext cx="11949113" cy="186905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587" tIns="45292" rIns="90587" bIns="45292"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75613" y="228703"/>
            <a:ext cx="11491891" cy="30777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79033815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59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195915074"/>
      </p:ext>
    </p:extLst>
  </p:cSld>
  <p:clrMapOvr>
    <a:masterClrMapping/>
  </p:clrMapOvr>
</p:sldLayout>
</file>

<file path=ppt/slideLayouts/slideLayout5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22373427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38013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38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 userDrawn="1"/>
        </p:nvSpPr>
        <p:spPr bwMode="auto">
          <a:xfrm>
            <a:off x="437849" y="131306"/>
            <a:ext cx="88165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pt-BR" sz="800" b="1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WORKING DRAFT</a:t>
            </a:r>
            <a:endParaRPr lang="pt-BR" sz="800" b="1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256937" y="36518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pt-BR" sz="800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 userDrawn="1"/>
        </p:nvSpPr>
        <p:spPr bwMode="auto">
          <a:xfrm>
            <a:off x="437874" y="286879"/>
            <a:ext cx="3069751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 userDrawn="1"/>
        </p:nvSpPr>
        <p:spPr bwMode="auto">
          <a:xfrm>
            <a:off x="437851" y="444039"/>
            <a:ext cx="270106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8" name="McK Title Elements" hidden="1"/>
          <p:cNvGrpSpPr>
            <a:grpSpLocks/>
          </p:cNvGrpSpPr>
          <p:nvPr userDrawn="1"/>
        </p:nvGrpSpPr>
        <p:grpSpPr bwMode="auto">
          <a:xfrm>
            <a:off x="5" y="121"/>
            <a:ext cx="11944879" cy="6723063"/>
            <a:chOff x="0" y="0"/>
            <a:chExt cx="5643" cy="4235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207" y="3361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ocument typ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207" y="3550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at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1" name="McK Disclaimer"/>
            <p:cNvSpPr>
              <a:spLocks noChangeArrowheads="1"/>
            </p:cNvSpPr>
            <p:nvPr/>
          </p:nvSpPr>
          <p:spPr bwMode="auto">
            <a:xfrm>
              <a:off x="207" y="3963"/>
              <a:ext cx="3226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797488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NFIDENTIAL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D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PRIETARY</a:t>
              </a:r>
              <a:endParaRPr lang="pt-BR" sz="80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  <a:p>
              <a:pPr defTabSz="797488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use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his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aterial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without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pecific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ermission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cKinsey &amp;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mpan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is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trictl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hibited</a:t>
              </a:r>
              <a:endParaRPr lang="pt-BR" sz="8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2" name="TitleBottomPlaceholder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3" name="TitleTopPlaceholder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Rectangle 1189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pic>
        <p:nvPicPr>
          <p:cNvPr id="18" name="TitleBottomBarBW" hidden="1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65766" y="6443669"/>
            <a:ext cx="2182379" cy="1920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7" name="Freeform 5"/>
          <p:cNvSpPr>
            <a:spLocks/>
          </p:cNvSpPr>
          <p:nvPr userDrawn="1"/>
        </p:nvSpPr>
        <p:spPr bwMode="auto">
          <a:xfrm flipH="1">
            <a:off x="4236" y="6635876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0587" tIns="45292" rIns="90587" bIns="45292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9" name="Freeform 5"/>
          <p:cNvSpPr>
            <a:spLocks/>
          </p:cNvSpPr>
          <p:nvPr userDrawn="1"/>
        </p:nvSpPr>
        <p:spPr bwMode="auto">
          <a:xfrm flipH="1">
            <a:off x="4236" y="3283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0587" tIns="45292" rIns="90587" bIns="45292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 userDrawn="1">
            <p:ph type="ctrTitle"/>
          </p:nvPr>
        </p:nvSpPr>
        <p:spPr>
          <a:xfrm>
            <a:off x="437853" y="2238434"/>
            <a:ext cx="6581329" cy="1292662"/>
          </a:xfrm>
          <a:prstGeom prst="rect">
            <a:avLst/>
          </a:prstGeom>
        </p:spPr>
        <p:txBody>
          <a:bodyPr/>
          <a:lstStyle>
            <a:lvl1pPr>
              <a:defRPr sz="4200" b="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dirty="0" smtClean="0"/>
              <a:t>Click </a:t>
            </a:r>
            <a:r>
              <a:rPr lang="pt-BR" noProof="0" dirty="0" err="1" smtClean="0"/>
              <a:t>to</a:t>
            </a:r>
            <a:r>
              <a:rPr lang="pt-BR" noProof="0" dirty="0" smtClean="0"/>
              <a:t> </a:t>
            </a:r>
            <a:r>
              <a:rPr lang="pt-BR" noProof="0" dirty="0" err="1" smtClean="0"/>
              <a:t>edit</a:t>
            </a:r>
            <a:r>
              <a:rPr lang="pt-BR" noProof="0" dirty="0" smtClean="0"/>
              <a:t> Master </a:t>
            </a:r>
            <a:r>
              <a:rPr lang="pt-BR" noProof="0" dirty="0" err="1" smtClean="0"/>
              <a:t>title</a:t>
            </a:r>
            <a:r>
              <a:rPr lang="pt-BR" noProof="0" dirty="0" smtClean="0"/>
              <a:t> </a:t>
            </a:r>
            <a:r>
              <a:rPr lang="pt-BR" noProof="0" dirty="0" err="1" smtClean="0"/>
              <a:t>style</a:t>
            </a:r>
            <a:endParaRPr lang="pt-BR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437852" y="3762851"/>
            <a:ext cx="6450496" cy="482639"/>
          </a:xfrm>
        </p:spPr>
        <p:txBody>
          <a:bodyPr wrap="square">
            <a:spAutoFit/>
          </a:bodyPr>
          <a:lstStyle>
            <a:lvl1pPr>
              <a:defRPr sz="310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smtClean="0"/>
              <a:t>Click to edit Master subtitle style</a:t>
            </a:r>
            <a:endParaRPr lang="pt-BR" noProof="0" dirty="0" smtClean="0"/>
          </a:p>
        </p:txBody>
      </p:sp>
      <p:grpSp>
        <p:nvGrpSpPr>
          <p:cNvPr id="25" name="Group 24"/>
          <p:cNvGrpSpPr/>
          <p:nvPr userDrawn="1"/>
        </p:nvGrpSpPr>
        <p:grpSpPr>
          <a:xfrm>
            <a:off x="8526083" y="2325895"/>
            <a:ext cx="3423031" cy="3656746"/>
            <a:chOff x="5526523" y="2325890"/>
            <a:chExt cx="3423032" cy="3656747"/>
          </a:xfrm>
        </p:grpSpPr>
        <p:sp>
          <p:nvSpPr>
            <p:cNvPr id="26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27" name="Group 26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28" name="Donut 27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29" name="Oval 28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0" name="Oval 29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86604736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43520148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39038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38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211678" y="230292"/>
            <a:ext cx="10903658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US" noProof="0" dirty="0" smtClean="0"/>
            </a:lvl1pPr>
          </a:lstStyle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</p:spTree>
    <p:extLst>
      <p:ext uri="{BB962C8B-B14F-4D97-AF65-F5344CB8AC3E}">
        <p14:creationId xmlns:p14="http://schemas.microsoft.com/office/powerpoint/2010/main" val="117395222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9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21502" y="359015"/>
            <a:ext cx="10306110" cy="307777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707054601"/>
      </p:ext>
    </p:extLst>
  </p:cSld>
  <p:clrMapOvr>
    <a:masterClrMapping/>
  </p:clrMapOvr>
</p:sldLayout>
</file>

<file path=ppt/slideLayouts/slideLayout59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777096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59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422137" y="349431"/>
            <a:ext cx="6749230" cy="254184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703"/>
              </a:lnSpc>
              <a:defRPr sz="4700">
                <a:solidFill>
                  <a:srgbClr val="18C3FF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r>
              <a:rPr lang="en-US" dirty="0" smtClean="0"/>
              <a:t>. LOREM IPSUM DOLOR SIT AMET HAS ID CIBO QUIDAM</a:t>
            </a:r>
            <a:endParaRPr lang="en-US" dirty="0"/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422137" y="3071971"/>
            <a:ext cx="6749230" cy="796308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591926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1926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1926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09220906"/>
      </p:ext>
    </p:extLst>
  </p:cSld>
  <p:clrMapOvr>
    <a:masterClrMapping/>
  </p:clrMapOvr>
</p:sldLayout>
</file>

<file path=ppt/slideLayouts/slideLayout5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234186727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2787064499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43391558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2176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60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211678" y="230292"/>
            <a:ext cx="10903658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US" noProof="0" dirty="0" smtClean="0"/>
            </a:lvl1pPr>
          </a:lstStyle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</p:spTree>
    <p:extLst>
      <p:ext uri="{BB962C8B-B14F-4D97-AF65-F5344CB8AC3E}">
        <p14:creationId xmlns:p14="http://schemas.microsoft.com/office/powerpoint/2010/main" val="365763179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0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60" y="1576"/>
          <a:ext cx="1555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40061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38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60" y="1576"/>
                        <a:ext cx="1555" cy="155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 userDrawn="1"/>
        </p:nvSpPr>
        <p:spPr>
          <a:xfrm>
            <a:off x="1" y="-58698"/>
            <a:ext cx="11949113" cy="186905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587" tIns="45292" rIns="90587" bIns="45292"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75613" y="228703"/>
            <a:ext cx="11491891" cy="30777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04158853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60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3140637503"/>
      </p:ext>
    </p:extLst>
  </p:cSld>
  <p:clrMapOvr>
    <a:masterClrMapping/>
  </p:clrMapOvr>
</p:sldLayout>
</file>

<file path=ppt/slideLayouts/slideLayout6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3691052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6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9318110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6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5326183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6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8078898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6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5923916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6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EA288C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4759190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6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6D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6381204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6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A02B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552603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21502" y="359015"/>
            <a:ext cx="10306110" cy="307777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36659162"/>
      </p:ext>
    </p:extLst>
  </p:cSld>
  <p:clrMapOvr>
    <a:masterClrMapping/>
  </p:clrMapOvr>
</p:sldLayout>
</file>

<file path=ppt/slideLayouts/slideLayout6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87923896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45180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38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 userDrawn="1"/>
        </p:nvSpPr>
        <p:spPr bwMode="auto">
          <a:xfrm>
            <a:off x="437849" y="131306"/>
            <a:ext cx="88165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pt-BR" sz="800" b="1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WORKING DRAFT</a:t>
            </a:r>
            <a:endParaRPr lang="pt-BR" sz="800" b="1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256937" y="36518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pt-BR" sz="800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 userDrawn="1"/>
        </p:nvSpPr>
        <p:spPr bwMode="auto">
          <a:xfrm>
            <a:off x="437874" y="286879"/>
            <a:ext cx="3069751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 userDrawn="1"/>
        </p:nvSpPr>
        <p:spPr bwMode="auto">
          <a:xfrm>
            <a:off x="437851" y="444039"/>
            <a:ext cx="270106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8" name="McK Title Elements" hidden="1"/>
          <p:cNvGrpSpPr>
            <a:grpSpLocks/>
          </p:cNvGrpSpPr>
          <p:nvPr userDrawn="1"/>
        </p:nvGrpSpPr>
        <p:grpSpPr bwMode="auto">
          <a:xfrm>
            <a:off x="5" y="121"/>
            <a:ext cx="11944879" cy="6723063"/>
            <a:chOff x="0" y="0"/>
            <a:chExt cx="5643" cy="4235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207" y="3361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ocument typ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207" y="3550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at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1" name="McK Disclaimer"/>
            <p:cNvSpPr>
              <a:spLocks noChangeArrowheads="1"/>
            </p:cNvSpPr>
            <p:nvPr/>
          </p:nvSpPr>
          <p:spPr bwMode="auto">
            <a:xfrm>
              <a:off x="207" y="3963"/>
              <a:ext cx="3226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797488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NFIDENTIAL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D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PRIETARY</a:t>
              </a:r>
              <a:endParaRPr lang="pt-BR" sz="80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  <a:p>
              <a:pPr defTabSz="797488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use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his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aterial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without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pecific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ermission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cKinsey &amp;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mpan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is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trictl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hibited</a:t>
              </a:r>
              <a:endParaRPr lang="pt-BR" sz="8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2" name="TitleBottomPlaceholder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3" name="TitleTopPlaceholder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Rectangle 1189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pic>
        <p:nvPicPr>
          <p:cNvPr id="18" name="TitleBottomBarBW" hidden="1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65766" y="6443669"/>
            <a:ext cx="2182379" cy="1920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7" name="Freeform 5"/>
          <p:cNvSpPr>
            <a:spLocks/>
          </p:cNvSpPr>
          <p:nvPr userDrawn="1"/>
        </p:nvSpPr>
        <p:spPr bwMode="auto">
          <a:xfrm flipH="1">
            <a:off x="4236" y="6635876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0587" tIns="45292" rIns="90587" bIns="45292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9" name="Freeform 5"/>
          <p:cNvSpPr>
            <a:spLocks/>
          </p:cNvSpPr>
          <p:nvPr userDrawn="1"/>
        </p:nvSpPr>
        <p:spPr bwMode="auto">
          <a:xfrm flipH="1">
            <a:off x="4236" y="3283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0587" tIns="45292" rIns="90587" bIns="45292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 userDrawn="1">
            <p:ph type="ctrTitle"/>
          </p:nvPr>
        </p:nvSpPr>
        <p:spPr>
          <a:xfrm>
            <a:off x="437853" y="2238434"/>
            <a:ext cx="6581329" cy="1292662"/>
          </a:xfrm>
          <a:prstGeom prst="rect">
            <a:avLst/>
          </a:prstGeom>
        </p:spPr>
        <p:txBody>
          <a:bodyPr/>
          <a:lstStyle>
            <a:lvl1pPr>
              <a:defRPr sz="4200" b="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dirty="0" smtClean="0"/>
              <a:t>Click </a:t>
            </a:r>
            <a:r>
              <a:rPr lang="pt-BR" noProof="0" dirty="0" err="1" smtClean="0"/>
              <a:t>to</a:t>
            </a:r>
            <a:r>
              <a:rPr lang="pt-BR" noProof="0" dirty="0" smtClean="0"/>
              <a:t> </a:t>
            </a:r>
            <a:r>
              <a:rPr lang="pt-BR" noProof="0" dirty="0" err="1" smtClean="0"/>
              <a:t>edit</a:t>
            </a:r>
            <a:r>
              <a:rPr lang="pt-BR" noProof="0" dirty="0" smtClean="0"/>
              <a:t> Master </a:t>
            </a:r>
            <a:r>
              <a:rPr lang="pt-BR" noProof="0" dirty="0" err="1" smtClean="0"/>
              <a:t>title</a:t>
            </a:r>
            <a:r>
              <a:rPr lang="pt-BR" noProof="0" dirty="0" smtClean="0"/>
              <a:t> </a:t>
            </a:r>
            <a:r>
              <a:rPr lang="pt-BR" noProof="0" dirty="0" err="1" smtClean="0"/>
              <a:t>style</a:t>
            </a:r>
            <a:endParaRPr lang="pt-BR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437852" y="3762851"/>
            <a:ext cx="6450496" cy="482639"/>
          </a:xfrm>
        </p:spPr>
        <p:txBody>
          <a:bodyPr wrap="square">
            <a:spAutoFit/>
          </a:bodyPr>
          <a:lstStyle>
            <a:lvl1pPr>
              <a:defRPr sz="310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smtClean="0"/>
              <a:t>Click to edit Master subtitle style</a:t>
            </a:r>
            <a:endParaRPr lang="pt-BR" noProof="0" dirty="0" smtClean="0"/>
          </a:p>
        </p:txBody>
      </p:sp>
      <p:grpSp>
        <p:nvGrpSpPr>
          <p:cNvPr id="25" name="Group 24"/>
          <p:cNvGrpSpPr/>
          <p:nvPr userDrawn="1"/>
        </p:nvGrpSpPr>
        <p:grpSpPr>
          <a:xfrm>
            <a:off x="8526083" y="2325895"/>
            <a:ext cx="3423031" cy="3656746"/>
            <a:chOff x="5526523" y="2325890"/>
            <a:chExt cx="3423032" cy="3656747"/>
          </a:xfrm>
        </p:grpSpPr>
        <p:sp>
          <p:nvSpPr>
            <p:cNvPr id="26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27" name="Group 26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28" name="Donut 27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29" name="Oval 28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0" name="Oval 29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52343707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09753795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46204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38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211678" y="230292"/>
            <a:ext cx="10903658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US" noProof="0" dirty="0" smtClean="0"/>
            </a:lvl1pPr>
          </a:lstStyle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</p:spTree>
    <p:extLst>
      <p:ext uri="{BB962C8B-B14F-4D97-AF65-F5344CB8AC3E}">
        <p14:creationId xmlns:p14="http://schemas.microsoft.com/office/powerpoint/2010/main" val="289334144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21502" y="359015"/>
            <a:ext cx="10306110" cy="307777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192782188"/>
      </p:ext>
    </p:extLst>
  </p:cSld>
  <p:clrMapOvr>
    <a:masterClrMapping/>
  </p:clrMapOvr>
</p:sldLayout>
</file>

<file path=ppt/slideLayouts/slideLayout6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503937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6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422137" y="349431"/>
            <a:ext cx="6749230" cy="254184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703"/>
              </a:lnSpc>
              <a:defRPr sz="4700">
                <a:solidFill>
                  <a:srgbClr val="18C3FF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r>
              <a:rPr lang="en-US" dirty="0" smtClean="0"/>
              <a:t>. LOREM IPSUM DOLOR SIT AMET HAS ID CIBO QUIDAM</a:t>
            </a:r>
            <a:endParaRPr lang="en-US" dirty="0"/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422137" y="3071971"/>
            <a:ext cx="6749230" cy="796308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591926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1926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1926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31730681"/>
      </p:ext>
    </p:extLst>
  </p:cSld>
  <p:clrMapOvr>
    <a:masterClrMapping/>
  </p:clrMapOvr>
</p:sldLayout>
</file>

<file path=ppt/slideLayouts/slideLayout6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3676281742"/>
      </p:ext>
    </p:extLst>
  </p:cSld>
  <p:clrMapOvr>
    <a:masterClrMapping/>
  </p:clrMapOvr>
</p:sldLayout>
</file>

<file path=ppt/slideLayouts/slideLayout6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60" y="1576"/>
          <a:ext cx="1555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47228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38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60" y="1576"/>
                        <a:ext cx="1555" cy="155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 userDrawn="1"/>
        </p:nvSpPr>
        <p:spPr>
          <a:xfrm>
            <a:off x="1" y="-58698"/>
            <a:ext cx="11949113" cy="186905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587" tIns="45292" rIns="90587" bIns="45292"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75613" y="228703"/>
            <a:ext cx="11491891" cy="30777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04637586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6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245469290"/>
      </p:ext>
    </p:extLst>
  </p:cSld>
  <p:clrMapOvr>
    <a:masterClrMapping/>
  </p:clrMapOvr>
</p:sldLayout>
</file>

<file path=ppt/slideLayouts/slideLayout6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93273328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0300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38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 userDrawn="1"/>
        </p:nvSpPr>
        <p:spPr bwMode="auto">
          <a:xfrm>
            <a:off x="437849" y="131306"/>
            <a:ext cx="88165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pt-BR" sz="800" b="1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WORKING DRAFT</a:t>
            </a:r>
            <a:endParaRPr lang="pt-BR" sz="800" b="1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256937" y="36518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pt-BR" sz="800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 userDrawn="1"/>
        </p:nvSpPr>
        <p:spPr bwMode="auto">
          <a:xfrm>
            <a:off x="437874" y="286879"/>
            <a:ext cx="3069751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 userDrawn="1"/>
        </p:nvSpPr>
        <p:spPr bwMode="auto">
          <a:xfrm>
            <a:off x="437851" y="444039"/>
            <a:ext cx="270106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8" name="McK Title Elements" hidden="1"/>
          <p:cNvGrpSpPr>
            <a:grpSpLocks/>
          </p:cNvGrpSpPr>
          <p:nvPr userDrawn="1"/>
        </p:nvGrpSpPr>
        <p:grpSpPr bwMode="auto">
          <a:xfrm>
            <a:off x="5" y="121"/>
            <a:ext cx="11944879" cy="6723063"/>
            <a:chOff x="0" y="0"/>
            <a:chExt cx="5643" cy="4235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207" y="3361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ocument typ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207" y="3550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at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1" name="McK Disclaimer"/>
            <p:cNvSpPr>
              <a:spLocks noChangeArrowheads="1"/>
            </p:cNvSpPr>
            <p:nvPr/>
          </p:nvSpPr>
          <p:spPr bwMode="auto">
            <a:xfrm>
              <a:off x="207" y="3963"/>
              <a:ext cx="3226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797488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NFIDENTIAL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D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PRIETARY</a:t>
              </a:r>
              <a:endParaRPr lang="pt-BR" sz="80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  <a:p>
              <a:pPr defTabSz="797488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use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his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aterial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without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pecific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ermission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cKinsey &amp;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mpan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is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trictl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hibited</a:t>
              </a:r>
              <a:endParaRPr lang="pt-BR" sz="8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2" name="TitleBottomPlaceholder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3" name="TitleTopPlaceholder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Rectangle 1189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pic>
        <p:nvPicPr>
          <p:cNvPr id="18" name="TitleBottomBarBW" hidden="1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65766" y="6443669"/>
            <a:ext cx="2182379" cy="1920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7" name="Freeform 5"/>
          <p:cNvSpPr>
            <a:spLocks/>
          </p:cNvSpPr>
          <p:nvPr userDrawn="1"/>
        </p:nvSpPr>
        <p:spPr bwMode="auto">
          <a:xfrm flipH="1">
            <a:off x="4236" y="6635876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0587" tIns="45292" rIns="90587" bIns="45292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9" name="Freeform 5"/>
          <p:cNvSpPr>
            <a:spLocks/>
          </p:cNvSpPr>
          <p:nvPr userDrawn="1"/>
        </p:nvSpPr>
        <p:spPr bwMode="auto">
          <a:xfrm flipH="1">
            <a:off x="4236" y="3283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0587" tIns="45292" rIns="90587" bIns="45292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 userDrawn="1">
            <p:ph type="ctrTitle"/>
          </p:nvPr>
        </p:nvSpPr>
        <p:spPr>
          <a:xfrm>
            <a:off x="437853" y="2238434"/>
            <a:ext cx="6581329" cy="1292662"/>
          </a:xfrm>
          <a:prstGeom prst="rect">
            <a:avLst/>
          </a:prstGeom>
        </p:spPr>
        <p:txBody>
          <a:bodyPr/>
          <a:lstStyle>
            <a:lvl1pPr>
              <a:defRPr sz="4200" b="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dirty="0" smtClean="0"/>
              <a:t>Click </a:t>
            </a:r>
            <a:r>
              <a:rPr lang="pt-BR" noProof="0" dirty="0" err="1" smtClean="0"/>
              <a:t>to</a:t>
            </a:r>
            <a:r>
              <a:rPr lang="pt-BR" noProof="0" dirty="0" smtClean="0"/>
              <a:t> </a:t>
            </a:r>
            <a:r>
              <a:rPr lang="pt-BR" noProof="0" dirty="0" err="1" smtClean="0"/>
              <a:t>edit</a:t>
            </a:r>
            <a:r>
              <a:rPr lang="pt-BR" noProof="0" dirty="0" smtClean="0"/>
              <a:t> Master </a:t>
            </a:r>
            <a:r>
              <a:rPr lang="pt-BR" noProof="0" dirty="0" err="1" smtClean="0"/>
              <a:t>title</a:t>
            </a:r>
            <a:r>
              <a:rPr lang="pt-BR" noProof="0" dirty="0" smtClean="0"/>
              <a:t> </a:t>
            </a:r>
            <a:r>
              <a:rPr lang="pt-BR" noProof="0" dirty="0" err="1" smtClean="0"/>
              <a:t>style</a:t>
            </a:r>
            <a:endParaRPr lang="pt-BR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437852" y="3762851"/>
            <a:ext cx="6450496" cy="482639"/>
          </a:xfrm>
        </p:spPr>
        <p:txBody>
          <a:bodyPr wrap="square">
            <a:spAutoFit/>
          </a:bodyPr>
          <a:lstStyle>
            <a:lvl1pPr>
              <a:defRPr sz="310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smtClean="0"/>
              <a:t>Click to edit Master subtitle style</a:t>
            </a:r>
            <a:endParaRPr lang="pt-BR" noProof="0" dirty="0" smtClean="0"/>
          </a:p>
        </p:txBody>
      </p:sp>
      <p:grpSp>
        <p:nvGrpSpPr>
          <p:cNvPr id="25" name="Group 24"/>
          <p:cNvGrpSpPr/>
          <p:nvPr userDrawn="1"/>
        </p:nvGrpSpPr>
        <p:grpSpPr>
          <a:xfrm>
            <a:off x="8526083" y="2325895"/>
            <a:ext cx="3423031" cy="3656746"/>
            <a:chOff x="5526523" y="2325890"/>
            <a:chExt cx="3423032" cy="3656747"/>
          </a:xfrm>
        </p:grpSpPr>
        <p:sp>
          <p:nvSpPr>
            <p:cNvPr id="26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27" name="Group 26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28" name="Donut 27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29" name="Oval 28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0" name="Oval 29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27470724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50531164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1324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38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211678" y="230292"/>
            <a:ext cx="10903658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US" noProof="0" dirty="0" smtClean="0"/>
            </a:lvl1pPr>
          </a:lstStyle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</p:spTree>
    <p:extLst>
      <p:ext uri="{BB962C8B-B14F-4D97-AF65-F5344CB8AC3E}">
        <p14:creationId xmlns:p14="http://schemas.microsoft.com/office/powerpoint/2010/main" val="370052388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173329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6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21502" y="359015"/>
            <a:ext cx="10306110" cy="307777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975530471"/>
      </p:ext>
    </p:extLst>
  </p:cSld>
  <p:clrMapOvr>
    <a:masterClrMapping/>
  </p:clrMapOvr>
</p:sldLayout>
</file>

<file path=ppt/slideLayouts/slideLayout6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472453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6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422137" y="349431"/>
            <a:ext cx="6749230" cy="254184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703"/>
              </a:lnSpc>
              <a:defRPr sz="4700">
                <a:solidFill>
                  <a:srgbClr val="18C3FF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r>
              <a:rPr lang="en-US" dirty="0" smtClean="0"/>
              <a:t>. LOREM IPSUM DOLOR SIT AMET HAS ID CIBO QUIDAM</a:t>
            </a:r>
            <a:endParaRPr lang="en-US" dirty="0"/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422137" y="3071971"/>
            <a:ext cx="6749230" cy="796308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591926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1926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1926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42878608"/>
      </p:ext>
    </p:extLst>
  </p:cSld>
  <p:clrMapOvr>
    <a:masterClrMapping/>
  </p:clrMapOvr>
</p:sldLayout>
</file>

<file path=ppt/slideLayouts/slideLayout6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4048480740"/>
      </p:ext>
    </p:extLst>
  </p:cSld>
  <p:clrMapOvr>
    <a:masterClrMapping/>
  </p:clrMapOvr>
</p:sldLayout>
</file>

<file path=ppt/slideLayouts/slideLayout6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60" y="1576"/>
          <a:ext cx="1555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2348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38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60" y="1576"/>
                        <a:ext cx="1555" cy="155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 userDrawn="1"/>
        </p:nvSpPr>
        <p:spPr>
          <a:xfrm>
            <a:off x="1" y="-58698"/>
            <a:ext cx="11949113" cy="186905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587" tIns="45292" rIns="90587" bIns="45292"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75613" y="228703"/>
            <a:ext cx="11491891" cy="30777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81719672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62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340925899"/>
      </p:ext>
    </p:extLst>
  </p:cSld>
  <p:clrMapOvr>
    <a:masterClrMapping/>
  </p:clrMapOvr>
</p:sldLayout>
</file>

<file path=ppt/slideLayouts/slideLayout6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1818794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6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971726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6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2848455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6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6639088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422137" y="349431"/>
            <a:ext cx="6749230" cy="254184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703"/>
              </a:lnSpc>
              <a:defRPr sz="4700">
                <a:solidFill>
                  <a:srgbClr val="18C3FF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r>
              <a:rPr lang="en-US" dirty="0" smtClean="0"/>
              <a:t>. LOREM IPSUM DOLOR SIT AMET HAS ID CIBO QUIDAM</a:t>
            </a:r>
            <a:endParaRPr lang="en-US" dirty="0"/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422137" y="3071971"/>
            <a:ext cx="6749230" cy="796308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591926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1926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1926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7550746"/>
      </p:ext>
    </p:extLst>
  </p:cSld>
  <p:clrMapOvr>
    <a:masterClrMapping/>
  </p:clrMapOvr>
</p:sldLayout>
</file>

<file path=ppt/slideLayouts/slideLayout6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0038897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6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EA288C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9765218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6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6D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8551236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6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A02B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703626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6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63" y="358981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63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63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019" indent="0">
              <a:buNone/>
              <a:defRPr sz="2700">
                <a:solidFill>
                  <a:schemeClr val="accent3"/>
                </a:solidFill>
              </a:defRPr>
            </a:lvl2pPr>
            <a:lvl3pPr marL="473560" indent="0">
              <a:buNone/>
              <a:defRPr sz="2700">
                <a:solidFill>
                  <a:schemeClr val="accent3"/>
                </a:solidFill>
              </a:defRPr>
            </a:lvl3pPr>
            <a:lvl4pPr marL="702102" indent="0">
              <a:buNone/>
              <a:defRPr sz="2700">
                <a:solidFill>
                  <a:schemeClr val="accent3"/>
                </a:solidFill>
              </a:defRPr>
            </a:lvl4pPr>
            <a:lvl5pPr marL="930651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553263443"/>
      </p:ext>
    </p:extLst>
  </p:cSld>
  <p:clrMapOvr>
    <a:masterClrMapping/>
  </p:clrMapOvr>
</p:sldLayout>
</file>

<file path=ppt/slideLayouts/slideLayout6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63" y="1854632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4341844"/>
      </p:ext>
    </p:extLst>
  </p:cSld>
  <p:clrMapOvr>
    <a:masterClrMapping/>
  </p:clrMapOvr>
</p:sldLayout>
</file>

<file path=ppt/slideLayouts/slideLayout6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44933016"/>
      </p:ext>
    </p:extLst>
  </p:cSld>
  <p:clrMapOvr>
    <a:masterClrMapping/>
  </p:clrMapOvr>
</p:sldLayout>
</file>

<file path=ppt/slideLayouts/slideLayout6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80" y="1854632"/>
            <a:ext cx="5080446" cy="451832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854715"/>
            <a:ext cx="5080448" cy="451832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2063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019" indent="0">
              <a:buNone/>
              <a:defRPr sz="2700">
                <a:solidFill>
                  <a:schemeClr val="accent3"/>
                </a:solidFill>
              </a:defRPr>
            </a:lvl2pPr>
            <a:lvl3pPr marL="473560" indent="0">
              <a:buNone/>
              <a:defRPr sz="2700">
                <a:solidFill>
                  <a:schemeClr val="accent3"/>
                </a:solidFill>
              </a:defRPr>
            </a:lvl3pPr>
            <a:lvl4pPr marL="702102" indent="0">
              <a:buNone/>
              <a:defRPr sz="2700">
                <a:solidFill>
                  <a:schemeClr val="accent3"/>
                </a:solidFill>
              </a:defRPr>
            </a:lvl4pPr>
            <a:lvl5pPr marL="930651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367363687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6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84" y="359001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83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7560" y="6372023"/>
            <a:ext cx="10176095" cy="282263"/>
          </a:xfrm>
          <a:prstGeom prst="rect">
            <a:avLst/>
          </a:prstGeom>
        </p:spPr>
        <p:txBody>
          <a:bodyPr vert="horz" lIns="118417" tIns="59208" rIns="118417" bIns="59208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3552" y="6372023"/>
            <a:ext cx="578105" cy="282263"/>
          </a:xfrm>
          <a:prstGeom prst="rect">
            <a:avLst/>
          </a:prstGeom>
        </p:spPr>
        <p:txBody>
          <a:bodyPr vert="horz" lIns="118417" tIns="59208" rIns="118417" bIns="59208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84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4604" indent="0">
              <a:buNone/>
              <a:defRPr sz="2700">
                <a:solidFill>
                  <a:schemeClr val="accent3"/>
                </a:solidFill>
              </a:defRPr>
            </a:lvl2pPr>
            <a:lvl3pPr marL="472756" indent="0">
              <a:buNone/>
              <a:defRPr sz="2700">
                <a:solidFill>
                  <a:schemeClr val="accent3"/>
                </a:solidFill>
              </a:defRPr>
            </a:lvl3pPr>
            <a:lvl4pPr marL="700913" indent="0">
              <a:buNone/>
              <a:defRPr sz="2700">
                <a:solidFill>
                  <a:schemeClr val="accent3"/>
                </a:solidFill>
              </a:defRPr>
            </a:lvl4pPr>
            <a:lvl5pPr marL="929070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780583838"/>
      </p:ext>
    </p:extLst>
  </p:cSld>
  <p:clrMapOvr>
    <a:masterClrMapping/>
  </p:clrMapOvr>
</p:sldLayout>
</file>

<file path=ppt/slideLayouts/slideLayout6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83" y="1854632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7560" y="6372023"/>
            <a:ext cx="10176095" cy="282263"/>
          </a:xfrm>
          <a:prstGeom prst="rect">
            <a:avLst/>
          </a:prstGeom>
        </p:spPr>
        <p:txBody>
          <a:bodyPr vert="horz" lIns="118417" tIns="59208" rIns="118417" bIns="59208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3552" y="6372023"/>
            <a:ext cx="578105" cy="282263"/>
          </a:xfrm>
          <a:prstGeom prst="rect">
            <a:avLst/>
          </a:prstGeom>
        </p:spPr>
        <p:txBody>
          <a:bodyPr vert="horz" lIns="118417" tIns="59208" rIns="118417" bIns="59208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29693750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2933758325"/>
      </p:ext>
    </p:extLst>
  </p:cSld>
  <p:clrMapOvr>
    <a:masterClrMapping/>
  </p:clrMapOvr>
</p:sldLayout>
</file>

<file path=ppt/slideLayouts/slideLayout6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7560" y="6372023"/>
            <a:ext cx="10176095" cy="282263"/>
          </a:xfrm>
          <a:prstGeom prst="rect">
            <a:avLst/>
          </a:prstGeom>
        </p:spPr>
        <p:txBody>
          <a:bodyPr vert="horz" lIns="118417" tIns="59208" rIns="118417" bIns="59208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3552" y="6372023"/>
            <a:ext cx="578105" cy="282263"/>
          </a:xfrm>
          <a:prstGeom prst="rect">
            <a:avLst/>
          </a:prstGeom>
        </p:spPr>
        <p:txBody>
          <a:bodyPr vert="horz" lIns="118417" tIns="59208" rIns="118417" bIns="59208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85402070"/>
      </p:ext>
    </p:extLst>
  </p:cSld>
  <p:clrMapOvr>
    <a:masterClrMapping/>
  </p:clrMapOvr>
</p:sldLayout>
</file>

<file path=ppt/slideLayouts/slideLayout6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80" y="1854632"/>
            <a:ext cx="5080446" cy="451832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854734"/>
            <a:ext cx="5080448" cy="451832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7560" y="6372023"/>
            <a:ext cx="10176095" cy="282263"/>
          </a:xfrm>
          <a:prstGeom prst="rect">
            <a:avLst/>
          </a:prstGeom>
        </p:spPr>
        <p:txBody>
          <a:bodyPr vert="horz" lIns="118417" tIns="59208" rIns="118417" bIns="59208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3552" y="6372023"/>
            <a:ext cx="578105" cy="282263"/>
          </a:xfrm>
          <a:prstGeom prst="rect">
            <a:avLst/>
          </a:prstGeom>
        </p:spPr>
        <p:txBody>
          <a:bodyPr vert="horz" lIns="118417" tIns="59208" rIns="118417" bIns="59208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2084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4604" indent="0">
              <a:buNone/>
              <a:defRPr sz="2700">
                <a:solidFill>
                  <a:schemeClr val="accent3"/>
                </a:solidFill>
              </a:defRPr>
            </a:lvl2pPr>
            <a:lvl3pPr marL="472756" indent="0">
              <a:buNone/>
              <a:defRPr sz="2700">
                <a:solidFill>
                  <a:schemeClr val="accent3"/>
                </a:solidFill>
              </a:defRPr>
            </a:lvl3pPr>
            <a:lvl4pPr marL="700913" indent="0">
              <a:buNone/>
              <a:defRPr sz="2700">
                <a:solidFill>
                  <a:schemeClr val="accent3"/>
                </a:solidFill>
              </a:defRPr>
            </a:lvl4pPr>
            <a:lvl5pPr marL="929070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45479734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6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80" y="358997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79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7557" y="6372018"/>
            <a:ext cx="10176095" cy="282263"/>
          </a:xfrm>
          <a:prstGeom prst="rect">
            <a:avLst/>
          </a:prstGeom>
        </p:spPr>
        <p:txBody>
          <a:bodyPr vert="horz" lIns="118458" tIns="59229" rIns="118458" bIns="59229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3552" y="6372018"/>
            <a:ext cx="578105" cy="282263"/>
          </a:xfrm>
          <a:prstGeom prst="rect">
            <a:avLst/>
          </a:prstGeom>
        </p:spPr>
        <p:txBody>
          <a:bodyPr vert="horz" lIns="118458" tIns="59229" rIns="118458" bIns="59229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80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4687" indent="0">
              <a:buNone/>
              <a:defRPr sz="2700">
                <a:solidFill>
                  <a:schemeClr val="accent3"/>
                </a:solidFill>
              </a:defRPr>
            </a:lvl2pPr>
            <a:lvl3pPr marL="472916" indent="0">
              <a:buNone/>
              <a:defRPr sz="2700">
                <a:solidFill>
                  <a:schemeClr val="accent3"/>
                </a:solidFill>
              </a:defRPr>
            </a:lvl3pPr>
            <a:lvl4pPr marL="701150" indent="0">
              <a:buNone/>
              <a:defRPr sz="2700">
                <a:solidFill>
                  <a:schemeClr val="accent3"/>
                </a:solidFill>
              </a:defRPr>
            </a:lvl4pPr>
            <a:lvl5pPr marL="929386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3558074308"/>
      </p:ext>
    </p:extLst>
  </p:cSld>
  <p:clrMapOvr>
    <a:masterClrMapping/>
  </p:clrMapOvr>
</p:sldLayout>
</file>

<file path=ppt/slideLayouts/slideLayout6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79" y="1854632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7557" y="6372018"/>
            <a:ext cx="10176095" cy="282263"/>
          </a:xfrm>
          <a:prstGeom prst="rect">
            <a:avLst/>
          </a:prstGeom>
        </p:spPr>
        <p:txBody>
          <a:bodyPr vert="horz" lIns="118458" tIns="59229" rIns="118458" bIns="59229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3552" y="6372018"/>
            <a:ext cx="578105" cy="282263"/>
          </a:xfrm>
          <a:prstGeom prst="rect">
            <a:avLst/>
          </a:prstGeom>
        </p:spPr>
        <p:txBody>
          <a:bodyPr vert="horz" lIns="118458" tIns="59229" rIns="118458" bIns="59229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5336361"/>
      </p:ext>
    </p:extLst>
  </p:cSld>
  <p:clrMapOvr>
    <a:masterClrMapping/>
  </p:clrMapOvr>
</p:sldLayout>
</file>

<file path=ppt/slideLayouts/slideLayout6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7557" y="6372018"/>
            <a:ext cx="10176095" cy="282263"/>
          </a:xfrm>
          <a:prstGeom prst="rect">
            <a:avLst/>
          </a:prstGeom>
        </p:spPr>
        <p:txBody>
          <a:bodyPr vert="horz" lIns="118458" tIns="59229" rIns="118458" bIns="59229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3552" y="6372018"/>
            <a:ext cx="578105" cy="282263"/>
          </a:xfrm>
          <a:prstGeom prst="rect">
            <a:avLst/>
          </a:prstGeom>
        </p:spPr>
        <p:txBody>
          <a:bodyPr vert="horz" lIns="118458" tIns="59229" rIns="118458" bIns="59229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80557460"/>
      </p:ext>
    </p:extLst>
  </p:cSld>
  <p:clrMapOvr>
    <a:masterClrMapping/>
  </p:clrMapOvr>
</p:sldLayout>
</file>

<file path=ppt/slideLayouts/slideLayout6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80" y="1854632"/>
            <a:ext cx="5080446" cy="451832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854730"/>
            <a:ext cx="5080448" cy="451832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7557" y="6372018"/>
            <a:ext cx="10176095" cy="282263"/>
          </a:xfrm>
          <a:prstGeom prst="rect">
            <a:avLst/>
          </a:prstGeom>
        </p:spPr>
        <p:txBody>
          <a:bodyPr vert="horz" lIns="118458" tIns="59229" rIns="118458" bIns="59229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3552" y="6372018"/>
            <a:ext cx="578105" cy="282263"/>
          </a:xfrm>
          <a:prstGeom prst="rect">
            <a:avLst/>
          </a:prstGeom>
        </p:spPr>
        <p:txBody>
          <a:bodyPr vert="horz" lIns="118458" tIns="59229" rIns="118458" bIns="59229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2080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4687" indent="0">
              <a:buNone/>
              <a:defRPr sz="2700">
                <a:solidFill>
                  <a:schemeClr val="accent3"/>
                </a:solidFill>
              </a:defRPr>
            </a:lvl2pPr>
            <a:lvl3pPr marL="472916" indent="0">
              <a:buNone/>
              <a:defRPr sz="2700">
                <a:solidFill>
                  <a:schemeClr val="accent3"/>
                </a:solidFill>
              </a:defRPr>
            </a:lvl3pPr>
            <a:lvl4pPr marL="701150" indent="0">
              <a:buNone/>
              <a:defRPr sz="2700">
                <a:solidFill>
                  <a:schemeClr val="accent3"/>
                </a:solidFill>
              </a:defRPr>
            </a:lvl4pPr>
            <a:lvl5pPr marL="929386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25266881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6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38" y="358955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37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38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573" indent="0">
              <a:buNone/>
              <a:defRPr sz="2700">
                <a:solidFill>
                  <a:schemeClr val="accent3"/>
                </a:solidFill>
              </a:defRPr>
            </a:lvl2pPr>
            <a:lvl3pPr marL="474630" indent="0">
              <a:buNone/>
              <a:defRPr sz="2700">
                <a:solidFill>
                  <a:schemeClr val="accent3"/>
                </a:solidFill>
              </a:defRPr>
            </a:lvl3pPr>
            <a:lvl4pPr marL="703695" indent="0">
              <a:buNone/>
              <a:defRPr sz="2700">
                <a:solidFill>
                  <a:schemeClr val="accent3"/>
                </a:solidFill>
              </a:defRPr>
            </a:lvl4pPr>
            <a:lvl5pPr marL="932760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071957768"/>
      </p:ext>
    </p:extLst>
  </p:cSld>
  <p:clrMapOvr>
    <a:masterClrMapping/>
  </p:clrMapOvr>
</p:sldLayout>
</file>

<file path=ppt/slideLayouts/slideLayout6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37" y="1854632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80413286"/>
      </p:ext>
    </p:extLst>
  </p:cSld>
  <p:clrMapOvr>
    <a:masterClrMapping/>
  </p:clrMapOvr>
</p:sldLayout>
</file>

<file path=ppt/slideLayouts/slideLayout6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60187688"/>
      </p:ext>
    </p:extLst>
  </p:cSld>
  <p:clrMapOvr>
    <a:masterClrMapping/>
  </p:clrMapOvr>
</p:sldLayout>
</file>

<file path=ppt/slideLayouts/slideLayout6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80" y="1854632"/>
            <a:ext cx="5080446" cy="451832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854690"/>
            <a:ext cx="5080448" cy="451832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2038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573" indent="0">
              <a:buNone/>
              <a:defRPr sz="2700">
                <a:solidFill>
                  <a:schemeClr val="accent3"/>
                </a:solidFill>
              </a:defRPr>
            </a:lvl2pPr>
            <a:lvl3pPr marL="474630" indent="0">
              <a:buNone/>
              <a:defRPr sz="2700">
                <a:solidFill>
                  <a:schemeClr val="accent3"/>
                </a:solidFill>
              </a:defRPr>
            </a:lvl3pPr>
            <a:lvl4pPr marL="703695" indent="0">
              <a:buNone/>
              <a:defRPr sz="2700">
                <a:solidFill>
                  <a:schemeClr val="accent3"/>
                </a:solidFill>
              </a:defRPr>
            </a:lvl4pPr>
            <a:lvl5pPr marL="932760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95403817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60" y="1576"/>
          <a:ext cx="1555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3200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60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60" y="1576"/>
                        <a:ext cx="1555" cy="155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 userDrawn="1"/>
        </p:nvSpPr>
        <p:spPr>
          <a:xfrm>
            <a:off x="1" y="-58698"/>
            <a:ext cx="11949113" cy="186905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587" tIns="45292" rIns="90587" bIns="45292"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75613" y="228703"/>
            <a:ext cx="11491891" cy="30777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4880600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6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37" y="358952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36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37" y="819634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601" indent="0">
              <a:buNone/>
              <a:defRPr sz="2700">
                <a:solidFill>
                  <a:schemeClr val="accent3"/>
                </a:solidFill>
              </a:defRPr>
            </a:lvl2pPr>
            <a:lvl3pPr marL="474684" indent="0">
              <a:buNone/>
              <a:defRPr sz="2700">
                <a:solidFill>
                  <a:schemeClr val="accent3"/>
                </a:solidFill>
              </a:defRPr>
            </a:lvl3pPr>
            <a:lvl4pPr marL="703774" indent="0">
              <a:buNone/>
              <a:defRPr sz="2700">
                <a:solidFill>
                  <a:schemeClr val="accent3"/>
                </a:solidFill>
              </a:defRPr>
            </a:lvl4pPr>
            <a:lvl5pPr marL="932866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63696890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37" y="358952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37" y="819634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601" indent="0">
              <a:buNone/>
              <a:defRPr sz="2700">
                <a:solidFill>
                  <a:schemeClr val="accent3"/>
                </a:solidFill>
              </a:defRPr>
            </a:lvl2pPr>
            <a:lvl3pPr marL="474684" indent="0">
              <a:buNone/>
              <a:defRPr sz="2700">
                <a:solidFill>
                  <a:schemeClr val="accent3"/>
                </a:solidFill>
              </a:defRPr>
            </a:lvl3pPr>
            <a:lvl4pPr marL="703774" indent="0">
              <a:buNone/>
              <a:defRPr sz="2700">
                <a:solidFill>
                  <a:schemeClr val="accent3"/>
                </a:solidFill>
              </a:defRPr>
            </a:lvl4pPr>
            <a:lvl5pPr marL="932866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341274035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37" y="358952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36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37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601" indent="0">
              <a:buNone/>
              <a:defRPr sz="2700">
                <a:solidFill>
                  <a:schemeClr val="accent3"/>
                </a:solidFill>
              </a:defRPr>
            </a:lvl2pPr>
            <a:lvl3pPr marL="474684" indent="0">
              <a:buNone/>
              <a:defRPr sz="2700">
                <a:solidFill>
                  <a:schemeClr val="accent3"/>
                </a:solidFill>
              </a:defRPr>
            </a:lvl3pPr>
            <a:lvl4pPr marL="703774" indent="0">
              <a:buNone/>
              <a:defRPr sz="2700">
                <a:solidFill>
                  <a:schemeClr val="accent3"/>
                </a:solidFill>
              </a:defRPr>
            </a:lvl4pPr>
            <a:lvl5pPr marL="932866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22580312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36" y="1854632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8399424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45061791"/>
              </p:ext>
            </p:extLst>
          </p:nvPr>
        </p:nvGraphicFramePr>
        <p:xfrm>
          <a:off x="2077" y="2077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68700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35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77" y="2077"/>
                        <a:ext cx="2074" cy="20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0813047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orytelling: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80" y="1854632"/>
            <a:ext cx="5080446" cy="451832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854687"/>
            <a:ext cx="5080448" cy="451832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2037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601" indent="0">
              <a:buNone/>
              <a:defRPr sz="2700">
                <a:solidFill>
                  <a:schemeClr val="accent3"/>
                </a:solidFill>
              </a:defRPr>
            </a:lvl2pPr>
            <a:lvl3pPr marL="474684" indent="0">
              <a:buNone/>
              <a:defRPr sz="2700">
                <a:solidFill>
                  <a:schemeClr val="accent3"/>
                </a:solidFill>
              </a:defRPr>
            </a:lvl3pPr>
            <a:lvl4pPr marL="703774" indent="0">
              <a:buNone/>
              <a:defRPr sz="2700">
                <a:solidFill>
                  <a:schemeClr val="accent3"/>
                </a:solidFill>
              </a:defRPr>
            </a:lvl4pPr>
            <a:lvl5pPr marL="932866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846172601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65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21504" y="6382745"/>
            <a:ext cx="1012745" cy="271470"/>
          </a:xfrm>
          <a:prstGeom prst="rect">
            <a:avLst/>
          </a:prstGeom>
        </p:spPr>
        <p:txBody>
          <a:bodyPr lIns="118893" tIns="59446" rIns="118893" bIns="59446"/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en-US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16579596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5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96184" y="2088072"/>
            <a:ext cx="10156746" cy="1440761"/>
          </a:xfrm>
        </p:spPr>
        <p:txBody>
          <a:bodyPr/>
          <a:lstStyle/>
          <a:p>
            <a:r>
              <a:rPr lang="x-none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792368" y="3808836"/>
            <a:ext cx="8364379" cy="171771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4578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915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373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7831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289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6747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2056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5663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x-none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597456" y="6229813"/>
            <a:ext cx="2788126" cy="357857"/>
          </a:xfrm>
          <a:prstGeom prst="rect">
            <a:avLst/>
          </a:prstGeom>
        </p:spPr>
        <p:txBody>
          <a:bodyPr lIns="118893" tIns="59446" rIns="118893" bIns="59446"/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en-US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78763931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5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ó image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6388550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59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le &amp;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" name="Shape 66"/>
          <p:cNvSpPr>
            <a:spLocks noGrp="1"/>
          </p:cNvSpPr>
          <p:nvPr>
            <p:ph type="title"/>
          </p:nvPr>
        </p:nvSpPr>
        <p:spPr>
          <a:xfrm>
            <a:off x="875240" y="306320"/>
            <a:ext cx="10198755" cy="1487826"/>
          </a:xfrm>
          <a:prstGeom prst="rect">
            <a:avLst/>
          </a:prstGeom>
        </p:spPr>
        <p:txBody>
          <a:bodyPr/>
          <a:lstStyle>
            <a:lvl1pPr algn="l">
              <a:defRPr b="1">
                <a:latin typeface="Bebas Neue"/>
                <a:ea typeface="Bebas Neue"/>
                <a:cs typeface="Bebas Neue"/>
                <a:sym typeface="Bebas Neue"/>
              </a:defRPr>
            </a:lvl1pPr>
          </a:lstStyle>
          <a:p>
            <a:r>
              <a:t>Title Text</a:t>
            </a:r>
          </a:p>
        </p:txBody>
      </p:sp>
      <p:sp>
        <p:nvSpPr>
          <p:cNvPr id="67" name="Shape 67"/>
          <p:cNvSpPr>
            <a:spLocks noGrp="1"/>
          </p:cNvSpPr>
          <p:nvPr>
            <p:ph type="body" idx="1"/>
          </p:nvPr>
        </p:nvSpPr>
        <p:spPr>
          <a:xfrm>
            <a:off x="875240" y="1794143"/>
            <a:ext cx="10198755" cy="4332200"/>
          </a:xfrm>
          <a:prstGeom prst="rect">
            <a:avLst/>
          </a:prstGeom>
        </p:spPr>
        <p:txBody>
          <a:bodyPr/>
          <a:lstStyle>
            <a:lvl1pPr marL="339576" indent="-339576">
              <a:spcBef>
                <a:spcPts val="1075"/>
              </a:spcBef>
              <a:defRPr sz="2000" b="1">
                <a:latin typeface="Bebas Neue"/>
                <a:ea typeface="Bebas Neue"/>
                <a:cs typeface="Bebas Neue"/>
                <a:sym typeface="Bebas Neue"/>
              </a:defRPr>
            </a:lvl1pPr>
            <a:lvl2pPr>
              <a:spcBef>
                <a:spcPts val="1075"/>
              </a:spcBef>
              <a:defRPr sz="2000" b="1">
                <a:latin typeface="Bebas Neue"/>
                <a:ea typeface="Bebas Neue"/>
                <a:cs typeface="Bebas Neue"/>
                <a:sym typeface="Bebas Neue"/>
              </a:defRPr>
            </a:lvl2pPr>
            <a:lvl3pPr>
              <a:spcBef>
                <a:spcPts val="1075"/>
              </a:spcBef>
              <a:defRPr sz="2000" b="1">
                <a:latin typeface="Bebas Neue"/>
                <a:ea typeface="Bebas Neue"/>
                <a:cs typeface="Bebas Neue"/>
                <a:sym typeface="Bebas Neue"/>
              </a:defRPr>
            </a:lvl3pPr>
            <a:lvl4pPr>
              <a:spcBef>
                <a:spcPts val="1075"/>
              </a:spcBef>
              <a:defRPr sz="2000" b="1">
                <a:latin typeface="Bebas Neue"/>
                <a:ea typeface="Bebas Neue"/>
                <a:cs typeface="Bebas Neue"/>
                <a:sym typeface="Bebas Neue"/>
              </a:defRPr>
            </a:lvl4pPr>
            <a:lvl5pPr>
              <a:spcBef>
                <a:spcPts val="1075"/>
              </a:spcBef>
              <a:defRPr sz="2000" b="1">
                <a:latin typeface="Bebas Neue"/>
                <a:ea typeface="Bebas Neue"/>
                <a:cs typeface="Bebas Neue"/>
                <a:sym typeface="Bebas Neue"/>
              </a:defRPr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68" name="Shape 68"/>
          <p:cNvSpPr>
            <a:spLocks noGrp="1"/>
          </p:cNvSpPr>
          <p:nvPr>
            <p:ph type="sldNum" sz="quarter" idx="2"/>
          </p:nvPr>
        </p:nvSpPr>
        <p:spPr>
          <a:xfrm>
            <a:off x="5790830" y="6375777"/>
            <a:ext cx="355789" cy="295966"/>
          </a:xfrm>
          <a:prstGeom prst="rect">
            <a:avLst/>
          </a:prstGeom>
        </p:spPr>
        <p:txBody>
          <a:bodyPr lIns="91304" tIns="45652" rIns="91304" bIns="45652"/>
          <a:lstStyle/>
          <a:p>
            <a:fld id="{86CB4B4D-7CA3-9044-876B-883B54F8677D}" type="slidenum">
              <a:rPr>
                <a:solidFill>
                  <a:srgbClr val="5F5F5F"/>
                </a:solidFill>
                <a:latin typeface="Helvetica Light"/>
                <a:ea typeface="Helvetica Light"/>
                <a:cs typeface="Helvetica Light"/>
              </a:rPr>
              <a:pPr/>
              <a:t>‹nº›</a:t>
            </a:fld>
            <a:endParaRPr>
              <a:solidFill>
                <a:srgbClr val="5F5F5F"/>
              </a:solidFill>
              <a:latin typeface="Helvetica Light"/>
              <a:ea typeface="Helvetica Light"/>
              <a:cs typeface="Helvetica Light"/>
            </a:endParaRPr>
          </a:p>
        </p:txBody>
      </p:sp>
    </p:spTree>
    <p:extLst>
      <p:ext uri="{BB962C8B-B14F-4D97-AF65-F5344CB8AC3E}">
        <p14:creationId xmlns:p14="http://schemas.microsoft.com/office/powerpoint/2010/main" val="2316043058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3811811331"/>
      </p:ext>
    </p:extLst>
  </p:cSld>
  <p:clrMapOvr>
    <a:masterClrMapping/>
  </p:clrMapOvr>
</p:sldLayout>
</file>

<file path=ppt/slideLayouts/slideLayout66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235542616"/>
      </p:ext>
    </p:extLst>
  </p:cSld>
  <p:clrMapOvr>
    <a:masterClrMapping/>
  </p:clrMapOvr>
</p:sldLayout>
</file>

<file path=ppt/slideLayouts/slideLayout6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53" y="358969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50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53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268" indent="0">
              <a:buNone/>
              <a:defRPr sz="2700">
                <a:solidFill>
                  <a:schemeClr val="accent3"/>
                </a:solidFill>
              </a:defRPr>
            </a:lvl2pPr>
            <a:lvl3pPr marL="474041" indent="0">
              <a:buNone/>
              <a:defRPr sz="2700">
                <a:solidFill>
                  <a:schemeClr val="accent3"/>
                </a:solidFill>
              </a:defRPr>
            </a:lvl3pPr>
            <a:lvl4pPr marL="702818" indent="0">
              <a:buNone/>
              <a:defRPr sz="2700">
                <a:solidFill>
                  <a:schemeClr val="accent3"/>
                </a:solidFill>
              </a:defRPr>
            </a:lvl4pPr>
            <a:lvl5pPr marL="931601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3798231977"/>
      </p:ext>
    </p:extLst>
  </p:cSld>
  <p:clrMapOvr>
    <a:masterClrMapping/>
  </p:clrMapOvr>
</p:sldLayout>
</file>

<file path=ppt/slideLayouts/slideLayout6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50" y="1854632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07914865"/>
      </p:ext>
    </p:extLst>
  </p:cSld>
  <p:clrMapOvr>
    <a:masterClrMapping/>
  </p:clrMapOvr>
</p:sldLayout>
</file>

<file path=ppt/slideLayouts/slideLayout6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09377026"/>
      </p:ext>
    </p:extLst>
  </p:cSld>
  <p:clrMapOvr>
    <a:masterClrMapping/>
  </p:clrMapOvr>
</p:sldLayout>
</file>

<file path=ppt/slideLayouts/slideLayout6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80" y="1854632"/>
            <a:ext cx="5080446" cy="451832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854704"/>
            <a:ext cx="5080448" cy="451832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2053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268" indent="0">
              <a:buNone/>
              <a:defRPr sz="2700">
                <a:solidFill>
                  <a:schemeClr val="accent3"/>
                </a:solidFill>
              </a:defRPr>
            </a:lvl2pPr>
            <a:lvl3pPr marL="474041" indent="0">
              <a:buNone/>
              <a:defRPr sz="2700">
                <a:solidFill>
                  <a:schemeClr val="accent3"/>
                </a:solidFill>
              </a:defRPr>
            </a:lvl3pPr>
            <a:lvl4pPr marL="702818" indent="0">
              <a:buNone/>
              <a:defRPr sz="2700">
                <a:solidFill>
                  <a:schemeClr val="accent3"/>
                </a:solidFill>
              </a:defRPr>
            </a:lvl4pPr>
            <a:lvl5pPr marL="931601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417433113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6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6126960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6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2857289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6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5904344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6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7766890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6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1288518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Oi Indi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612104" y="1383727"/>
            <a:ext cx="5080447" cy="1689238"/>
          </a:xfrm>
        </p:spPr>
        <p:txBody>
          <a:bodyPr/>
          <a:lstStyle>
            <a:lvl1pPr marL="0" indent="0">
              <a:buNone/>
              <a:defRPr/>
            </a:lvl1pPr>
            <a:lvl2pPr marL="244604" indent="0">
              <a:buNone/>
              <a:defRPr/>
            </a:lvl2pPr>
            <a:lvl3pPr marL="472756" indent="0">
              <a:buNone/>
              <a:defRPr/>
            </a:lvl3pPr>
            <a:lvl4pPr marL="700913" indent="0">
              <a:buNone/>
              <a:defRPr/>
            </a:lvl4pPr>
            <a:lvl5pPr marL="929070" indent="0">
              <a:buNone/>
              <a:defRPr/>
            </a:lvl5pPr>
          </a:lstStyle>
          <a:p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,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consectetuer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adipiscing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elit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,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sed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diam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nonummy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nibh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euismod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tincidunt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ut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laoreet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dolore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magna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aliquam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erat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volutpat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.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Ut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wisi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enim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ad minim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veniam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,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quis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nostrud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exerci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tation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ullamcorper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suscipit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lobortis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nisl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ut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aliquip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ex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ea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commodo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consequat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. </a:t>
            </a: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3" hasCustomPrompt="1"/>
          </p:nvPr>
        </p:nvSpPr>
        <p:spPr>
          <a:xfrm>
            <a:off x="6287808" y="1383727"/>
            <a:ext cx="5049330" cy="1689238"/>
          </a:xfrm>
        </p:spPr>
        <p:txBody>
          <a:bodyPr/>
          <a:lstStyle>
            <a:lvl1pPr marL="0" indent="0">
              <a:buNone/>
              <a:defRPr sz="2700"/>
            </a:lvl1pPr>
            <a:lvl2pPr marL="244604" indent="0">
              <a:buNone/>
              <a:defRPr sz="2700"/>
            </a:lvl2pPr>
            <a:lvl3pPr marL="472756" indent="0">
              <a:buNone/>
              <a:defRPr sz="2700"/>
            </a:lvl3pPr>
            <a:lvl4pPr marL="700913" indent="0">
              <a:buNone/>
              <a:defRPr sz="2700"/>
            </a:lvl4pPr>
            <a:lvl5pPr marL="929070" indent="0">
              <a:buNone/>
              <a:defRPr sz="2700"/>
            </a:lvl5pPr>
          </a:lstStyle>
          <a:p>
            <a:pPr lvl="0"/>
            <a:r>
              <a:rPr lang="pt-PT" dirty="0"/>
              <a:t>3. </a:t>
            </a:r>
            <a:r>
              <a:rPr lang="pt-PT" dirty="0" err="1"/>
              <a:t>Impsum</a:t>
            </a:r>
            <a:r>
              <a:rPr lang="pt-PT" dirty="0"/>
              <a:t> </a:t>
            </a:r>
            <a:r>
              <a:rPr lang="pt-PT" dirty="0" err="1"/>
              <a:t>dolor</a:t>
            </a:r>
            <a:r>
              <a:rPr lang="pt-PT" dirty="0"/>
              <a:t>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endParaRPr lang="pt-PT" dirty="0"/>
          </a:p>
          <a:p>
            <a:pPr lvl="0"/>
            <a:r>
              <a:rPr lang="pt-PT" dirty="0"/>
              <a:t>5. </a:t>
            </a:r>
            <a:r>
              <a:rPr lang="pt-PT" dirty="0" err="1"/>
              <a:t>Dolor</a:t>
            </a:r>
            <a:r>
              <a:rPr lang="pt-PT" dirty="0"/>
              <a:t>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endParaRPr lang="pt-PT" dirty="0"/>
          </a:p>
          <a:p>
            <a:pPr lvl="0"/>
            <a:r>
              <a:rPr lang="pt-PT" dirty="0"/>
              <a:t>10. </a:t>
            </a:r>
            <a:r>
              <a:rPr lang="pt-PT" dirty="0" err="1"/>
              <a:t>Lorem</a:t>
            </a:r>
            <a:r>
              <a:rPr lang="pt-PT" dirty="0"/>
              <a:t> </a:t>
            </a:r>
            <a:r>
              <a:rPr lang="pt-PT" dirty="0" err="1"/>
              <a:t>ipsum</a:t>
            </a:r>
            <a:endParaRPr lang="pt-PT" dirty="0"/>
          </a:p>
          <a:p>
            <a:pPr lvl="0"/>
            <a:r>
              <a:rPr lang="pt-PT" dirty="0"/>
              <a:t>15. </a:t>
            </a:r>
            <a:r>
              <a:rPr lang="pt-PT" dirty="0" err="1"/>
              <a:t>Ipsum</a:t>
            </a:r>
            <a:r>
              <a:rPr lang="pt-PT" dirty="0"/>
              <a:t> </a:t>
            </a:r>
            <a:r>
              <a:rPr lang="pt-PT" dirty="0" err="1"/>
              <a:t>dolor</a:t>
            </a:r>
            <a:r>
              <a:rPr lang="pt-PT" dirty="0"/>
              <a:t>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r>
              <a:rPr lang="pt-PT" dirty="0"/>
              <a:t> </a:t>
            </a:r>
            <a:endParaRPr lang="en-US" dirty="0"/>
          </a:p>
        </p:txBody>
      </p:sp>
      <p:sp>
        <p:nvSpPr>
          <p:cNvPr id="11" name="TextBox 10"/>
          <p:cNvSpPr txBox="1"/>
          <p:nvPr userDrawn="1"/>
        </p:nvSpPr>
        <p:spPr>
          <a:xfrm>
            <a:off x="611979" y="5852799"/>
            <a:ext cx="3574719" cy="470497"/>
          </a:xfrm>
          <a:prstGeom prst="rect">
            <a:avLst/>
          </a:prstGeom>
          <a:noFill/>
        </p:spPr>
        <p:txBody>
          <a:bodyPr wrap="none" lIns="46618" tIns="46618" rIns="46618" bIns="46618" rtlCol="0" anchor="ctr" anchorCtr="0">
            <a:noAutofit/>
          </a:bodyPr>
          <a:lstStyle/>
          <a:p>
            <a:pPr defTabSz="591947" fontAlgn="auto">
              <a:lnSpc>
                <a:spcPts val="2352"/>
              </a:lnSpc>
              <a:spcBef>
                <a:spcPts val="0"/>
              </a:spcBef>
              <a:spcAft>
                <a:spcPts val="0"/>
              </a:spcAft>
            </a:pPr>
            <a:r>
              <a:rPr lang="pt-BR" sz="2700" dirty="0">
                <a:solidFill>
                  <a:srgbClr val="9F37FE"/>
                </a:solidFill>
                <a:latin typeface="Simplon BP" charset="0"/>
                <a:ea typeface="Simplon BP" charset="0"/>
                <a:cs typeface="Simplon BP" charset="0"/>
              </a:rPr>
              <a:t>TOTAL DE SLIDES:</a:t>
            </a:r>
            <a:endParaRPr lang="en-US" sz="2700" dirty="0">
              <a:solidFill>
                <a:srgbClr val="9F37FE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13" name="Text Placeholder 16"/>
          <p:cNvSpPr>
            <a:spLocks noGrp="1"/>
          </p:cNvSpPr>
          <p:nvPr>
            <p:ph type="body" sz="quarter" idx="14" hasCustomPrompt="1"/>
          </p:nvPr>
        </p:nvSpPr>
        <p:spPr>
          <a:xfrm>
            <a:off x="3810046" y="5852799"/>
            <a:ext cx="753042" cy="470497"/>
          </a:xfrm>
          <a:noFill/>
        </p:spPr>
        <p:txBody>
          <a:bodyPr wrap="none" lIns="46618" tIns="46618" rIns="46618" bIns="46618" rtlCol="0" anchor="ctr" anchorCtr="0">
            <a:noAutofit/>
          </a:bodyPr>
          <a:lstStyle>
            <a:lvl1pPr marL="0" indent="0">
              <a:buNone/>
              <a:defRPr lang="en-US" sz="2700" dirty="0">
                <a:solidFill>
                  <a:schemeClr val="accent1"/>
                </a:solidFill>
                <a:latin typeface="Simplon BP" charset="0"/>
                <a:ea typeface="Simplon BP" charset="0"/>
                <a:cs typeface="Simplon BP" charset="0"/>
              </a:defRPr>
            </a:lvl1pPr>
          </a:lstStyle>
          <a:p>
            <a:pPr marL="0" lvl="0">
              <a:lnSpc>
                <a:spcPts val="2352"/>
              </a:lnSpc>
              <a:spcAft>
                <a:spcPts val="0"/>
              </a:spcAft>
            </a:pPr>
            <a:r>
              <a:rPr lang="pt-PT" dirty="0"/>
              <a:t>##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34032208"/>
      </p:ext>
    </p:extLst>
  </p:cSld>
  <p:clrMapOvr>
    <a:masterClrMapping/>
  </p:clrMapOvr>
</p:sldLayout>
</file>

<file path=ppt/slideLayouts/slideLayout6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EA288C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4899865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6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6D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0522749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6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A02B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0491012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6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53" y="358969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50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53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268" indent="0">
              <a:buNone/>
              <a:defRPr sz="2700">
                <a:solidFill>
                  <a:schemeClr val="accent3"/>
                </a:solidFill>
              </a:defRPr>
            </a:lvl2pPr>
            <a:lvl3pPr marL="474041" indent="0">
              <a:buNone/>
              <a:defRPr sz="2700">
                <a:solidFill>
                  <a:schemeClr val="accent3"/>
                </a:solidFill>
              </a:defRPr>
            </a:lvl3pPr>
            <a:lvl4pPr marL="702818" indent="0">
              <a:buNone/>
              <a:defRPr sz="2700">
                <a:solidFill>
                  <a:schemeClr val="accent3"/>
                </a:solidFill>
              </a:defRPr>
            </a:lvl4pPr>
            <a:lvl5pPr marL="931601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4239595316"/>
      </p:ext>
    </p:extLst>
  </p:cSld>
  <p:clrMapOvr>
    <a:masterClrMapping/>
  </p:clrMapOvr>
</p:sldLayout>
</file>

<file path=ppt/slideLayouts/slideLayout6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50" y="1854632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53904290"/>
      </p:ext>
    </p:extLst>
  </p:cSld>
  <p:clrMapOvr>
    <a:masterClrMapping/>
  </p:clrMapOvr>
</p:sldLayout>
</file>

<file path=ppt/slideLayouts/slideLayout6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96103965"/>
      </p:ext>
    </p:extLst>
  </p:cSld>
  <p:clrMapOvr>
    <a:masterClrMapping/>
  </p:clrMapOvr>
</p:sldLayout>
</file>

<file path=ppt/slideLayouts/slideLayout6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80" y="1854632"/>
            <a:ext cx="5080446" cy="451832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854704"/>
            <a:ext cx="5080448" cy="451832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2053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268" indent="0">
              <a:buNone/>
              <a:defRPr sz="2700">
                <a:solidFill>
                  <a:schemeClr val="accent3"/>
                </a:solidFill>
              </a:defRPr>
            </a:lvl2pPr>
            <a:lvl3pPr marL="474041" indent="0">
              <a:buNone/>
              <a:defRPr sz="2700">
                <a:solidFill>
                  <a:schemeClr val="accent3"/>
                </a:solidFill>
              </a:defRPr>
            </a:lvl3pPr>
            <a:lvl4pPr marL="702818" indent="0">
              <a:buNone/>
              <a:defRPr sz="2700">
                <a:solidFill>
                  <a:schemeClr val="accent3"/>
                </a:solidFill>
              </a:defRPr>
            </a:lvl4pPr>
            <a:lvl5pPr marL="931601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19093619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67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3491033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67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20" y="358935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19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20" y="819634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960" indent="0">
              <a:buNone/>
              <a:defRPr sz="2700">
                <a:solidFill>
                  <a:schemeClr val="accent3"/>
                </a:solidFill>
              </a:defRPr>
            </a:lvl2pPr>
            <a:lvl3pPr marL="475383" indent="0">
              <a:buNone/>
              <a:defRPr sz="2700">
                <a:solidFill>
                  <a:schemeClr val="accent3"/>
                </a:solidFill>
              </a:defRPr>
            </a:lvl3pPr>
            <a:lvl4pPr marL="704809" indent="0">
              <a:buNone/>
              <a:defRPr sz="2700">
                <a:solidFill>
                  <a:schemeClr val="accent3"/>
                </a:solidFill>
              </a:defRPr>
            </a:lvl4pPr>
            <a:lvl5pPr marL="934242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94792233"/>
      </p:ext>
    </p:extLst>
  </p:cSld>
  <p:clrMapOvr>
    <a:masterClrMapping/>
  </p:clrMapOvr>
</p:sldLayout>
</file>

<file path=ppt/slideLayouts/slideLayout67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>
          <a:xfrm>
            <a:off x="597456" y="6229821"/>
            <a:ext cx="2788126" cy="357857"/>
          </a:xfrm>
          <a:prstGeom prst="rect">
            <a:avLst/>
          </a:prstGeom>
        </p:spPr>
        <p:txBody>
          <a:bodyPr lIns="91086" tIns="45542" rIns="91086" bIns="45542"/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>
          <a:xfrm>
            <a:off x="4082614" y="6229821"/>
            <a:ext cx="3783886" cy="357857"/>
          </a:xfrm>
          <a:prstGeom prst="rect">
            <a:avLst/>
          </a:prstGeom>
        </p:spPr>
        <p:txBody>
          <a:bodyPr lIns="91086" tIns="45542" rIns="91086" bIns="45542"/>
          <a:lstStyle/>
          <a:p>
            <a:endParaRPr lang="pt-BR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98185423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22629147"/>
      </p:ext>
    </p:extLst>
  </p:cSld>
  <p:clrMapOvr>
    <a:masterClrMapping/>
  </p:clrMapOvr>
</p:sldLayout>
</file>

<file path=ppt/slideLayouts/slideLayout68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a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73281664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8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5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 userDrawn="1"/>
        </p:nvSpPr>
        <p:spPr>
          <a:xfrm>
            <a:off x="9689506" y="3762877"/>
            <a:ext cx="1194911" cy="896197"/>
          </a:xfrm>
          <a:prstGeom prst="rect">
            <a:avLst/>
          </a:prstGeom>
        </p:spPr>
        <p:txBody>
          <a:bodyPr vert="horz" wrap="none" lIns="119306" tIns="59655" rIns="119306" bIns="59655" rtlCol="0" anchor="ctr">
            <a:noAutofit/>
          </a:bodyPr>
          <a:lstStyle/>
          <a:p>
            <a:pPr marL="372800" indent="-372800">
              <a:buFont typeface="Arial"/>
              <a:buChar char="•"/>
            </a:pPr>
            <a:endParaRPr lang="en-US" sz="2700" dirty="0">
              <a:solidFill>
                <a:srgbClr val="4D4D4D"/>
              </a:solidFill>
              <a:latin typeface="Simplon BP"/>
            </a:endParaRPr>
          </a:p>
        </p:txBody>
      </p:sp>
      <p:sp>
        <p:nvSpPr>
          <p:cNvPr id="13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422135" y="2848723"/>
            <a:ext cx="5577332" cy="1562434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596478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6478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6478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6478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  <p:sp>
        <p:nvSpPr>
          <p:cNvPr id="14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422135" y="1790555"/>
            <a:ext cx="4970423" cy="73342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596478" rtl="0" eaLnBrk="1" fontAlgn="auto" latinLnBrk="0" hangingPunct="1">
              <a:lnSpc>
                <a:spcPts val="2352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 cap="all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64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smtClean="0"/>
              <a:t>has </a:t>
            </a:r>
            <a:br>
              <a:rPr lang="en-US" dirty="0" smtClean="0"/>
            </a:br>
            <a:r>
              <a:rPr lang="en-US" dirty="0" smtClean="0"/>
              <a:t>id </a:t>
            </a:r>
            <a:r>
              <a:rPr lang="en-US" dirty="0" err="1" smtClean="0"/>
              <a:t>cibo</a:t>
            </a:r>
            <a:r>
              <a:rPr lang="en-US" dirty="0" smtClean="0"/>
              <a:t> </a:t>
            </a:r>
            <a:r>
              <a:rPr lang="en-US" dirty="0" err="1" smtClean="0"/>
              <a:t>quidam</a:t>
            </a:r>
            <a:r>
              <a:rPr lang="en-US" dirty="0" smtClean="0"/>
              <a:t> </a:t>
            </a:r>
            <a:r>
              <a:rPr lang="en-US" dirty="0" err="1" smtClean="0"/>
              <a:t>facilis</a:t>
            </a:r>
            <a:endParaRPr lang="en-US" dirty="0"/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422136" y="349342"/>
            <a:ext cx="4970421" cy="123378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703"/>
              </a:lnSpc>
              <a:defRPr sz="4700">
                <a:solidFill>
                  <a:srgbClr val="EA288C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</a:t>
            </a:r>
            <a:br>
              <a:rPr lang="en-US" dirty="0" smtClean="0"/>
            </a:br>
            <a:r>
              <a:rPr lang="en-US" dirty="0" smtClean="0"/>
              <a:t>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0197004"/>
      </p:ext>
    </p:extLst>
  </p:cSld>
  <p:clrMapOvr>
    <a:masterClrMapping/>
  </p:clrMapOvr>
</p:sldLayout>
</file>

<file path=ppt/slideLayouts/slideLayout6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3381953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6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4893115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6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8468553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6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7124158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6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4101045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6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5852888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6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EA288C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9374628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6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6D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6394873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3256105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6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A02B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5937255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6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Oi Capa">
    <p:bg>
      <p:bgPr>
        <a:blipFill dpi="0" rotWithShape="1">
          <a:blip r:embed="rId2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08799309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69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dt" sz="half" idx="10"/>
          </p:nvPr>
        </p:nvSpPr>
        <p:spPr>
          <a:xfrm>
            <a:off x="896183" y="6124011"/>
            <a:ext cx="2489399" cy="448098"/>
          </a:xfrm>
          <a:prstGeom prst="rect">
            <a:avLst/>
          </a:prstGeom>
          <a:ln/>
        </p:spPr>
        <p:txBody>
          <a:bodyPr lIns="119313" tIns="59659" rIns="119313" bIns="59659"/>
          <a:lstStyle>
            <a:lvl1pPr>
              <a:defRPr/>
            </a:lvl1pPr>
          </a:lstStyle>
          <a:p>
            <a:pPr defTabSz="596545" fontAlgn="auto">
              <a:spcBef>
                <a:spcPts val="0"/>
              </a:spcBef>
              <a:spcAft>
                <a:spcPts val="0"/>
              </a:spcAft>
              <a:defRPr/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1"/>
          </p:nvPr>
        </p:nvSpPr>
        <p:spPr>
          <a:xfrm>
            <a:off x="4082614" y="6124011"/>
            <a:ext cx="3783886" cy="448098"/>
          </a:xfrm>
          <a:prstGeom prst="rect">
            <a:avLst/>
          </a:prstGeom>
          <a:ln/>
        </p:spPr>
        <p:txBody>
          <a:bodyPr lIns="119313" tIns="59659" rIns="119313" bIns="59659"/>
          <a:lstStyle>
            <a:lvl1pPr>
              <a:defRPr/>
            </a:lvl1pPr>
          </a:lstStyle>
          <a:p>
            <a:pPr defTabSz="596545" fontAlgn="auto">
              <a:spcBef>
                <a:spcPts val="0"/>
              </a:spcBef>
              <a:spcAft>
                <a:spcPts val="0"/>
              </a:spcAft>
              <a:defRPr/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45209172"/>
      </p:ext>
    </p:extLst>
  </p:cSld>
  <p:clrMapOvr>
    <a:masterClrMapping/>
  </p:clrMapOvr>
</p:sldLayout>
</file>

<file path=ppt/slideLayouts/slideLayout6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60630662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76886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34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 userDrawn="1"/>
        </p:nvSpPr>
        <p:spPr bwMode="auto">
          <a:xfrm>
            <a:off x="437849" y="131306"/>
            <a:ext cx="88165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pt-BR" sz="800" b="1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WORKING DRAFT</a:t>
            </a:r>
            <a:endParaRPr lang="pt-BR" sz="800" b="1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256937" y="36518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pt-BR" sz="800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 userDrawn="1"/>
        </p:nvSpPr>
        <p:spPr bwMode="auto">
          <a:xfrm>
            <a:off x="437874" y="286879"/>
            <a:ext cx="3069751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 userDrawn="1"/>
        </p:nvSpPr>
        <p:spPr bwMode="auto">
          <a:xfrm>
            <a:off x="437851" y="444039"/>
            <a:ext cx="270106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8" name="McK Title Elements" hidden="1"/>
          <p:cNvGrpSpPr>
            <a:grpSpLocks/>
          </p:cNvGrpSpPr>
          <p:nvPr userDrawn="1"/>
        </p:nvGrpSpPr>
        <p:grpSpPr bwMode="auto">
          <a:xfrm>
            <a:off x="5" y="121"/>
            <a:ext cx="11944879" cy="6723063"/>
            <a:chOff x="0" y="0"/>
            <a:chExt cx="5643" cy="4235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207" y="3361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ocument typ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207" y="3550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at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1" name="McK Disclaimer"/>
            <p:cNvSpPr>
              <a:spLocks noChangeArrowheads="1"/>
            </p:cNvSpPr>
            <p:nvPr/>
          </p:nvSpPr>
          <p:spPr bwMode="auto">
            <a:xfrm>
              <a:off x="207" y="3963"/>
              <a:ext cx="3226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797488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NFIDENTIAL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D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PRIETARY</a:t>
              </a:r>
              <a:endParaRPr lang="pt-BR" sz="80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  <a:p>
              <a:pPr defTabSz="797488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use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his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aterial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without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pecific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ermission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cKinsey &amp;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mpan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is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trictl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hibited</a:t>
              </a:r>
              <a:endParaRPr lang="pt-BR" sz="8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2" name="TitleBottomPlaceholder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3" name="TitleTopPlaceholder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Rectangle 1189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pic>
        <p:nvPicPr>
          <p:cNvPr id="18" name="TitleBottomBarBW" hidden="1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65766" y="6443669"/>
            <a:ext cx="2182379" cy="1920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7" name="Freeform 5"/>
          <p:cNvSpPr>
            <a:spLocks/>
          </p:cNvSpPr>
          <p:nvPr userDrawn="1"/>
        </p:nvSpPr>
        <p:spPr bwMode="auto">
          <a:xfrm flipH="1">
            <a:off x="4236" y="6635876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0587" tIns="45292" rIns="90587" bIns="45292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9" name="Freeform 5"/>
          <p:cNvSpPr>
            <a:spLocks/>
          </p:cNvSpPr>
          <p:nvPr userDrawn="1"/>
        </p:nvSpPr>
        <p:spPr bwMode="auto">
          <a:xfrm flipH="1">
            <a:off x="4236" y="3283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0587" tIns="45292" rIns="90587" bIns="45292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 userDrawn="1">
            <p:ph type="ctrTitle"/>
          </p:nvPr>
        </p:nvSpPr>
        <p:spPr>
          <a:xfrm>
            <a:off x="437853" y="2238434"/>
            <a:ext cx="6581329" cy="1292662"/>
          </a:xfrm>
          <a:prstGeom prst="rect">
            <a:avLst/>
          </a:prstGeom>
        </p:spPr>
        <p:txBody>
          <a:bodyPr/>
          <a:lstStyle>
            <a:lvl1pPr>
              <a:defRPr sz="4200" b="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dirty="0" smtClean="0"/>
              <a:t>Click </a:t>
            </a:r>
            <a:r>
              <a:rPr lang="pt-BR" noProof="0" dirty="0" err="1" smtClean="0"/>
              <a:t>to</a:t>
            </a:r>
            <a:r>
              <a:rPr lang="pt-BR" noProof="0" dirty="0" smtClean="0"/>
              <a:t> </a:t>
            </a:r>
            <a:r>
              <a:rPr lang="pt-BR" noProof="0" dirty="0" err="1" smtClean="0"/>
              <a:t>edit</a:t>
            </a:r>
            <a:r>
              <a:rPr lang="pt-BR" noProof="0" dirty="0" smtClean="0"/>
              <a:t> Master </a:t>
            </a:r>
            <a:r>
              <a:rPr lang="pt-BR" noProof="0" dirty="0" err="1" smtClean="0"/>
              <a:t>title</a:t>
            </a:r>
            <a:r>
              <a:rPr lang="pt-BR" noProof="0" dirty="0" smtClean="0"/>
              <a:t> </a:t>
            </a:r>
            <a:r>
              <a:rPr lang="pt-BR" noProof="0" dirty="0" err="1" smtClean="0"/>
              <a:t>style</a:t>
            </a:r>
            <a:endParaRPr lang="pt-BR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437852" y="3762851"/>
            <a:ext cx="6450496" cy="482639"/>
          </a:xfrm>
        </p:spPr>
        <p:txBody>
          <a:bodyPr wrap="square">
            <a:spAutoFit/>
          </a:bodyPr>
          <a:lstStyle>
            <a:lvl1pPr>
              <a:defRPr sz="310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smtClean="0"/>
              <a:t>Click to edit Master subtitle style</a:t>
            </a:r>
            <a:endParaRPr lang="pt-BR" noProof="0" dirty="0" smtClean="0"/>
          </a:p>
        </p:txBody>
      </p:sp>
      <p:grpSp>
        <p:nvGrpSpPr>
          <p:cNvPr id="25" name="Group 24"/>
          <p:cNvGrpSpPr/>
          <p:nvPr userDrawn="1"/>
        </p:nvGrpSpPr>
        <p:grpSpPr>
          <a:xfrm>
            <a:off x="8526083" y="2325895"/>
            <a:ext cx="3423031" cy="3656746"/>
            <a:chOff x="5526523" y="2325890"/>
            <a:chExt cx="3423032" cy="3656747"/>
          </a:xfrm>
        </p:grpSpPr>
        <p:sp>
          <p:nvSpPr>
            <p:cNvPr id="26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27" name="Group 26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28" name="Donut 27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29" name="Oval 28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0" name="Oval 29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424513855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24286840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77910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34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211678" y="230292"/>
            <a:ext cx="10903658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US" noProof="0" dirty="0" smtClean="0"/>
            </a:lvl1pPr>
          </a:lstStyle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</p:spTree>
    <p:extLst>
      <p:ext uri="{BB962C8B-B14F-4D97-AF65-F5344CB8AC3E}">
        <p14:creationId xmlns:p14="http://schemas.microsoft.com/office/powerpoint/2010/main" val="326043133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9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21502" y="359015"/>
            <a:ext cx="10306110" cy="307777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886630219"/>
      </p:ext>
    </p:extLst>
  </p:cSld>
  <p:clrMapOvr>
    <a:masterClrMapping/>
  </p:clrMapOvr>
</p:sldLayout>
</file>

<file path=ppt/slideLayouts/slideLayout69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663871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69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422137" y="349431"/>
            <a:ext cx="6749230" cy="254184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703"/>
              </a:lnSpc>
              <a:defRPr sz="4700">
                <a:solidFill>
                  <a:srgbClr val="18C3FF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r>
              <a:rPr lang="en-US" dirty="0" smtClean="0"/>
              <a:t>. LOREM IPSUM DOLOR SIT AMET HAS ID CIBO QUIDAM</a:t>
            </a:r>
            <a:endParaRPr lang="en-US" dirty="0"/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422137" y="3071971"/>
            <a:ext cx="6749230" cy="796308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591926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1926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1926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84870260"/>
      </p:ext>
    </p:extLst>
  </p:cSld>
  <p:clrMapOvr>
    <a:masterClrMapping/>
  </p:clrMapOvr>
</p:sldLayout>
</file>

<file path=ppt/slideLayouts/slideLayout6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179385202"/>
      </p:ext>
    </p:extLst>
  </p:cSld>
  <p:clrMapOvr>
    <a:masterClrMapping/>
  </p:clrMapOvr>
</p:sldLayout>
</file>

<file path=ppt/slideLayouts/slideLayout69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60" y="1576"/>
          <a:ext cx="1555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78934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34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60" y="1576"/>
                        <a:ext cx="1555" cy="155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 userDrawn="1"/>
        </p:nvSpPr>
        <p:spPr>
          <a:xfrm>
            <a:off x="1" y="-58698"/>
            <a:ext cx="11949113" cy="186905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587" tIns="45292" rIns="90587" bIns="45292"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75613" y="228703"/>
            <a:ext cx="11491891" cy="30777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37789550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60" y="1576"/>
          <a:ext cx="1555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61559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140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60" y="1576"/>
                        <a:ext cx="1555" cy="155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 userDrawn="1"/>
        </p:nvSpPr>
        <p:spPr>
          <a:xfrm>
            <a:off x="1" y="-58698"/>
            <a:ext cx="11949113" cy="186905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587" tIns="45292" rIns="90587" bIns="45292" rtlCol="0" anchor="ctr"/>
          <a:lstStyle/>
          <a:p>
            <a:pPr algn="ctr"/>
            <a:endParaRPr lang="en-US" sz="160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75613" y="228703"/>
            <a:ext cx="11491891" cy="30777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51564901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5407163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70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1636032073"/>
      </p:ext>
    </p:extLst>
  </p:cSld>
  <p:clrMapOvr>
    <a:masterClrMapping/>
  </p:clrMapOvr>
</p:sldLayout>
</file>

<file path=ppt/slideLayouts/slideLayout7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918125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7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4345406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7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498005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7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0170684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7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2242896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7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EA288C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747643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7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6D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9703395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7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A02B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0597148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7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1274637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7700622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7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2289724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7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4393795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7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291974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7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5331172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7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EA288C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2765083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7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6D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3248128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7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A02B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8460526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7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99739139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87092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310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 userDrawn="1"/>
        </p:nvSpPr>
        <p:spPr bwMode="auto">
          <a:xfrm>
            <a:off x="437849" y="131218"/>
            <a:ext cx="88165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1193231" eaLnBrk="1" hangingPunct="1">
              <a:defRPr/>
            </a:pPr>
            <a:r>
              <a:rPr lang="pt-BR" sz="800" b="1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WORKING DRAFT</a:t>
            </a:r>
            <a:endParaRPr lang="pt-BR" sz="800" b="1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256937" y="36518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defTabSz="1193231" eaLnBrk="1" hangingPunct="1">
              <a:defRPr/>
            </a:pPr>
            <a:endParaRPr lang="pt-BR" sz="800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 userDrawn="1"/>
        </p:nvSpPr>
        <p:spPr bwMode="auto">
          <a:xfrm>
            <a:off x="437874" y="286792"/>
            <a:ext cx="3069751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1193231"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 userDrawn="1"/>
        </p:nvSpPr>
        <p:spPr bwMode="auto">
          <a:xfrm>
            <a:off x="437851" y="443953"/>
            <a:ext cx="270106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1193231"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8" name="McK Title Elements" hidden="1"/>
          <p:cNvGrpSpPr>
            <a:grpSpLocks/>
          </p:cNvGrpSpPr>
          <p:nvPr userDrawn="1"/>
        </p:nvGrpSpPr>
        <p:grpSpPr bwMode="auto">
          <a:xfrm>
            <a:off x="5" y="33"/>
            <a:ext cx="11944879" cy="6723063"/>
            <a:chOff x="0" y="0"/>
            <a:chExt cx="5643" cy="4235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207" y="3361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1193231"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ocument typ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207" y="3550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1193231"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at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1" name="McK Disclaimer"/>
            <p:cNvSpPr>
              <a:spLocks noChangeArrowheads="1"/>
            </p:cNvSpPr>
            <p:nvPr/>
          </p:nvSpPr>
          <p:spPr bwMode="auto">
            <a:xfrm>
              <a:off x="207" y="3963"/>
              <a:ext cx="3226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803543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CONFIDENTIAL</a:t>
              </a:r>
              <a:r>
                <a:rPr lang="pt-BR" sz="800" dirty="0" smtClean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AND</a:t>
              </a:r>
              <a:r>
                <a:rPr lang="pt-BR" sz="800" dirty="0" smtClean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PROPRIETARY</a:t>
              </a:r>
              <a:endParaRPr lang="pt-BR" sz="800" dirty="0" smtClean="0">
                <a:solidFill>
                  <a:srgbClr val="000000"/>
                </a:solidFill>
                <a:latin typeface="Arial"/>
                <a:cs typeface="Arial" panose="020B0604020202020204" pitchFamily="34" charset="0"/>
                <a:sym typeface="Arial" panose="020B0604020202020204" pitchFamily="34" charset="0"/>
              </a:endParaRPr>
            </a:p>
            <a:p>
              <a:pPr defTabSz="803543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Any</a:t>
              </a:r>
              <a:r>
                <a:rPr lang="pt-BR" sz="800" dirty="0" smtClean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 use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this</a:t>
              </a:r>
              <a:r>
                <a:rPr lang="pt-BR" sz="800" dirty="0" smtClean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 material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without</a:t>
              </a:r>
              <a:r>
                <a:rPr lang="pt-BR" sz="800" dirty="0" smtClean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specific</a:t>
              </a:r>
              <a:r>
                <a:rPr lang="pt-BR" sz="800" dirty="0" smtClean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permission</a:t>
              </a:r>
              <a:r>
                <a:rPr lang="pt-BR" sz="800" dirty="0" smtClean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 McKinsey &amp;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Company</a:t>
              </a:r>
              <a:r>
                <a:rPr lang="pt-BR" sz="800" dirty="0" smtClean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is</a:t>
              </a:r>
              <a:r>
                <a:rPr lang="pt-BR" sz="800" dirty="0" smtClean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strictly</a:t>
              </a:r>
              <a:r>
                <a:rPr lang="pt-BR" sz="800" dirty="0" smtClean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prohibited</a:t>
              </a:r>
              <a:endParaRPr lang="pt-BR" sz="800" dirty="0">
                <a:solidFill>
                  <a:srgbClr val="000000"/>
                </a:solidFill>
                <a:latin typeface="Arial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2" name="TitleBottomPlaceholder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1193231"/>
              <a:endParaRPr lang="pt-BR" dirty="0">
                <a:solidFill>
                  <a:srgbClr val="000000"/>
                </a:solidFill>
                <a:latin typeface="Arial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3" name="TitleTopPlaceholder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1193231"/>
              <a:endParaRPr lang="pt-BR" dirty="0">
                <a:solidFill>
                  <a:srgbClr val="000000"/>
                </a:solidFill>
                <a:latin typeface="Arial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Rectangle 1189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1193231"/>
              <a:endParaRPr lang="pt-BR" dirty="0">
                <a:solidFill>
                  <a:srgbClr val="000000"/>
                </a:solidFill>
                <a:latin typeface="Arial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pic>
        <p:nvPicPr>
          <p:cNvPr id="18" name="TitleBottomBarBW" hidden="1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65680" y="6443669"/>
            <a:ext cx="2182379" cy="1920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7" name="Freeform 5"/>
          <p:cNvSpPr>
            <a:spLocks/>
          </p:cNvSpPr>
          <p:nvPr userDrawn="1"/>
        </p:nvSpPr>
        <p:spPr bwMode="auto">
          <a:xfrm flipH="1">
            <a:off x="4236" y="6635788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283" tIns="45643" rIns="91283" bIns="45643" numCol="1" anchor="t" anchorCtr="0" compatLnSpc="1">
            <a:prstTxWarp prst="textNoShape">
              <a:avLst/>
            </a:prstTxWarp>
          </a:bodyPr>
          <a:lstStyle/>
          <a:p>
            <a:pPr defTabSz="1193231"/>
            <a:endParaRPr lang="pt-BR" dirty="0">
              <a:solidFill>
                <a:srgbClr val="000000"/>
              </a:solidFill>
              <a:latin typeface="Arial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9" name="Freeform 5"/>
          <p:cNvSpPr>
            <a:spLocks/>
          </p:cNvSpPr>
          <p:nvPr userDrawn="1"/>
        </p:nvSpPr>
        <p:spPr bwMode="auto">
          <a:xfrm flipH="1">
            <a:off x="4236" y="3197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283" tIns="45643" rIns="91283" bIns="45643" numCol="1" anchor="t" anchorCtr="0" compatLnSpc="1">
            <a:prstTxWarp prst="textNoShape">
              <a:avLst/>
            </a:prstTxWarp>
          </a:bodyPr>
          <a:lstStyle/>
          <a:p>
            <a:pPr defTabSz="1193231"/>
            <a:endParaRPr lang="pt-BR" dirty="0">
              <a:solidFill>
                <a:srgbClr val="000000"/>
              </a:solidFill>
              <a:latin typeface="Arial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 userDrawn="1">
            <p:ph type="ctrTitle"/>
          </p:nvPr>
        </p:nvSpPr>
        <p:spPr>
          <a:xfrm>
            <a:off x="437853" y="2238434"/>
            <a:ext cx="6581329" cy="1292662"/>
          </a:xfrm>
          <a:prstGeom prst="rect">
            <a:avLst/>
          </a:prstGeom>
        </p:spPr>
        <p:txBody>
          <a:bodyPr/>
          <a:lstStyle>
            <a:lvl1pPr>
              <a:defRPr sz="4200" b="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dirty="0" smtClean="0"/>
              <a:t>Click </a:t>
            </a:r>
            <a:r>
              <a:rPr lang="pt-BR" noProof="0" dirty="0" err="1" smtClean="0"/>
              <a:t>to</a:t>
            </a:r>
            <a:r>
              <a:rPr lang="pt-BR" noProof="0" dirty="0" smtClean="0"/>
              <a:t> </a:t>
            </a:r>
            <a:r>
              <a:rPr lang="pt-BR" noProof="0" dirty="0" err="1" smtClean="0"/>
              <a:t>edit</a:t>
            </a:r>
            <a:r>
              <a:rPr lang="pt-BR" noProof="0" dirty="0" smtClean="0"/>
              <a:t> Master </a:t>
            </a:r>
            <a:r>
              <a:rPr lang="pt-BR" noProof="0" dirty="0" err="1" smtClean="0"/>
              <a:t>title</a:t>
            </a:r>
            <a:r>
              <a:rPr lang="pt-BR" noProof="0" dirty="0" smtClean="0"/>
              <a:t> </a:t>
            </a:r>
            <a:r>
              <a:rPr lang="pt-BR" noProof="0" dirty="0" err="1" smtClean="0"/>
              <a:t>style</a:t>
            </a:r>
            <a:endParaRPr lang="pt-BR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437852" y="3762851"/>
            <a:ext cx="6450496" cy="482639"/>
          </a:xfrm>
        </p:spPr>
        <p:txBody>
          <a:bodyPr wrap="square">
            <a:spAutoFit/>
          </a:bodyPr>
          <a:lstStyle>
            <a:lvl1pPr>
              <a:defRPr sz="310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smtClean="0"/>
              <a:t>Click to edit Master subtitle style</a:t>
            </a:r>
            <a:endParaRPr lang="pt-BR" noProof="0" dirty="0" smtClean="0"/>
          </a:p>
        </p:txBody>
      </p:sp>
      <p:grpSp>
        <p:nvGrpSpPr>
          <p:cNvPr id="25" name="Group 24"/>
          <p:cNvGrpSpPr/>
          <p:nvPr userDrawn="1"/>
        </p:nvGrpSpPr>
        <p:grpSpPr>
          <a:xfrm>
            <a:off x="8526083" y="2325895"/>
            <a:ext cx="3423031" cy="3656746"/>
            <a:chOff x="5526523" y="2325890"/>
            <a:chExt cx="3423032" cy="3656747"/>
          </a:xfrm>
        </p:grpSpPr>
        <p:sp>
          <p:nvSpPr>
            <p:cNvPr id="26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193231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27" name="Group 26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28" name="Donut 27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193231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29" name="Oval 28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193231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0" name="Oval 29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193231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20847366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17284383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88116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310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211678" y="230206"/>
            <a:ext cx="10903658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US" noProof="0" dirty="0" smtClean="0"/>
            </a:lvl1pPr>
          </a:lstStyle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</p:spTree>
    <p:extLst>
      <p:ext uri="{BB962C8B-B14F-4D97-AF65-F5344CB8AC3E}">
        <p14:creationId xmlns:p14="http://schemas.microsoft.com/office/powerpoint/2010/main" val="315378480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21502" y="358926"/>
            <a:ext cx="10306110" cy="307777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pt-BR"/>
          </a:p>
        </p:txBody>
      </p:sp>
      <p:sp>
        <p:nvSpPr>
          <p:cNvPr id="3" name="Slide Number"/>
          <p:cNvSpPr txBox="1">
            <a:spLocks/>
          </p:cNvSpPr>
          <p:nvPr userDrawn="1"/>
        </p:nvSpPr>
        <p:spPr>
          <a:xfrm>
            <a:off x="11394525" y="6426673"/>
            <a:ext cx="278354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defTabSz="1193231"/>
            <a:endParaRPr lang="pt-BR" dirty="0">
              <a:solidFill>
                <a:srgbClr val="000000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4748667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4030938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7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999202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422137" y="349344"/>
            <a:ext cx="6749230" cy="254184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703"/>
              </a:lnSpc>
              <a:defRPr sz="4700">
                <a:solidFill>
                  <a:srgbClr val="18C3FF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r>
              <a:rPr lang="en-US" dirty="0" smtClean="0"/>
              <a:t>. LOREM IPSUM DOLOR SIT AMET HAS ID CIBO QUIDAM</a:t>
            </a:r>
            <a:endParaRPr lang="en-US" dirty="0"/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422137" y="3071971"/>
            <a:ext cx="6749230" cy="796308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596455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6455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6455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9004322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111649067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60" y="1576"/>
          <a:ext cx="1555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89140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31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60" y="1576"/>
                        <a:ext cx="1555" cy="155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 userDrawn="1"/>
        </p:nvSpPr>
        <p:spPr>
          <a:xfrm>
            <a:off x="1" y="-58698"/>
            <a:ext cx="11949113" cy="186905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283" tIns="45643" rIns="91283" bIns="45643" rtlCol="0" anchor="ctr"/>
          <a:lstStyle/>
          <a:p>
            <a:pPr algn="ctr" defTabSz="1193231"/>
            <a:endParaRPr lang="en-US">
              <a:solidFill>
                <a:srgbClr val="FFFFFF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75525" y="228616"/>
            <a:ext cx="11491891" cy="30777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61769038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72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815091453"/>
      </p:ext>
    </p:extLst>
  </p:cSld>
  <p:clrMapOvr>
    <a:masterClrMapping/>
  </p:clrMapOvr>
</p:sldLayout>
</file>

<file path=ppt/slideLayouts/slideLayout7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45" y="358960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42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45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435" indent="0">
              <a:buNone/>
              <a:defRPr sz="2700">
                <a:solidFill>
                  <a:schemeClr val="accent3"/>
                </a:solidFill>
              </a:defRPr>
            </a:lvl2pPr>
            <a:lvl3pPr marL="474363" indent="0">
              <a:buNone/>
              <a:defRPr sz="2700">
                <a:solidFill>
                  <a:schemeClr val="accent3"/>
                </a:solidFill>
              </a:defRPr>
            </a:lvl3pPr>
            <a:lvl4pPr marL="703296" indent="0">
              <a:buNone/>
              <a:defRPr sz="2700">
                <a:solidFill>
                  <a:schemeClr val="accent3"/>
                </a:solidFill>
              </a:defRPr>
            </a:lvl4pPr>
            <a:lvl5pPr marL="932232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307106017"/>
      </p:ext>
    </p:extLst>
  </p:cSld>
  <p:clrMapOvr>
    <a:masterClrMapping/>
  </p:clrMapOvr>
</p:sldLayout>
</file>

<file path=ppt/slideLayouts/slideLayout7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42" y="1854632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40274309"/>
      </p:ext>
    </p:extLst>
  </p:cSld>
  <p:clrMapOvr>
    <a:masterClrMapping/>
  </p:clrMapOvr>
</p:sldLayout>
</file>

<file path=ppt/slideLayouts/slideLayout7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687028"/>
      </p:ext>
    </p:extLst>
  </p:cSld>
  <p:clrMapOvr>
    <a:masterClrMapping/>
  </p:clrMapOvr>
</p:sldLayout>
</file>

<file path=ppt/slideLayouts/slideLayout7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80" y="1854632"/>
            <a:ext cx="5080446" cy="451832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854695"/>
            <a:ext cx="5080448" cy="451832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2045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435" indent="0">
              <a:buNone/>
              <a:defRPr sz="2700">
                <a:solidFill>
                  <a:schemeClr val="accent3"/>
                </a:solidFill>
              </a:defRPr>
            </a:lvl2pPr>
            <a:lvl3pPr marL="474363" indent="0">
              <a:buNone/>
              <a:defRPr sz="2700">
                <a:solidFill>
                  <a:schemeClr val="accent3"/>
                </a:solidFill>
              </a:defRPr>
            </a:lvl3pPr>
            <a:lvl4pPr marL="703296" indent="0">
              <a:buNone/>
              <a:defRPr sz="2700">
                <a:solidFill>
                  <a:schemeClr val="accent3"/>
                </a:solidFill>
              </a:defRPr>
            </a:lvl4pPr>
            <a:lvl5pPr marL="932232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94289470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7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205776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6931911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7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3581944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7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701150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7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8174248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7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4363571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7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EA288C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5986672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7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6D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6272375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7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A02B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7465612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7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45771174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96295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29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 userDrawn="1"/>
        </p:nvSpPr>
        <p:spPr bwMode="auto">
          <a:xfrm>
            <a:off x="437849" y="131298"/>
            <a:ext cx="88165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pt-BR" sz="800" b="1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WORKING DRAFT</a:t>
            </a:r>
            <a:endParaRPr lang="pt-BR" sz="800" b="1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256937" y="36518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pt-BR" sz="800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 userDrawn="1"/>
        </p:nvSpPr>
        <p:spPr bwMode="auto">
          <a:xfrm>
            <a:off x="437874" y="286871"/>
            <a:ext cx="3069751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 userDrawn="1"/>
        </p:nvSpPr>
        <p:spPr bwMode="auto">
          <a:xfrm>
            <a:off x="437851" y="444031"/>
            <a:ext cx="270106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8" name="McK Title Elements" hidden="1"/>
          <p:cNvGrpSpPr>
            <a:grpSpLocks/>
          </p:cNvGrpSpPr>
          <p:nvPr userDrawn="1"/>
        </p:nvGrpSpPr>
        <p:grpSpPr bwMode="auto">
          <a:xfrm>
            <a:off x="5" y="114"/>
            <a:ext cx="11944879" cy="6723063"/>
            <a:chOff x="0" y="0"/>
            <a:chExt cx="5643" cy="4235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207" y="3361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ocument typ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207" y="3550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at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1" name="McK Disclaimer"/>
            <p:cNvSpPr>
              <a:spLocks noChangeArrowheads="1"/>
            </p:cNvSpPr>
            <p:nvPr/>
          </p:nvSpPr>
          <p:spPr bwMode="auto">
            <a:xfrm>
              <a:off x="207" y="3963"/>
              <a:ext cx="3226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798029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NFIDENTIAL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D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PRIETARY</a:t>
              </a:r>
              <a:endParaRPr lang="pt-BR" sz="80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  <a:p>
              <a:pPr defTabSz="798029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use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his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aterial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without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pecific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ermission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cKinsey &amp;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mpan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is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trictl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hibited</a:t>
              </a:r>
              <a:endParaRPr lang="pt-BR" sz="8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2" name="TitleBottomPlaceholder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3" name="TitleTopPlaceholder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Rectangle 1189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pic>
        <p:nvPicPr>
          <p:cNvPr id="18" name="TitleBottomBarBW" hidden="1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65758" y="6443669"/>
            <a:ext cx="2182379" cy="1920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7" name="Freeform 5"/>
          <p:cNvSpPr>
            <a:spLocks/>
          </p:cNvSpPr>
          <p:nvPr userDrawn="1"/>
        </p:nvSpPr>
        <p:spPr bwMode="auto">
          <a:xfrm flipH="1">
            <a:off x="4236" y="6635869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0648" tIns="45323" rIns="90648" bIns="45323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9" name="Freeform 5"/>
          <p:cNvSpPr>
            <a:spLocks/>
          </p:cNvSpPr>
          <p:nvPr userDrawn="1"/>
        </p:nvSpPr>
        <p:spPr bwMode="auto">
          <a:xfrm flipH="1">
            <a:off x="4236" y="3276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0648" tIns="45323" rIns="90648" bIns="45323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 userDrawn="1">
            <p:ph type="ctrTitle"/>
          </p:nvPr>
        </p:nvSpPr>
        <p:spPr>
          <a:xfrm>
            <a:off x="437853" y="2238434"/>
            <a:ext cx="6581329" cy="1292662"/>
          </a:xfrm>
          <a:prstGeom prst="rect">
            <a:avLst/>
          </a:prstGeom>
        </p:spPr>
        <p:txBody>
          <a:bodyPr/>
          <a:lstStyle>
            <a:lvl1pPr>
              <a:defRPr sz="4200" b="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dirty="0" smtClean="0"/>
              <a:t>Click </a:t>
            </a:r>
            <a:r>
              <a:rPr lang="pt-BR" noProof="0" dirty="0" err="1" smtClean="0"/>
              <a:t>to</a:t>
            </a:r>
            <a:r>
              <a:rPr lang="pt-BR" noProof="0" dirty="0" smtClean="0"/>
              <a:t> </a:t>
            </a:r>
            <a:r>
              <a:rPr lang="pt-BR" noProof="0" dirty="0" err="1" smtClean="0"/>
              <a:t>edit</a:t>
            </a:r>
            <a:r>
              <a:rPr lang="pt-BR" noProof="0" dirty="0" smtClean="0"/>
              <a:t> Master </a:t>
            </a:r>
            <a:r>
              <a:rPr lang="pt-BR" noProof="0" dirty="0" err="1" smtClean="0"/>
              <a:t>title</a:t>
            </a:r>
            <a:r>
              <a:rPr lang="pt-BR" noProof="0" dirty="0" smtClean="0"/>
              <a:t> </a:t>
            </a:r>
            <a:r>
              <a:rPr lang="pt-BR" noProof="0" dirty="0" err="1" smtClean="0"/>
              <a:t>style</a:t>
            </a:r>
            <a:endParaRPr lang="pt-BR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437852" y="3762851"/>
            <a:ext cx="6450496" cy="482639"/>
          </a:xfrm>
        </p:spPr>
        <p:txBody>
          <a:bodyPr wrap="square">
            <a:spAutoFit/>
          </a:bodyPr>
          <a:lstStyle>
            <a:lvl1pPr>
              <a:defRPr sz="310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smtClean="0"/>
              <a:t>Click to edit Master subtitle style</a:t>
            </a:r>
            <a:endParaRPr lang="pt-BR" noProof="0" dirty="0" smtClean="0"/>
          </a:p>
        </p:txBody>
      </p:sp>
      <p:grpSp>
        <p:nvGrpSpPr>
          <p:cNvPr id="25" name="Group 24"/>
          <p:cNvGrpSpPr/>
          <p:nvPr userDrawn="1"/>
        </p:nvGrpSpPr>
        <p:grpSpPr>
          <a:xfrm>
            <a:off x="8526083" y="2325895"/>
            <a:ext cx="3423031" cy="3656746"/>
            <a:chOff x="5526523" y="2325890"/>
            <a:chExt cx="3423032" cy="3656747"/>
          </a:xfrm>
        </p:grpSpPr>
        <p:sp>
          <p:nvSpPr>
            <p:cNvPr id="26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27" name="Group 26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28" name="Donut 27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29" name="Oval 28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0" name="Oval 29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21926368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68868947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97319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29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211678" y="230284"/>
            <a:ext cx="10903658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US" noProof="0" dirty="0" smtClean="0"/>
            </a:lvl1pPr>
          </a:lstStyle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</p:spTree>
    <p:extLst>
      <p:ext uri="{BB962C8B-B14F-4D97-AF65-F5344CB8AC3E}">
        <p14:creationId xmlns:p14="http://schemas.microsoft.com/office/powerpoint/2010/main" val="121234450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21502" y="359007"/>
            <a:ext cx="10306110" cy="307777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652513905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EA288C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4989006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7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68746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7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422137" y="349423"/>
            <a:ext cx="6749230" cy="254184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703"/>
              </a:lnSpc>
              <a:defRPr sz="4700">
                <a:solidFill>
                  <a:srgbClr val="18C3FF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r>
              <a:rPr lang="en-US" dirty="0" smtClean="0"/>
              <a:t>. LOREM IPSUM DOLOR SIT AMET HAS ID CIBO QUIDAM</a:t>
            </a:r>
            <a:endParaRPr lang="en-US" dirty="0"/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422137" y="3071971"/>
            <a:ext cx="6749230" cy="796308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592328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2328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2328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52581684"/>
      </p:ext>
    </p:extLst>
  </p:cSld>
  <p:clrMapOvr>
    <a:masterClrMapping/>
  </p:clrMapOvr>
</p:sldLayout>
</file>

<file path=ppt/slideLayouts/slideLayout7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2236630166"/>
      </p:ext>
    </p:extLst>
  </p:cSld>
  <p:clrMapOvr>
    <a:masterClrMapping/>
  </p:clrMapOvr>
</p:sldLayout>
</file>

<file path=ppt/slideLayouts/slideLayout7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60" y="1576"/>
          <a:ext cx="1555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98343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29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60" y="1576"/>
                        <a:ext cx="1555" cy="155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 userDrawn="1"/>
        </p:nvSpPr>
        <p:spPr>
          <a:xfrm>
            <a:off x="1" y="-58698"/>
            <a:ext cx="11949113" cy="186905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648" tIns="45323" rIns="90648" bIns="45323"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75605" y="228695"/>
            <a:ext cx="11491891" cy="30777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03493199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74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803852265"/>
      </p:ext>
    </p:extLst>
  </p:cSld>
  <p:clrMapOvr>
    <a:masterClrMapping/>
  </p:clrMapOvr>
</p:sldLayout>
</file>

<file path=ppt/slideLayouts/slideLayout7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9985255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7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45" y="358960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42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45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435" indent="0">
              <a:buNone/>
              <a:defRPr sz="2700">
                <a:solidFill>
                  <a:schemeClr val="accent3"/>
                </a:solidFill>
              </a:defRPr>
            </a:lvl2pPr>
            <a:lvl3pPr marL="474363" indent="0">
              <a:buNone/>
              <a:defRPr sz="2700">
                <a:solidFill>
                  <a:schemeClr val="accent3"/>
                </a:solidFill>
              </a:defRPr>
            </a:lvl3pPr>
            <a:lvl4pPr marL="703296" indent="0">
              <a:buNone/>
              <a:defRPr sz="2700">
                <a:solidFill>
                  <a:schemeClr val="accent3"/>
                </a:solidFill>
              </a:defRPr>
            </a:lvl4pPr>
            <a:lvl5pPr marL="932232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3460636506"/>
      </p:ext>
    </p:extLst>
  </p:cSld>
  <p:clrMapOvr>
    <a:masterClrMapping/>
  </p:clrMapOvr>
</p:sldLayout>
</file>

<file path=ppt/slideLayouts/slideLayout7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42" y="1854632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85152864"/>
      </p:ext>
    </p:extLst>
  </p:cSld>
  <p:clrMapOvr>
    <a:masterClrMapping/>
  </p:clrMapOvr>
</p:sldLayout>
</file>

<file path=ppt/slideLayouts/slideLayout7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78768161"/>
      </p:ext>
    </p:extLst>
  </p:cSld>
  <p:clrMapOvr>
    <a:masterClrMapping/>
  </p:clrMapOvr>
</p:sldLayout>
</file>

<file path=ppt/slideLayouts/slideLayout7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80" y="1854632"/>
            <a:ext cx="5080446" cy="451832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854695"/>
            <a:ext cx="5080448" cy="451832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2045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435" indent="0">
              <a:buNone/>
              <a:defRPr sz="2700">
                <a:solidFill>
                  <a:schemeClr val="accent3"/>
                </a:solidFill>
              </a:defRPr>
            </a:lvl2pPr>
            <a:lvl3pPr marL="474363" indent="0">
              <a:buNone/>
              <a:defRPr sz="2700">
                <a:solidFill>
                  <a:schemeClr val="accent3"/>
                </a:solidFill>
              </a:defRPr>
            </a:lvl3pPr>
            <a:lvl4pPr marL="703296" indent="0">
              <a:buNone/>
              <a:defRPr sz="2700">
                <a:solidFill>
                  <a:schemeClr val="accent3"/>
                </a:solidFill>
              </a:defRPr>
            </a:lvl4pPr>
            <a:lvl5pPr marL="932232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30196926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6D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2651857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7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1409182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75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12" y="358929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11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12" y="819634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6126" indent="0">
              <a:buNone/>
              <a:defRPr sz="2700">
                <a:solidFill>
                  <a:schemeClr val="accent3"/>
                </a:solidFill>
              </a:defRPr>
            </a:lvl2pPr>
            <a:lvl3pPr marL="475705" indent="0">
              <a:buNone/>
              <a:defRPr sz="2700">
                <a:solidFill>
                  <a:schemeClr val="accent3"/>
                </a:solidFill>
              </a:defRPr>
            </a:lvl3pPr>
            <a:lvl4pPr marL="705287" indent="0">
              <a:buNone/>
              <a:defRPr sz="2700">
                <a:solidFill>
                  <a:schemeClr val="accent3"/>
                </a:solidFill>
              </a:defRPr>
            </a:lvl4pPr>
            <a:lvl5pPr marL="934876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345981655"/>
      </p:ext>
    </p:extLst>
  </p:cSld>
  <p:clrMapOvr>
    <a:masterClrMapping/>
  </p:clrMapOvr>
</p:sldLayout>
</file>

<file path=ppt/slideLayouts/slideLayout75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>
          <a:xfrm>
            <a:off x="597456" y="6229821"/>
            <a:ext cx="2788126" cy="357857"/>
          </a:xfrm>
          <a:prstGeom prst="rect">
            <a:avLst/>
          </a:prstGeom>
        </p:spPr>
        <p:txBody>
          <a:bodyPr lIns="91148" tIns="45575" rIns="91148" bIns="45575"/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>
          <a:xfrm>
            <a:off x="4082614" y="6229821"/>
            <a:ext cx="3783886" cy="357857"/>
          </a:xfrm>
          <a:prstGeom prst="rect">
            <a:avLst/>
          </a:prstGeom>
        </p:spPr>
        <p:txBody>
          <a:bodyPr lIns="91148" tIns="45575" rIns="91148" bIns="45575"/>
          <a:lstStyle/>
          <a:p>
            <a:endParaRPr lang="pt-BR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75321630"/>
      </p:ext>
    </p:extLst>
  </p:cSld>
  <p:clrMapOvr>
    <a:masterClrMapping/>
  </p:clrMapOvr>
</p:sldLayout>
</file>

<file path=ppt/slideLayouts/slideLayout75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a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9396105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5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5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 userDrawn="1"/>
        </p:nvSpPr>
        <p:spPr>
          <a:xfrm>
            <a:off x="9689506" y="3762877"/>
            <a:ext cx="1194911" cy="896197"/>
          </a:xfrm>
          <a:prstGeom prst="rect">
            <a:avLst/>
          </a:prstGeom>
        </p:spPr>
        <p:txBody>
          <a:bodyPr vert="horz" wrap="none" lIns="119387" tIns="59693" rIns="119387" bIns="59693" rtlCol="0" anchor="ctr">
            <a:noAutofit/>
          </a:bodyPr>
          <a:lstStyle/>
          <a:p>
            <a:pPr marL="373056" indent="-373056">
              <a:buFont typeface="Arial"/>
              <a:buChar char="•"/>
            </a:pPr>
            <a:endParaRPr lang="en-US" sz="2700" dirty="0">
              <a:solidFill>
                <a:srgbClr val="4D4D4D"/>
              </a:solidFill>
              <a:latin typeface="Simplon BP"/>
            </a:endParaRPr>
          </a:p>
        </p:txBody>
      </p:sp>
      <p:sp>
        <p:nvSpPr>
          <p:cNvPr id="13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422135" y="2848723"/>
            <a:ext cx="5577332" cy="1562434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596885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6885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6885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6885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  <p:sp>
        <p:nvSpPr>
          <p:cNvPr id="14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422135" y="1790555"/>
            <a:ext cx="4970423" cy="73342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596885" rtl="0" eaLnBrk="1" fontAlgn="auto" latinLnBrk="0" hangingPunct="1">
              <a:lnSpc>
                <a:spcPts val="2352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 cap="all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68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smtClean="0"/>
              <a:t>has </a:t>
            </a:r>
            <a:br>
              <a:rPr lang="en-US" dirty="0" smtClean="0"/>
            </a:br>
            <a:r>
              <a:rPr lang="en-US" dirty="0" smtClean="0"/>
              <a:t>id </a:t>
            </a:r>
            <a:r>
              <a:rPr lang="en-US" dirty="0" err="1" smtClean="0"/>
              <a:t>cibo</a:t>
            </a:r>
            <a:r>
              <a:rPr lang="en-US" dirty="0" smtClean="0"/>
              <a:t> </a:t>
            </a:r>
            <a:r>
              <a:rPr lang="en-US" dirty="0" err="1" smtClean="0"/>
              <a:t>quidam</a:t>
            </a:r>
            <a:r>
              <a:rPr lang="en-US" dirty="0" smtClean="0"/>
              <a:t> </a:t>
            </a:r>
            <a:r>
              <a:rPr lang="en-US" dirty="0" err="1" smtClean="0"/>
              <a:t>facilis</a:t>
            </a:r>
            <a:endParaRPr lang="en-US" dirty="0"/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422136" y="349336"/>
            <a:ext cx="4970421" cy="123378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703"/>
              </a:lnSpc>
              <a:defRPr sz="4700">
                <a:solidFill>
                  <a:srgbClr val="EA288C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</a:t>
            </a:r>
            <a:br>
              <a:rPr lang="en-US" dirty="0" smtClean="0"/>
            </a:br>
            <a:r>
              <a:rPr lang="en-US" dirty="0" smtClean="0"/>
              <a:t>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35417265"/>
      </p:ext>
    </p:extLst>
  </p:cSld>
  <p:clrMapOvr>
    <a:masterClrMapping/>
  </p:clrMapOvr>
</p:sldLayout>
</file>

<file path=ppt/slideLayouts/slideLayout75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746745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7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58699452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03453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28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 userDrawn="1"/>
        </p:nvSpPr>
        <p:spPr bwMode="auto">
          <a:xfrm>
            <a:off x="437849" y="131298"/>
            <a:ext cx="88165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pt-BR" sz="800" b="1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WORKING DRAFT</a:t>
            </a:r>
            <a:endParaRPr lang="pt-BR" sz="800" b="1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256937" y="36518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pt-BR" sz="800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 userDrawn="1"/>
        </p:nvSpPr>
        <p:spPr bwMode="auto">
          <a:xfrm>
            <a:off x="437874" y="286871"/>
            <a:ext cx="3069751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 userDrawn="1"/>
        </p:nvSpPr>
        <p:spPr bwMode="auto">
          <a:xfrm>
            <a:off x="437851" y="444031"/>
            <a:ext cx="270106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8" name="McK Title Elements" hidden="1"/>
          <p:cNvGrpSpPr>
            <a:grpSpLocks/>
          </p:cNvGrpSpPr>
          <p:nvPr userDrawn="1"/>
        </p:nvGrpSpPr>
        <p:grpSpPr bwMode="auto">
          <a:xfrm>
            <a:off x="5" y="114"/>
            <a:ext cx="11944879" cy="6723063"/>
            <a:chOff x="0" y="0"/>
            <a:chExt cx="5643" cy="4235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207" y="3361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ocument typ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207" y="3550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at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1" name="McK Disclaimer"/>
            <p:cNvSpPr>
              <a:spLocks noChangeArrowheads="1"/>
            </p:cNvSpPr>
            <p:nvPr/>
          </p:nvSpPr>
          <p:spPr bwMode="auto">
            <a:xfrm>
              <a:off x="207" y="3963"/>
              <a:ext cx="3226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798029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NFIDENTIAL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D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PRIETARY</a:t>
              </a:r>
              <a:endParaRPr lang="pt-BR" sz="80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  <a:p>
              <a:pPr defTabSz="798029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use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his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aterial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without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pecific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ermission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cKinsey &amp;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mpan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is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trictl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hibited</a:t>
              </a:r>
              <a:endParaRPr lang="pt-BR" sz="8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2" name="TitleBottomPlaceholder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3" name="TitleTopPlaceholder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Rectangle 1189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pic>
        <p:nvPicPr>
          <p:cNvPr id="18" name="TitleBottomBarBW" hidden="1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65758" y="6443669"/>
            <a:ext cx="2182379" cy="1920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7" name="Freeform 5"/>
          <p:cNvSpPr>
            <a:spLocks/>
          </p:cNvSpPr>
          <p:nvPr userDrawn="1"/>
        </p:nvSpPr>
        <p:spPr bwMode="auto">
          <a:xfrm flipH="1">
            <a:off x="4236" y="6635869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0648" tIns="45323" rIns="90648" bIns="45323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9" name="Freeform 5"/>
          <p:cNvSpPr>
            <a:spLocks/>
          </p:cNvSpPr>
          <p:nvPr userDrawn="1"/>
        </p:nvSpPr>
        <p:spPr bwMode="auto">
          <a:xfrm flipH="1">
            <a:off x="4236" y="3276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0648" tIns="45323" rIns="90648" bIns="45323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 userDrawn="1">
            <p:ph type="ctrTitle"/>
          </p:nvPr>
        </p:nvSpPr>
        <p:spPr>
          <a:xfrm>
            <a:off x="437853" y="2238434"/>
            <a:ext cx="6581329" cy="1292662"/>
          </a:xfrm>
          <a:prstGeom prst="rect">
            <a:avLst/>
          </a:prstGeom>
        </p:spPr>
        <p:txBody>
          <a:bodyPr/>
          <a:lstStyle>
            <a:lvl1pPr>
              <a:defRPr sz="4200" b="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dirty="0" smtClean="0"/>
              <a:t>Click </a:t>
            </a:r>
            <a:r>
              <a:rPr lang="pt-BR" noProof="0" dirty="0" err="1" smtClean="0"/>
              <a:t>to</a:t>
            </a:r>
            <a:r>
              <a:rPr lang="pt-BR" noProof="0" dirty="0" smtClean="0"/>
              <a:t> </a:t>
            </a:r>
            <a:r>
              <a:rPr lang="pt-BR" noProof="0" dirty="0" err="1" smtClean="0"/>
              <a:t>edit</a:t>
            </a:r>
            <a:r>
              <a:rPr lang="pt-BR" noProof="0" dirty="0" smtClean="0"/>
              <a:t> Master </a:t>
            </a:r>
            <a:r>
              <a:rPr lang="pt-BR" noProof="0" dirty="0" err="1" smtClean="0"/>
              <a:t>title</a:t>
            </a:r>
            <a:r>
              <a:rPr lang="pt-BR" noProof="0" dirty="0" smtClean="0"/>
              <a:t> </a:t>
            </a:r>
            <a:r>
              <a:rPr lang="pt-BR" noProof="0" dirty="0" err="1" smtClean="0"/>
              <a:t>style</a:t>
            </a:r>
            <a:endParaRPr lang="pt-BR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437852" y="3762851"/>
            <a:ext cx="6450496" cy="482639"/>
          </a:xfrm>
        </p:spPr>
        <p:txBody>
          <a:bodyPr wrap="square">
            <a:spAutoFit/>
          </a:bodyPr>
          <a:lstStyle>
            <a:lvl1pPr>
              <a:defRPr sz="310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smtClean="0"/>
              <a:t>Click to edit Master subtitle style</a:t>
            </a:r>
            <a:endParaRPr lang="pt-BR" noProof="0" dirty="0" smtClean="0"/>
          </a:p>
        </p:txBody>
      </p:sp>
      <p:grpSp>
        <p:nvGrpSpPr>
          <p:cNvPr id="25" name="Group 24"/>
          <p:cNvGrpSpPr/>
          <p:nvPr userDrawn="1"/>
        </p:nvGrpSpPr>
        <p:grpSpPr>
          <a:xfrm>
            <a:off x="8526083" y="2325895"/>
            <a:ext cx="3423031" cy="3656746"/>
            <a:chOff x="5526523" y="2325890"/>
            <a:chExt cx="3423032" cy="3656747"/>
          </a:xfrm>
        </p:grpSpPr>
        <p:sp>
          <p:nvSpPr>
            <p:cNvPr id="26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27" name="Group 26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28" name="Donut 27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29" name="Oval 28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0" name="Oval 29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44454394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13502394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04477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28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211678" y="230284"/>
            <a:ext cx="10903658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US" noProof="0" dirty="0" smtClean="0"/>
            </a:lvl1pPr>
          </a:lstStyle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</p:spTree>
    <p:extLst>
      <p:ext uri="{BB962C8B-B14F-4D97-AF65-F5344CB8AC3E}">
        <p14:creationId xmlns:p14="http://schemas.microsoft.com/office/powerpoint/2010/main" val="240269704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5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21502" y="359007"/>
            <a:ext cx="10306110" cy="307777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141601654"/>
      </p:ext>
    </p:extLst>
  </p:cSld>
  <p:clrMapOvr>
    <a:masterClrMapping/>
  </p:clrMapOvr>
</p:sldLayout>
</file>

<file path=ppt/slideLayouts/slideLayout75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519673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A02B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5042533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76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422137" y="349423"/>
            <a:ext cx="6749230" cy="254184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703"/>
              </a:lnSpc>
              <a:defRPr sz="4700">
                <a:solidFill>
                  <a:srgbClr val="18C3FF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r>
              <a:rPr lang="en-US" dirty="0" smtClean="0"/>
              <a:t>. LOREM IPSUM DOLOR SIT AMET HAS ID CIBO QUIDAM</a:t>
            </a:r>
            <a:endParaRPr lang="en-US" dirty="0"/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422137" y="3071971"/>
            <a:ext cx="6749230" cy="796308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592328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2328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2328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76192137"/>
      </p:ext>
    </p:extLst>
  </p:cSld>
  <p:clrMapOvr>
    <a:masterClrMapping/>
  </p:clrMapOvr>
</p:sldLayout>
</file>

<file path=ppt/slideLayouts/slideLayout7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4221557943"/>
      </p:ext>
    </p:extLst>
  </p:cSld>
  <p:clrMapOvr>
    <a:masterClrMapping/>
  </p:clrMapOvr>
</p:sldLayout>
</file>

<file path=ppt/slideLayouts/slideLayout76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60" y="1576"/>
          <a:ext cx="1555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05501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28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60" y="1576"/>
                        <a:ext cx="1555" cy="155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 userDrawn="1"/>
        </p:nvSpPr>
        <p:spPr>
          <a:xfrm>
            <a:off x="1" y="-58698"/>
            <a:ext cx="11949113" cy="186905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648" tIns="45323" rIns="90648" bIns="45323"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75605" y="228695"/>
            <a:ext cx="11491891" cy="30777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12078877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76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488778324"/>
      </p:ext>
    </p:extLst>
  </p:cSld>
  <p:clrMapOvr>
    <a:masterClrMapping/>
  </p:clrMapOvr>
</p:sldLayout>
</file>

<file path=ppt/slideLayouts/slideLayout7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8338992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7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2316236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7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8431093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7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5593672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7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1855513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7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EA288C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244044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4231429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7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6D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5439067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7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A02B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7261292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7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3114293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7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1125463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7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3255052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7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0472891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7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0399783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7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EA288C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3861430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7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6D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1912225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7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A02B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6531451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2182905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7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45" y="358960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42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45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435" indent="0">
              <a:buNone/>
              <a:defRPr sz="2700">
                <a:solidFill>
                  <a:schemeClr val="accent3"/>
                </a:solidFill>
              </a:defRPr>
            </a:lvl2pPr>
            <a:lvl3pPr marL="474363" indent="0">
              <a:buNone/>
              <a:defRPr sz="2700">
                <a:solidFill>
                  <a:schemeClr val="accent3"/>
                </a:solidFill>
              </a:defRPr>
            </a:lvl3pPr>
            <a:lvl4pPr marL="703296" indent="0">
              <a:buNone/>
              <a:defRPr sz="2700">
                <a:solidFill>
                  <a:schemeClr val="accent3"/>
                </a:solidFill>
              </a:defRPr>
            </a:lvl4pPr>
            <a:lvl5pPr marL="932232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3370456761"/>
      </p:ext>
    </p:extLst>
  </p:cSld>
  <p:clrMapOvr>
    <a:masterClrMapping/>
  </p:clrMapOvr>
</p:sldLayout>
</file>

<file path=ppt/slideLayouts/slideLayout7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42" y="1854632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75082463"/>
      </p:ext>
    </p:extLst>
  </p:cSld>
  <p:clrMapOvr>
    <a:masterClrMapping/>
  </p:clrMapOvr>
</p:sldLayout>
</file>

<file path=ppt/slideLayouts/slideLayout7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67149070"/>
      </p:ext>
    </p:extLst>
  </p:cSld>
  <p:clrMapOvr>
    <a:masterClrMapping/>
  </p:clrMapOvr>
</p:sldLayout>
</file>

<file path=ppt/slideLayouts/slideLayout7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80" y="1854632"/>
            <a:ext cx="5080446" cy="451832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854695"/>
            <a:ext cx="5080448" cy="451832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2045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435" indent="0">
              <a:buNone/>
              <a:defRPr sz="2700">
                <a:solidFill>
                  <a:schemeClr val="accent3"/>
                </a:solidFill>
              </a:defRPr>
            </a:lvl2pPr>
            <a:lvl3pPr marL="474363" indent="0">
              <a:buNone/>
              <a:defRPr sz="2700">
                <a:solidFill>
                  <a:schemeClr val="accent3"/>
                </a:solidFill>
              </a:defRPr>
            </a:lvl3pPr>
            <a:lvl4pPr marL="703296" indent="0">
              <a:buNone/>
              <a:defRPr sz="2700">
                <a:solidFill>
                  <a:schemeClr val="accent3"/>
                </a:solidFill>
              </a:defRPr>
            </a:lvl4pPr>
            <a:lvl5pPr marL="932232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422404434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7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9264786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7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12" y="358929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11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12" y="819634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6126" indent="0">
              <a:buNone/>
              <a:defRPr sz="2700">
                <a:solidFill>
                  <a:schemeClr val="accent3"/>
                </a:solidFill>
              </a:defRPr>
            </a:lvl2pPr>
            <a:lvl3pPr marL="475705" indent="0">
              <a:buNone/>
              <a:defRPr sz="2700">
                <a:solidFill>
                  <a:schemeClr val="accent3"/>
                </a:solidFill>
              </a:defRPr>
            </a:lvl3pPr>
            <a:lvl4pPr marL="705287" indent="0">
              <a:buNone/>
              <a:defRPr sz="2700">
                <a:solidFill>
                  <a:schemeClr val="accent3"/>
                </a:solidFill>
              </a:defRPr>
            </a:lvl4pPr>
            <a:lvl5pPr marL="934876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3712135135"/>
      </p:ext>
    </p:extLst>
  </p:cSld>
  <p:clrMapOvr>
    <a:masterClrMapping/>
  </p:clrMapOvr>
</p:sldLayout>
</file>

<file path=ppt/slideLayouts/slideLayout78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>
          <a:xfrm>
            <a:off x="597456" y="6229821"/>
            <a:ext cx="2788126" cy="357857"/>
          </a:xfrm>
          <a:prstGeom prst="rect">
            <a:avLst/>
          </a:prstGeom>
        </p:spPr>
        <p:txBody>
          <a:bodyPr lIns="91148" tIns="45575" rIns="91148" bIns="45575"/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>
          <a:xfrm>
            <a:off x="4082614" y="6229821"/>
            <a:ext cx="3783886" cy="357857"/>
          </a:xfrm>
          <a:prstGeom prst="rect">
            <a:avLst/>
          </a:prstGeom>
        </p:spPr>
        <p:txBody>
          <a:bodyPr lIns="91148" tIns="45575" rIns="91148" bIns="45575"/>
          <a:lstStyle/>
          <a:p>
            <a:endParaRPr lang="pt-BR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36217131"/>
      </p:ext>
    </p:extLst>
  </p:cSld>
  <p:clrMapOvr>
    <a:masterClrMapping/>
  </p:clrMapOvr>
</p:sldLayout>
</file>

<file path=ppt/slideLayouts/slideLayout78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a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6309188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8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5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 userDrawn="1"/>
        </p:nvSpPr>
        <p:spPr>
          <a:xfrm>
            <a:off x="9689506" y="3762877"/>
            <a:ext cx="1194911" cy="896197"/>
          </a:xfrm>
          <a:prstGeom prst="rect">
            <a:avLst/>
          </a:prstGeom>
        </p:spPr>
        <p:txBody>
          <a:bodyPr vert="horz" wrap="none" lIns="119387" tIns="59693" rIns="119387" bIns="59693" rtlCol="0" anchor="ctr">
            <a:noAutofit/>
          </a:bodyPr>
          <a:lstStyle/>
          <a:p>
            <a:pPr marL="373056" indent="-373056">
              <a:buFont typeface="Arial"/>
              <a:buChar char="•"/>
            </a:pPr>
            <a:endParaRPr lang="en-US" sz="2700" dirty="0">
              <a:solidFill>
                <a:srgbClr val="4D4D4D"/>
              </a:solidFill>
              <a:latin typeface="Simplon BP"/>
            </a:endParaRPr>
          </a:p>
        </p:txBody>
      </p:sp>
      <p:sp>
        <p:nvSpPr>
          <p:cNvPr id="13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422135" y="2848723"/>
            <a:ext cx="5577332" cy="1562434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596885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6885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6885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6885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  <p:sp>
        <p:nvSpPr>
          <p:cNvPr id="14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422135" y="1790555"/>
            <a:ext cx="4970423" cy="73342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596885" rtl="0" eaLnBrk="1" fontAlgn="auto" latinLnBrk="0" hangingPunct="1">
              <a:lnSpc>
                <a:spcPts val="2352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 cap="all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68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smtClean="0"/>
              <a:t>has </a:t>
            </a:r>
            <a:br>
              <a:rPr lang="en-US" dirty="0" smtClean="0"/>
            </a:br>
            <a:r>
              <a:rPr lang="en-US" dirty="0" smtClean="0"/>
              <a:t>id </a:t>
            </a:r>
            <a:r>
              <a:rPr lang="en-US" dirty="0" err="1" smtClean="0"/>
              <a:t>cibo</a:t>
            </a:r>
            <a:r>
              <a:rPr lang="en-US" dirty="0" smtClean="0"/>
              <a:t> </a:t>
            </a:r>
            <a:r>
              <a:rPr lang="en-US" dirty="0" err="1" smtClean="0"/>
              <a:t>quidam</a:t>
            </a:r>
            <a:r>
              <a:rPr lang="en-US" dirty="0" smtClean="0"/>
              <a:t> </a:t>
            </a:r>
            <a:r>
              <a:rPr lang="en-US" dirty="0" err="1" smtClean="0"/>
              <a:t>facilis</a:t>
            </a:r>
            <a:endParaRPr lang="en-US" dirty="0"/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422136" y="349336"/>
            <a:ext cx="4970421" cy="123378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703"/>
              </a:lnSpc>
              <a:defRPr sz="4700">
                <a:solidFill>
                  <a:srgbClr val="EA288C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</a:t>
            </a:r>
            <a:br>
              <a:rPr lang="en-US" dirty="0" smtClean="0"/>
            </a:br>
            <a:r>
              <a:rPr lang="en-US" dirty="0" smtClean="0"/>
              <a:t>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94408646"/>
      </p:ext>
    </p:extLst>
  </p:cSld>
  <p:clrMapOvr>
    <a:masterClrMapping/>
  </p:clrMapOvr>
</p:sldLayout>
</file>

<file path=ppt/slideLayouts/slideLayout78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4471872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878247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7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45" y="358960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42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45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435" indent="0">
              <a:buNone/>
              <a:defRPr sz="2700">
                <a:solidFill>
                  <a:schemeClr val="accent3"/>
                </a:solidFill>
              </a:defRPr>
            </a:lvl2pPr>
            <a:lvl3pPr marL="474363" indent="0">
              <a:buNone/>
              <a:defRPr sz="2700">
                <a:solidFill>
                  <a:schemeClr val="accent3"/>
                </a:solidFill>
              </a:defRPr>
            </a:lvl3pPr>
            <a:lvl4pPr marL="703296" indent="0">
              <a:buNone/>
              <a:defRPr sz="2700">
                <a:solidFill>
                  <a:schemeClr val="accent3"/>
                </a:solidFill>
              </a:defRPr>
            </a:lvl4pPr>
            <a:lvl5pPr marL="932232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123558941"/>
      </p:ext>
    </p:extLst>
  </p:cSld>
  <p:clrMapOvr>
    <a:masterClrMapping/>
  </p:clrMapOvr>
</p:sldLayout>
</file>

<file path=ppt/slideLayouts/slideLayout7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42" y="1854632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88071744"/>
      </p:ext>
    </p:extLst>
  </p:cSld>
  <p:clrMapOvr>
    <a:masterClrMapping/>
  </p:clrMapOvr>
</p:sldLayout>
</file>

<file path=ppt/slideLayouts/slideLayout7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70006353"/>
      </p:ext>
    </p:extLst>
  </p:cSld>
  <p:clrMapOvr>
    <a:masterClrMapping/>
  </p:clrMapOvr>
</p:sldLayout>
</file>

<file path=ppt/slideLayouts/slideLayout7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80" y="1854632"/>
            <a:ext cx="5080446" cy="451832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854695"/>
            <a:ext cx="5080448" cy="451832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2045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435" indent="0">
              <a:buNone/>
              <a:defRPr sz="2700">
                <a:solidFill>
                  <a:schemeClr val="accent3"/>
                </a:solidFill>
              </a:defRPr>
            </a:lvl2pPr>
            <a:lvl3pPr marL="474363" indent="0">
              <a:buNone/>
              <a:defRPr sz="2700">
                <a:solidFill>
                  <a:schemeClr val="accent3"/>
                </a:solidFill>
              </a:defRPr>
            </a:lvl3pPr>
            <a:lvl4pPr marL="703296" indent="0">
              <a:buNone/>
              <a:defRPr sz="2700">
                <a:solidFill>
                  <a:schemeClr val="accent3"/>
                </a:solidFill>
              </a:defRPr>
            </a:lvl4pPr>
            <a:lvl5pPr marL="932232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404804950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79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4205099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79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12" y="358929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11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12" y="819634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6126" indent="0">
              <a:buNone/>
              <a:defRPr sz="2700">
                <a:solidFill>
                  <a:schemeClr val="accent3"/>
                </a:solidFill>
              </a:defRPr>
            </a:lvl2pPr>
            <a:lvl3pPr marL="475705" indent="0">
              <a:buNone/>
              <a:defRPr sz="2700">
                <a:solidFill>
                  <a:schemeClr val="accent3"/>
                </a:solidFill>
              </a:defRPr>
            </a:lvl3pPr>
            <a:lvl4pPr marL="705287" indent="0">
              <a:buNone/>
              <a:defRPr sz="2700">
                <a:solidFill>
                  <a:schemeClr val="accent3"/>
                </a:solidFill>
              </a:defRPr>
            </a:lvl4pPr>
            <a:lvl5pPr marL="934876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995215971"/>
      </p:ext>
    </p:extLst>
  </p:cSld>
  <p:clrMapOvr>
    <a:masterClrMapping/>
  </p:clrMapOvr>
</p:sldLayout>
</file>

<file path=ppt/slideLayouts/slideLayout79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>
          <a:xfrm>
            <a:off x="597456" y="6229821"/>
            <a:ext cx="2788126" cy="357857"/>
          </a:xfrm>
          <a:prstGeom prst="rect">
            <a:avLst/>
          </a:prstGeom>
        </p:spPr>
        <p:txBody>
          <a:bodyPr lIns="91148" tIns="45575" rIns="91148" bIns="45575"/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>
          <a:xfrm>
            <a:off x="4082614" y="6229821"/>
            <a:ext cx="3783886" cy="357857"/>
          </a:xfrm>
          <a:prstGeom prst="rect">
            <a:avLst/>
          </a:prstGeom>
        </p:spPr>
        <p:txBody>
          <a:bodyPr lIns="91148" tIns="45575" rIns="91148" bIns="45575"/>
          <a:lstStyle/>
          <a:p>
            <a:endParaRPr lang="pt-BR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44104259"/>
      </p:ext>
    </p:extLst>
  </p:cSld>
  <p:clrMapOvr>
    <a:masterClrMapping/>
  </p:clrMapOvr>
</p:sldLayout>
</file>

<file path=ppt/slideLayouts/slideLayout79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a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8370928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9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5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 userDrawn="1"/>
        </p:nvSpPr>
        <p:spPr>
          <a:xfrm>
            <a:off x="9689506" y="3762877"/>
            <a:ext cx="1194911" cy="896197"/>
          </a:xfrm>
          <a:prstGeom prst="rect">
            <a:avLst/>
          </a:prstGeom>
        </p:spPr>
        <p:txBody>
          <a:bodyPr vert="horz" wrap="none" lIns="119387" tIns="59693" rIns="119387" bIns="59693" rtlCol="0" anchor="ctr">
            <a:noAutofit/>
          </a:bodyPr>
          <a:lstStyle/>
          <a:p>
            <a:pPr marL="373056" indent="-373056">
              <a:buFont typeface="Arial"/>
              <a:buChar char="•"/>
            </a:pPr>
            <a:endParaRPr lang="en-US" sz="2700" dirty="0">
              <a:solidFill>
                <a:srgbClr val="4D4D4D"/>
              </a:solidFill>
              <a:latin typeface="Simplon BP"/>
            </a:endParaRPr>
          </a:p>
        </p:txBody>
      </p:sp>
      <p:sp>
        <p:nvSpPr>
          <p:cNvPr id="13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422135" y="2848723"/>
            <a:ext cx="5577332" cy="1562434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596885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6885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6885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6885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  <p:sp>
        <p:nvSpPr>
          <p:cNvPr id="14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422135" y="1790555"/>
            <a:ext cx="4970423" cy="73342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596885" rtl="0" eaLnBrk="1" fontAlgn="auto" latinLnBrk="0" hangingPunct="1">
              <a:lnSpc>
                <a:spcPts val="2352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 cap="all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68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smtClean="0"/>
              <a:t>has </a:t>
            </a:r>
            <a:br>
              <a:rPr lang="en-US" dirty="0" smtClean="0"/>
            </a:br>
            <a:r>
              <a:rPr lang="en-US" dirty="0" smtClean="0"/>
              <a:t>id </a:t>
            </a:r>
            <a:r>
              <a:rPr lang="en-US" dirty="0" err="1" smtClean="0"/>
              <a:t>cibo</a:t>
            </a:r>
            <a:r>
              <a:rPr lang="en-US" dirty="0" smtClean="0"/>
              <a:t> </a:t>
            </a:r>
            <a:r>
              <a:rPr lang="en-US" dirty="0" err="1" smtClean="0"/>
              <a:t>quidam</a:t>
            </a:r>
            <a:r>
              <a:rPr lang="en-US" dirty="0" smtClean="0"/>
              <a:t> </a:t>
            </a:r>
            <a:r>
              <a:rPr lang="en-US" dirty="0" err="1" smtClean="0"/>
              <a:t>facilis</a:t>
            </a:r>
            <a:endParaRPr lang="en-US" dirty="0"/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422136" y="349336"/>
            <a:ext cx="4970421" cy="123378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703"/>
              </a:lnSpc>
              <a:defRPr sz="4700">
                <a:solidFill>
                  <a:srgbClr val="EA288C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</a:t>
            </a:r>
            <a:br>
              <a:rPr lang="en-US" dirty="0" smtClean="0"/>
            </a:br>
            <a:r>
              <a:rPr lang="en-US" dirty="0" smtClean="0"/>
              <a:t>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30209279"/>
      </p:ext>
    </p:extLst>
  </p:cSld>
  <p:clrMapOvr>
    <a:masterClrMapping/>
  </p:clrMapOvr>
</p:sldLayout>
</file>

<file path=ppt/slideLayouts/slideLayout79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2075753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2611932040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4470273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8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492596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8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3907885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8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6851145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8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6524795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8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8799266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8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EA288C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9727976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8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6D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7218253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8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A02B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6547078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8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2567218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8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0288135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1099502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8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7407064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8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6631163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8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8844532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8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EA288C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9662074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8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6D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0055958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8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A02B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4296238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8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158837" y="230189"/>
            <a:ext cx="10814529" cy="7053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baseline="0">
                <a:latin typeface="+mj-lt"/>
                <a:ea typeface="+mj-ea"/>
              </a:defRPr>
            </a:lvl1pPr>
          </a:lstStyle>
          <a:p>
            <a:pPr lvl="0"/>
            <a:r>
              <a:rPr lang="pt-PT" noProof="0" smtClean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92831615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29" y="358946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28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29" y="819634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767" indent="0">
              <a:buNone/>
              <a:defRPr sz="2700">
                <a:solidFill>
                  <a:schemeClr val="accent3"/>
                </a:solidFill>
              </a:defRPr>
            </a:lvl2pPr>
            <a:lvl3pPr marL="475008" indent="0">
              <a:buNone/>
              <a:defRPr sz="2700">
                <a:solidFill>
                  <a:schemeClr val="accent3"/>
                </a:solidFill>
              </a:defRPr>
            </a:lvl3pPr>
            <a:lvl4pPr marL="704252" indent="0">
              <a:buNone/>
              <a:defRPr sz="2700">
                <a:solidFill>
                  <a:schemeClr val="accent3"/>
                </a:solidFill>
              </a:defRPr>
            </a:lvl4pPr>
            <a:lvl5pPr marL="933501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23336437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29" y="358946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29" y="819634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767" indent="0">
              <a:buNone/>
              <a:defRPr sz="2700">
                <a:solidFill>
                  <a:schemeClr val="accent3"/>
                </a:solidFill>
              </a:defRPr>
            </a:lvl2pPr>
            <a:lvl3pPr marL="475008" indent="0">
              <a:buNone/>
              <a:defRPr sz="2700">
                <a:solidFill>
                  <a:schemeClr val="accent3"/>
                </a:solidFill>
              </a:defRPr>
            </a:lvl3pPr>
            <a:lvl4pPr marL="704252" indent="0">
              <a:buNone/>
              <a:defRPr sz="2700">
                <a:solidFill>
                  <a:schemeClr val="accent3"/>
                </a:solidFill>
              </a:defRPr>
            </a:lvl4pPr>
            <a:lvl5pPr marL="933501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425940697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29" y="358946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28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29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767" indent="0">
              <a:buNone/>
              <a:defRPr sz="2700">
                <a:solidFill>
                  <a:schemeClr val="accent3"/>
                </a:solidFill>
              </a:defRPr>
            </a:lvl2pPr>
            <a:lvl3pPr marL="475008" indent="0">
              <a:buNone/>
              <a:defRPr sz="2700">
                <a:solidFill>
                  <a:schemeClr val="accent3"/>
                </a:solidFill>
              </a:defRPr>
            </a:lvl3pPr>
            <a:lvl4pPr marL="704252" indent="0">
              <a:buNone/>
              <a:defRPr sz="2700">
                <a:solidFill>
                  <a:schemeClr val="accent3"/>
                </a:solidFill>
              </a:defRPr>
            </a:lvl4pPr>
            <a:lvl5pPr marL="933501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311369922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EA288C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8335039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8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28" y="1854632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673602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46621850"/>
              </p:ext>
            </p:extLst>
          </p:nvPr>
        </p:nvGraphicFramePr>
        <p:xfrm>
          <a:off x="2077" y="2077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15734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28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77" y="2077"/>
                        <a:ext cx="2074" cy="20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1315607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orytelling: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80" y="1854632"/>
            <a:ext cx="5080446" cy="451832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854679"/>
            <a:ext cx="5080448" cy="451832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2029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767" indent="0">
              <a:buNone/>
              <a:defRPr sz="2700">
                <a:solidFill>
                  <a:schemeClr val="accent3"/>
                </a:solidFill>
              </a:defRPr>
            </a:lvl2pPr>
            <a:lvl3pPr marL="475008" indent="0">
              <a:buNone/>
              <a:defRPr sz="2700">
                <a:solidFill>
                  <a:schemeClr val="accent3"/>
                </a:solidFill>
              </a:defRPr>
            </a:lvl3pPr>
            <a:lvl4pPr marL="704252" indent="0">
              <a:buNone/>
              <a:defRPr sz="2700">
                <a:solidFill>
                  <a:schemeClr val="accent3"/>
                </a:solidFill>
              </a:defRPr>
            </a:lvl4pPr>
            <a:lvl5pPr marL="933501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476925433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82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21504" y="6382745"/>
            <a:ext cx="1012745" cy="271470"/>
          </a:xfrm>
          <a:prstGeom prst="rect">
            <a:avLst/>
          </a:prstGeom>
        </p:spPr>
        <p:txBody>
          <a:bodyPr lIns="118970" tIns="59485" rIns="118970" bIns="59485"/>
          <a:lstStyle/>
          <a:p>
            <a:pPr defTabSz="594786" fontAlgn="auto">
              <a:spcBef>
                <a:spcPts val="0"/>
              </a:spcBef>
              <a:spcAft>
                <a:spcPts val="0"/>
              </a:spcAft>
            </a:pPr>
            <a:endParaRPr lang="en-US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06946370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2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96184" y="2088064"/>
            <a:ext cx="10156746" cy="1440761"/>
          </a:xfrm>
        </p:spPr>
        <p:txBody>
          <a:bodyPr/>
          <a:lstStyle/>
          <a:p>
            <a:r>
              <a:rPr lang="x-none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792368" y="3808836"/>
            <a:ext cx="8364379" cy="171771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460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921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382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78439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304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6765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2268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5687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x-none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597456" y="6229813"/>
            <a:ext cx="2788126" cy="357857"/>
          </a:xfrm>
          <a:prstGeom prst="rect">
            <a:avLst/>
          </a:prstGeom>
        </p:spPr>
        <p:txBody>
          <a:bodyPr lIns="118970" tIns="59485" rIns="118970" bIns="59485"/>
          <a:lstStyle/>
          <a:p>
            <a:pPr defTabSz="594786" fontAlgn="auto">
              <a:spcBef>
                <a:spcPts val="0"/>
              </a:spcBef>
              <a:spcAft>
                <a:spcPts val="0"/>
              </a:spcAft>
            </a:pPr>
            <a:endParaRPr lang="en-US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38436479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ó image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3181040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26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le &amp;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" name="Shape 66"/>
          <p:cNvSpPr>
            <a:spLocks noGrp="1"/>
          </p:cNvSpPr>
          <p:nvPr>
            <p:ph type="title"/>
          </p:nvPr>
        </p:nvSpPr>
        <p:spPr>
          <a:xfrm>
            <a:off x="875231" y="306320"/>
            <a:ext cx="10198755" cy="1487826"/>
          </a:xfrm>
          <a:prstGeom prst="rect">
            <a:avLst/>
          </a:prstGeom>
        </p:spPr>
        <p:txBody>
          <a:bodyPr/>
          <a:lstStyle>
            <a:lvl1pPr algn="l">
              <a:defRPr b="1">
                <a:latin typeface="Bebas Neue"/>
                <a:ea typeface="Bebas Neue"/>
                <a:cs typeface="Bebas Neue"/>
                <a:sym typeface="Bebas Neue"/>
              </a:defRPr>
            </a:lvl1pPr>
          </a:lstStyle>
          <a:p>
            <a:r>
              <a:t>Title Text</a:t>
            </a:r>
          </a:p>
        </p:txBody>
      </p:sp>
      <p:sp>
        <p:nvSpPr>
          <p:cNvPr id="67" name="Shape 67"/>
          <p:cNvSpPr>
            <a:spLocks noGrp="1"/>
          </p:cNvSpPr>
          <p:nvPr>
            <p:ph type="body" idx="1"/>
          </p:nvPr>
        </p:nvSpPr>
        <p:spPr>
          <a:xfrm>
            <a:off x="875231" y="1794143"/>
            <a:ext cx="10198755" cy="4332200"/>
          </a:xfrm>
          <a:prstGeom prst="rect">
            <a:avLst/>
          </a:prstGeom>
        </p:spPr>
        <p:txBody>
          <a:bodyPr/>
          <a:lstStyle>
            <a:lvl1pPr marL="339806" indent="-339806">
              <a:spcBef>
                <a:spcPts val="1075"/>
              </a:spcBef>
              <a:defRPr sz="2000" b="1">
                <a:latin typeface="Bebas Neue"/>
                <a:ea typeface="Bebas Neue"/>
                <a:cs typeface="Bebas Neue"/>
                <a:sym typeface="Bebas Neue"/>
              </a:defRPr>
            </a:lvl1pPr>
            <a:lvl2pPr>
              <a:spcBef>
                <a:spcPts val="1075"/>
              </a:spcBef>
              <a:defRPr sz="2000" b="1">
                <a:latin typeface="Bebas Neue"/>
                <a:ea typeface="Bebas Neue"/>
                <a:cs typeface="Bebas Neue"/>
                <a:sym typeface="Bebas Neue"/>
              </a:defRPr>
            </a:lvl2pPr>
            <a:lvl3pPr>
              <a:spcBef>
                <a:spcPts val="1075"/>
              </a:spcBef>
              <a:defRPr sz="2000" b="1">
                <a:latin typeface="Bebas Neue"/>
                <a:ea typeface="Bebas Neue"/>
                <a:cs typeface="Bebas Neue"/>
                <a:sym typeface="Bebas Neue"/>
              </a:defRPr>
            </a:lvl3pPr>
            <a:lvl4pPr>
              <a:spcBef>
                <a:spcPts val="1075"/>
              </a:spcBef>
              <a:defRPr sz="2000" b="1">
                <a:latin typeface="Bebas Neue"/>
                <a:ea typeface="Bebas Neue"/>
                <a:cs typeface="Bebas Neue"/>
                <a:sym typeface="Bebas Neue"/>
              </a:defRPr>
            </a:lvl4pPr>
            <a:lvl5pPr>
              <a:spcBef>
                <a:spcPts val="1075"/>
              </a:spcBef>
              <a:defRPr sz="2000" b="1">
                <a:latin typeface="Bebas Neue"/>
                <a:ea typeface="Bebas Neue"/>
                <a:cs typeface="Bebas Neue"/>
                <a:sym typeface="Bebas Neue"/>
              </a:defRPr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68" name="Shape 68"/>
          <p:cNvSpPr>
            <a:spLocks noGrp="1"/>
          </p:cNvSpPr>
          <p:nvPr>
            <p:ph type="sldNum" sz="quarter" idx="2"/>
          </p:nvPr>
        </p:nvSpPr>
        <p:spPr>
          <a:xfrm>
            <a:off x="5790830" y="6375777"/>
            <a:ext cx="355789" cy="295966"/>
          </a:xfrm>
          <a:prstGeom prst="rect">
            <a:avLst/>
          </a:prstGeom>
        </p:spPr>
        <p:txBody>
          <a:bodyPr lIns="91368" tIns="45684" rIns="91368" bIns="45684"/>
          <a:lstStyle/>
          <a:p>
            <a:fld id="{86CB4B4D-7CA3-9044-876B-883B54F8677D}" type="slidenum">
              <a:rPr>
                <a:solidFill>
                  <a:srgbClr val="5F5F5F"/>
                </a:solidFill>
                <a:latin typeface="Helvetica Light"/>
                <a:ea typeface="Helvetica Light"/>
                <a:cs typeface="Helvetica Light"/>
              </a:rPr>
              <a:pPr/>
              <a:t>‹nº›</a:t>
            </a:fld>
            <a:endParaRPr>
              <a:solidFill>
                <a:srgbClr val="5F5F5F"/>
              </a:solidFill>
              <a:latin typeface="Helvetica Light"/>
              <a:ea typeface="Helvetica Light"/>
              <a:cs typeface="Helvetica Light"/>
            </a:endParaRPr>
          </a:p>
        </p:txBody>
      </p:sp>
    </p:spTree>
    <p:extLst>
      <p:ext uri="{BB962C8B-B14F-4D97-AF65-F5344CB8AC3E}">
        <p14:creationId xmlns:p14="http://schemas.microsoft.com/office/powerpoint/2010/main" val="2295825964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Layout>
</file>

<file path=ppt/slideLayouts/slideLayout82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423790132"/>
      </p:ext>
    </p:extLst>
  </p:cSld>
  <p:clrMapOvr>
    <a:masterClrMapping/>
  </p:clrMapOvr>
</p:sldLayout>
</file>

<file path=ppt/slideLayouts/slideLayout8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29" y="358947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29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29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739" indent="0">
              <a:buNone/>
              <a:defRPr sz="2700">
                <a:solidFill>
                  <a:schemeClr val="accent3"/>
                </a:solidFill>
              </a:defRPr>
            </a:lvl2pPr>
            <a:lvl3pPr marL="474953" indent="0">
              <a:buNone/>
              <a:defRPr sz="2700">
                <a:solidFill>
                  <a:schemeClr val="accent3"/>
                </a:solidFill>
              </a:defRPr>
            </a:lvl3pPr>
            <a:lvl4pPr marL="704171" indent="0">
              <a:buNone/>
              <a:defRPr sz="2700">
                <a:solidFill>
                  <a:schemeClr val="accent3"/>
                </a:solidFill>
              </a:defRPr>
            </a:lvl4pPr>
            <a:lvl5pPr marL="933395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76547618"/>
      </p:ext>
    </p:extLst>
  </p:cSld>
  <p:clrMapOvr>
    <a:masterClrMapping/>
  </p:clrMapOvr>
</p:sldLayout>
</file>

<file path=ppt/slideLayouts/slideLayout8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29" y="1854632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306948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6D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7428916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8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97910860"/>
      </p:ext>
    </p:extLst>
  </p:cSld>
  <p:clrMapOvr>
    <a:masterClrMapping/>
  </p:clrMapOvr>
</p:sldLayout>
</file>

<file path=ppt/slideLayouts/slideLayout8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80" y="1854632"/>
            <a:ext cx="5080446" cy="451832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854681"/>
            <a:ext cx="5080448" cy="451832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2029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739" indent="0">
              <a:buNone/>
              <a:defRPr sz="2700">
                <a:solidFill>
                  <a:schemeClr val="accent3"/>
                </a:solidFill>
              </a:defRPr>
            </a:lvl2pPr>
            <a:lvl3pPr marL="474953" indent="0">
              <a:buNone/>
              <a:defRPr sz="2700">
                <a:solidFill>
                  <a:schemeClr val="accent3"/>
                </a:solidFill>
              </a:defRPr>
            </a:lvl3pPr>
            <a:lvl4pPr marL="704171" indent="0">
              <a:buNone/>
              <a:defRPr sz="2700">
                <a:solidFill>
                  <a:schemeClr val="accent3"/>
                </a:solidFill>
              </a:defRPr>
            </a:lvl4pPr>
            <a:lvl5pPr marL="933395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08788862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8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55" y="358973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55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55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185" indent="0">
              <a:buNone/>
              <a:defRPr sz="2700">
                <a:solidFill>
                  <a:schemeClr val="accent3"/>
                </a:solidFill>
              </a:defRPr>
            </a:lvl2pPr>
            <a:lvl3pPr marL="473881" indent="0">
              <a:buNone/>
              <a:defRPr sz="2700">
                <a:solidFill>
                  <a:schemeClr val="accent3"/>
                </a:solidFill>
              </a:defRPr>
            </a:lvl3pPr>
            <a:lvl4pPr marL="702579" indent="0">
              <a:buNone/>
              <a:defRPr sz="2700">
                <a:solidFill>
                  <a:schemeClr val="accent3"/>
                </a:solidFill>
              </a:defRPr>
            </a:lvl4pPr>
            <a:lvl5pPr marL="931282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3148916694"/>
      </p:ext>
    </p:extLst>
  </p:cSld>
  <p:clrMapOvr>
    <a:masterClrMapping/>
  </p:clrMapOvr>
</p:sldLayout>
</file>

<file path=ppt/slideLayouts/slideLayout8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55" y="1854632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28198212"/>
      </p:ext>
    </p:extLst>
  </p:cSld>
  <p:clrMapOvr>
    <a:masterClrMapping/>
  </p:clrMapOvr>
</p:sldLayout>
</file>

<file path=ppt/slideLayouts/slideLayout8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74026"/>
      </p:ext>
    </p:extLst>
  </p:cSld>
  <p:clrMapOvr>
    <a:masterClrMapping/>
  </p:clrMapOvr>
</p:sldLayout>
</file>

<file path=ppt/slideLayouts/slideLayout8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80" y="1854632"/>
            <a:ext cx="5080446" cy="451832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854708"/>
            <a:ext cx="5080448" cy="451832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2055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185" indent="0">
              <a:buNone/>
              <a:defRPr sz="2700">
                <a:solidFill>
                  <a:schemeClr val="accent3"/>
                </a:solidFill>
              </a:defRPr>
            </a:lvl2pPr>
            <a:lvl3pPr marL="473881" indent="0">
              <a:buNone/>
              <a:defRPr sz="2700">
                <a:solidFill>
                  <a:schemeClr val="accent3"/>
                </a:solidFill>
              </a:defRPr>
            </a:lvl3pPr>
            <a:lvl4pPr marL="702579" indent="0">
              <a:buNone/>
              <a:defRPr sz="2700">
                <a:solidFill>
                  <a:schemeClr val="accent3"/>
                </a:solidFill>
              </a:defRPr>
            </a:lvl4pPr>
            <a:lvl5pPr marL="931282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38566147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8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55" y="358973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55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55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185" indent="0">
              <a:buNone/>
              <a:defRPr sz="2700">
                <a:solidFill>
                  <a:schemeClr val="accent3"/>
                </a:solidFill>
              </a:defRPr>
            </a:lvl2pPr>
            <a:lvl3pPr marL="473881" indent="0">
              <a:buNone/>
              <a:defRPr sz="2700">
                <a:solidFill>
                  <a:schemeClr val="accent3"/>
                </a:solidFill>
              </a:defRPr>
            </a:lvl3pPr>
            <a:lvl4pPr marL="702579" indent="0">
              <a:buNone/>
              <a:defRPr sz="2700">
                <a:solidFill>
                  <a:schemeClr val="accent3"/>
                </a:solidFill>
              </a:defRPr>
            </a:lvl4pPr>
            <a:lvl5pPr marL="931282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524303043"/>
      </p:ext>
    </p:extLst>
  </p:cSld>
  <p:clrMapOvr>
    <a:masterClrMapping/>
  </p:clrMapOvr>
</p:sldLayout>
</file>

<file path=ppt/slideLayouts/slideLayout8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55" y="1854632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22499370"/>
      </p:ext>
    </p:extLst>
  </p:cSld>
  <p:clrMapOvr>
    <a:masterClrMapping/>
  </p:clrMapOvr>
</p:sldLayout>
</file>

<file path=ppt/slideLayouts/slideLayout8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96309997"/>
      </p:ext>
    </p:extLst>
  </p:cSld>
  <p:clrMapOvr>
    <a:masterClrMapping/>
  </p:clrMapOvr>
</p:sldLayout>
</file>

<file path=ppt/slideLayouts/slideLayout8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80" y="1854632"/>
            <a:ext cx="5080446" cy="451832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854708"/>
            <a:ext cx="5080448" cy="451832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2055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185" indent="0">
              <a:buNone/>
              <a:defRPr sz="2700">
                <a:solidFill>
                  <a:schemeClr val="accent3"/>
                </a:solidFill>
              </a:defRPr>
            </a:lvl2pPr>
            <a:lvl3pPr marL="473881" indent="0">
              <a:buNone/>
              <a:defRPr sz="2700">
                <a:solidFill>
                  <a:schemeClr val="accent3"/>
                </a:solidFill>
              </a:defRPr>
            </a:lvl3pPr>
            <a:lvl4pPr marL="702579" indent="0">
              <a:buNone/>
              <a:defRPr sz="2700">
                <a:solidFill>
                  <a:schemeClr val="accent3"/>
                </a:solidFill>
              </a:defRPr>
            </a:lvl4pPr>
            <a:lvl5pPr marL="931282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24342099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A02B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7288224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8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76" y="358993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75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76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4770" indent="0">
              <a:buNone/>
              <a:defRPr sz="2700">
                <a:solidFill>
                  <a:schemeClr val="accent3"/>
                </a:solidFill>
              </a:defRPr>
            </a:lvl2pPr>
            <a:lvl3pPr marL="473078" indent="0">
              <a:buNone/>
              <a:defRPr sz="2700">
                <a:solidFill>
                  <a:schemeClr val="accent3"/>
                </a:solidFill>
              </a:defRPr>
            </a:lvl3pPr>
            <a:lvl4pPr marL="701390" indent="0">
              <a:buNone/>
              <a:defRPr sz="2700">
                <a:solidFill>
                  <a:schemeClr val="accent3"/>
                </a:solidFill>
              </a:defRPr>
            </a:lvl4pPr>
            <a:lvl5pPr marL="929701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3196663043"/>
      </p:ext>
    </p:extLst>
  </p:cSld>
  <p:clrMapOvr>
    <a:masterClrMapping/>
  </p:clrMapOvr>
</p:sldLayout>
</file>

<file path=ppt/slideLayouts/slideLayout8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75" y="1854632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3939834"/>
      </p:ext>
    </p:extLst>
  </p:cSld>
  <p:clrMapOvr>
    <a:masterClrMapping/>
  </p:clrMapOvr>
</p:sldLayout>
</file>

<file path=ppt/slideLayouts/slideLayout8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49814946"/>
      </p:ext>
    </p:extLst>
  </p:cSld>
  <p:clrMapOvr>
    <a:masterClrMapping/>
  </p:clrMapOvr>
</p:sldLayout>
</file>

<file path=ppt/slideLayouts/slideLayout8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80" y="1854632"/>
            <a:ext cx="5080446" cy="451832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854726"/>
            <a:ext cx="5080448" cy="451832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2076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4770" indent="0">
              <a:buNone/>
              <a:defRPr sz="2700">
                <a:solidFill>
                  <a:schemeClr val="accent3"/>
                </a:solidFill>
              </a:defRPr>
            </a:lvl2pPr>
            <a:lvl3pPr marL="473078" indent="0">
              <a:buNone/>
              <a:defRPr sz="2700">
                <a:solidFill>
                  <a:schemeClr val="accent3"/>
                </a:solidFill>
              </a:defRPr>
            </a:lvl3pPr>
            <a:lvl4pPr marL="701390" indent="0">
              <a:buNone/>
              <a:defRPr sz="2700">
                <a:solidFill>
                  <a:schemeClr val="accent3"/>
                </a:solidFill>
              </a:defRPr>
            </a:lvl4pPr>
            <a:lvl5pPr marL="929701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352699519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8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72" y="358989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71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72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4853" indent="0">
              <a:buNone/>
              <a:defRPr sz="2700">
                <a:solidFill>
                  <a:schemeClr val="accent3"/>
                </a:solidFill>
              </a:defRPr>
            </a:lvl2pPr>
            <a:lvl3pPr marL="473238" indent="0">
              <a:buNone/>
              <a:defRPr sz="2700">
                <a:solidFill>
                  <a:schemeClr val="accent3"/>
                </a:solidFill>
              </a:defRPr>
            </a:lvl3pPr>
            <a:lvl4pPr marL="701625" indent="0">
              <a:buNone/>
              <a:defRPr sz="2700">
                <a:solidFill>
                  <a:schemeClr val="accent3"/>
                </a:solidFill>
              </a:defRPr>
            </a:lvl4pPr>
            <a:lvl5pPr marL="930018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222736594"/>
      </p:ext>
    </p:extLst>
  </p:cSld>
  <p:clrMapOvr>
    <a:masterClrMapping/>
  </p:clrMapOvr>
</p:sldLayout>
</file>

<file path=ppt/slideLayouts/slideLayout8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71" y="1854632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84439541"/>
      </p:ext>
    </p:extLst>
  </p:cSld>
  <p:clrMapOvr>
    <a:masterClrMapping/>
  </p:clrMapOvr>
</p:sldLayout>
</file>

<file path=ppt/slideLayouts/slideLayout8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19018499"/>
      </p:ext>
    </p:extLst>
  </p:cSld>
  <p:clrMapOvr>
    <a:masterClrMapping/>
  </p:clrMapOvr>
</p:sldLayout>
</file>

<file path=ppt/slideLayouts/slideLayout8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80" y="1854632"/>
            <a:ext cx="5080446" cy="451832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854723"/>
            <a:ext cx="5080448" cy="451832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2072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4853" indent="0">
              <a:buNone/>
              <a:defRPr sz="2700">
                <a:solidFill>
                  <a:schemeClr val="accent3"/>
                </a:solidFill>
              </a:defRPr>
            </a:lvl2pPr>
            <a:lvl3pPr marL="473238" indent="0">
              <a:buNone/>
              <a:defRPr sz="2700">
                <a:solidFill>
                  <a:schemeClr val="accent3"/>
                </a:solidFill>
              </a:defRPr>
            </a:lvl3pPr>
            <a:lvl4pPr marL="701625" indent="0">
              <a:buNone/>
              <a:defRPr sz="2700">
                <a:solidFill>
                  <a:schemeClr val="accent3"/>
                </a:solidFill>
              </a:defRPr>
            </a:lvl4pPr>
            <a:lvl5pPr marL="930018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95890333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8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38663239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22879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257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 userDrawn="1"/>
        </p:nvSpPr>
        <p:spPr bwMode="auto">
          <a:xfrm>
            <a:off x="437849" y="131210"/>
            <a:ext cx="88165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1194042" eaLnBrk="1" hangingPunct="1">
              <a:defRPr/>
            </a:pPr>
            <a:r>
              <a:rPr lang="pt-BR" sz="800" b="1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WORKING DRAFT</a:t>
            </a:r>
            <a:endParaRPr lang="pt-BR" sz="800" b="1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256937" y="36518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defTabSz="1194042" eaLnBrk="1" hangingPunct="1">
              <a:defRPr/>
            </a:pPr>
            <a:endParaRPr lang="pt-BR" sz="800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 userDrawn="1"/>
        </p:nvSpPr>
        <p:spPr bwMode="auto">
          <a:xfrm>
            <a:off x="437874" y="286784"/>
            <a:ext cx="3069751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1194042"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 userDrawn="1"/>
        </p:nvSpPr>
        <p:spPr bwMode="auto">
          <a:xfrm>
            <a:off x="437851" y="443945"/>
            <a:ext cx="270106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1194042"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8" name="McK Title Elements" hidden="1"/>
          <p:cNvGrpSpPr>
            <a:grpSpLocks/>
          </p:cNvGrpSpPr>
          <p:nvPr userDrawn="1"/>
        </p:nvGrpSpPr>
        <p:grpSpPr bwMode="auto">
          <a:xfrm>
            <a:off x="5" y="25"/>
            <a:ext cx="11944879" cy="6723063"/>
            <a:chOff x="0" y="0"/>
            <a:chExt cx="5643" cy="4235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207" y="3361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1194042"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ocument typ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207" y="3550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1194042"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at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1" name="McK Disclaimer"/>
            <p:cNvSpPr>
              <a:spLocks noChangeArrowheads="1"/>
            </p:cNvSpPr>
            <p:nvPr/>
          </p:nvSpPr>
          <p:spPr bwMode="auto">
            <a:xfrm>
              <a:off x="207" y="3963"/>
              <a:ext cx="3226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804091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CONFIDENTIAL</a:t>
              </a:r>
              <a:r>
                <a:rPr lang="pt-BR" sz="800" dirty="0" smtClean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AND</a:t>
              </a:r>
              <a:r>
                <a:rPr lang="pt-BR" sz="800" dirty="0" smtClean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PROPRIETARY</a:t>
              </a:r>
              <a:endParaRPr lang="pt-BR" sz="800" dirty="0" smtClean="0">
                <a:solidFill>
                  <a:srgbClr val="000000"/>
                </a:solidFill>
                <a:latin typeface="Arial"/>
                <a:cs typeface="Arial" panose="020B0604020202020204" pitchFamily="34" charset="0"/>
                <a:sym typeface="Arial" panose="020B0604020202020204" pitchFamily="34" charset="0"/>
              </a:endParaRPr>
            </a:p>
            <a:p>
              <a:pPr defTabSz="804091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Any</a:t>
              </a:r>
              <a:r>
                <a:rPr lang="pt-BR" sz="800" dirty="0" smtClean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 use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this</a:t>
              </a:r>
              <a:r>
                <a:rPr lang="pt-BR" sz="800" dirty="0" smtClean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 material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without</a:t>
              </a:r>
              <a:r>
                <a:rPr lang="pt-BR" sz="800" dirty="0" smtClean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specific</a:t>
              </a:r>
              <a:r>
                <a:rPr lang="pt-BR" sz="800" dirty="0" smtClean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permission</a:t>
              </a:r>
              <a:r>
                <a:rPr lang="pt-BR" sz="800" dirty="0" smtClean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 McKinsey &amp;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Company</a:t>
              </a:r>
              <a:r>
                <a:rPr lang="pt-BR" sz="800" dirty="0" smtClean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is</a:t>
              </a:r>
              <a:r>
                <a:rPr lang="pt-BR" sz="800" dirty="0" smtClean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strictly</a:t>
              </a:r>
              <a:r>
                <a:rPr lang="pt-BR" sz="800" dirty="0" smtClean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prohibited</a:t>
              </a:r>
              <a:endParaRPr lang="pt-BR" sz="800" dirty="0">
                <a:solidFill>
                  <a:srgbClr val="000000"/>
                </a:solidFill>
                <a:latin typeface="Arial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2" name="TitleBottomPlaceholder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1194042"/>
              <a:endParaRPr lang="pt-BR" dirty="0">
                <a:solidFill>
                  <a:srgbClr val="000000"/>
                </a:solidFill>
                <a:latin typeface="Arial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3" name="TitleTopPlaceholder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1194042"/>
              <a:endParaRPr lang="pt-BR" dirty="0">
                <a:solidFill>
                  <a:srgbClr val="000000"/>
                </a:solidFill>
                <a:latin typeface="Arial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Rectangle 1189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1194042"/>
              <a:endParaRPr lang="pt-BR" dirty="0">
                <a:solidFill>
                  <a:srgbClr val="000000"/>
                </a:solidFill>
                <a:latin typeface="Arial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pic>
        <p:nvPicPr>
          <p:cNvPr id="18" name="TitleBottomBarBW" hidden="1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65672" y="6443669"/>
            <a:ext cx="2182379" cy="1920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7" name="Freeform 5"/>
          <p:cNvSpPr>
            <a:spLocks/>
          </p:cNvSpPr>
          <p:nvPr userDrawn="1"/>
        </p:nvSpPr>
        <p:spPr bwMode="auto">
          <a:xfrm flipH="1">
            <a:off x="4236" y="6635780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346" tIns="45674" rIns="91346" bIns="45674" numCol="1" anchor="t" anchorCtr="0" compatLnSpc="1">
            <a:prstTxWarp prst="textNoShape">
              <a:avLst/>
            </a:prstTxWarp>
          </a:bodyPr>
          <a:lstStyle/>
          <a:p>
            <a:pPr defTabSz="1194042"/>
            <a:endParaRPr lang="pt-BR" dirty="0">
              <a:solidFill>
                <a:srgbClr val="000000"/>
              </a:solidFill>
              <a:latin typeface="Arial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9" name="Freeform 5"/>
          <p:cNvSpPr>
            <a:spLocks/>
          </p:cNvSpPr>
          <p:nvPr userDrawn="1"/>
        </p:nvSpPr>
        <p:spPr bwMode="auto">
          <a:xfrm flipH="1">
            <a:off x="4236" y="3188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346" tIns="45674" rIns="91346" bIns="45674" numCol="1" anchor="t" anchorCtr="0" compatLnSpc="1">
            <a:prstTxWarp prst="textNoShape">
              <a:avLst/>
            </a:prstTxWarp>
          </a:bodyPr>
          <a:lstStyle/>
          <a:p>
            <a:pPr defTabSz="1194042"/>
            <a:endParaRPr lang="pt-BR" dirty="0">
              <a:solidFill>
                <a:srgbClr val="000000"/>
              </a:solidFill>
              <a:latin typeface="Arial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 userDrawn="1">
            <p:ph type="ctrTitle"/>
          </p:nvPr>
        </p:nvSpPr>
        <p:spPr>
          <a:xfrm>
            <a:off x="437853" y="2238434"/>
            <a:ext cx="6581329" cy="1292662"/>
          </a:xfrm>
          <a:prstGeom prst="rect">
            <a:avLst/>
          </a:prstGeom>
        </p:spPr>
        <p:txBody>
          <a:bodyPr/>
          <a:lstStyle>
            <a:lvl1pPr>
              <a:defRPr sz="4200" b="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dirty="0" smtClean="0"/>
              <a:t>Click </a:t>
            </a:r>
            <a:r>
              <a:rPr lang="pt-BR" noProof="0" dirty="0" err="1" smtClean="0"/>
              <a:t>to</a:t>
            </a:r>
            <a:r>
              <a:rPr lang="pt-BR" noProof="0" dirty="0" smtClean="0"/>
              <a:t> </a:t>
            </a:r>
            <a:r>
              <a:rPr lang="pt-BR" noProof="0" dirty="0" err="1" smtClean="0"/>
              <a:t>edit</a:t>
            </a:r>
            <a:r>
              <a:rPr lang="pt-BR" noProof="0" dirty="0" smtClean="0"/>
              <a:t> Master </a:t>
            </a:r>
            <a:r>
              <a:rPr lang="pt-BR" noProof="0" dirty="0" err="1" smtClean="0"/>
              <a:t>title</a:t>
            </a:r>
            <a:r>
              <a:rPr lang="pt-BR" noProof="0" dirty="0" smtClean="0"/>
              <a:t> </a:t>
            </a:r>
            <a:r>
              <a:rPr lang="pt-BR" noProof="0" dirty="0" err="1" smtClean="0"/>
              <a:t>style</a:t>
            </a:r>
            <a:endParaRPr lang="pt-BR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437852" y="3762851"/>
            <a:ext cx="6450496" cy="482639"/>
          </a:xfrm>
        </p:spPr>
        <p:txBody>
          <a:bodyPr wrap="square">
            <a:spAutoFit/>
          </a:bodyPr>
          <a:lstStyle>
            <a:lvl1pPr>
              <a:defRPr sz="310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smtClean="0"/>
              <a:t>Click to edit Master subtitle style</a:t>
            </a:r>
            <a:endParaRPr lang="pt-BR" noProof="0" dirty="0" smtClean="0"/>
          </a:p>
        </p:txBody>
      </p:sp>
      <p:grpSp>
        <p:nvGrpSpPr>
          <p:cNvPr id="25" name="Group 24"/>
          <p:cNvGrpSpPr/>
          <p:nvPr userDrawn="1"/>
        </p:nvGrpSpPr>
        <p:grpSpPr>
          <a:xfrm>
            <a:off x="8526083" y="2325895"/>
            <a:ext cx="3423031" cy="3656746"/>
            <a:chOff x="5526523" y="2325890"/>
            <a:chExt cx="3423032" cy="3656747"/>
          </a:xfrm>
        </p:grpSpPr>
        <p:sp>
          <p:nvSpPr>
            <p:cNvPr id="26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194042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27" name="Group 26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28" name="Donut 27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194042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29" name="Oval 28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194042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0" name="Oval 29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194042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14141607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52822876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23903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257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211678" y="230197"/>
            <a:ext cx="10903658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US" noProof="0" dirty="0" smtClean="0"/>
            </a:lvl1pPr>
          </a:lstStyle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</p:spTree>
    <p:extLst>
      <p:ext uri="{BB962C8B-B14F-4D97-AF65-F5344CB8AC3E}">
        <p14:creationId xmlns:p14="http://schemas.microsoft.com/office/powerpoint/2010/main" val="228906008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84" y="359001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83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84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4604" indent="0">
              <a:buNone/>
              <a:defRPr sz="2700">
                <a:solidFill>
                  <a:schemeClr val="accent3"/>
                </a:solidFill>
              </a:defRPr>
            </a:lvl2pPr>
            <a:lvl3pPr marL="472756" indent="0">
              <a:buNone/>
              <a:defRPr sz="2700">
                <a:solidFill>
                  <a:schemeClr val="accent3"/>
                </a:solidFill>
              </a:defRPr>
            </a:lvl3pPr>
            <a:lvl4pPr marL="700913" indent="0">
              <a:buNone/>
              <a:defRPr sz="2700">
                <a:solidFill>
                  <a:schemeClr val="accent3"/>
                </a:solidFill>
              </a:defRPr>
            </a:lvl4pPr>
            <a:lvl5pPr marL="929070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02989260"/>
      </p:ext>
    </p:extLst>
  </p:cSld>
  <p:clrMapOvr>
    <a:masterClrMapping/>
  </p:clrMapOvr>
</p:sldLayout>
</file>

<file path=ppt/slideLayouts/slideLayout8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21502" y="358918"/>
            <a:ext cx="10306110" cy="307777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08850955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5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27477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85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422137" y="349336"/>
            <a:ext cx="6749230" cy="254184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703"/>
              </a:lnSpc>
              <a:defRPr sz="4700">
                <a:solidFill>
                  <a:srgbClr val="18C3FF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r>
              <a:rPr lang="en-US" dirty="0" smtClean="0"/>
              <a:t>. LOREM IPSUM DOLOR SIT AMET HAS ID CIBO QUIDAM</a:t>
            </a:r>
            <a:endParaRPr lang="en-US" dirty="0"/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422137" y="3071971"/>
            <a:ext cx="6749230" cy="796308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596864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6864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6864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9354874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70473896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5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60" y="1576"/>
          <a:ext cx="1555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24927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25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60" y="1576"/>
                        <a:ext cx="1555" cy="155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 userDrawn="1"/>
        </p:nvSpPr>
        <p:spPr>
          <a:xfrm>
            <a:off x="1" y="-58698"/>
            <a:ext cx="11949113" cy="186905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46" tIns="45674" rIns="91346" bIns="45674" rtlCol="0" anchor="ctr"/>
          <a:lstStyle/>
          <a:p>
            <a:pPr algn="ctr" defTabSz="1194042"/>
            <a:endParaRPr lang="en-US">
              <a:solidFill>
                <a:srgbClr val="FFFFFF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75518" y="228608"/>
            <a:ext cx="11491891" cy="30777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92529602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85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2650998309"/>
      </p:ext>
    </p:extLst>
  </p:cSld>
  <p:clrMapOvr>
    <a:masterClrMapping/>
  </p:clrMapOvr>
</p:sldLayout>
</file>

<file path=ppt/slideLayouts/slideLayout8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i Indi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pt-PT" dirty="0" smtClean="0"/>
              <a:t>Índice</a:t>
            </a:r>
            <a:endParaRPr lang="en-US" dirty="0"/>
          </a:p>
        </p:txBody>
      </p:sp>
      <p:sp>
        <p:nvSpPr>
          <p:cNvPr id="10" name="Title 22"/>
          <p:cNvSpPr txBox="1">
            <a:spLocks/>
          </p:cNvSpPr>
          <p:nvPr userDrawn="1"/>
        </p:nvSpPr>
        <p:spPr>
          <a:xfrm>
            <a:off x="6287747" y="358896"/>
            <a:ext cx="5049390" cy="607312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 anchorCtr="0"/>
          <a:lstStyle>
            <a:lvl1pPr algn="l" defTabSz="457200" rtl="0" eaLnBrk="1" latinLnBrk="0" hangingPunct="1">
              <a:lnSpc>
                <a:spcPts val="6800"/>
              </a:lnSpc>
              <a:spcBef>
                <a:spcPts val="3300"/>
              </a:spcBef>
              <a:buNone/>
              <a:defRPr sz="6600" b="0" i="1" kern="1200" baseline="0">
                <a:solidFill>
                  <a:schemeClr val="tx1"/>
                </a:solidFill>
                <a:latin typeface="Georgia"/>
                <a:ea typeface="+mj-ea"/>
                <a:cs typeface="Georgia"/>
              </a:defRPr>
            </a:lvl1pPr>
          </a:lstStyle>
          <a:p>
            <a:pPr fontAlgn="auto">
              <a:lnSpc>
                <a:spcPts val="5487"/>
              </a:lnSpc>
              <a:spcBef>
                <a:spcPts val="0"/>
              </a:spcBef>
              <a:spcAft>
                <a:spcPts val="0"/>
              </a:spcAft>
            </a:pPr>
            <a:r>
              <a:rPr lang="pt-BR" sz="2700" i="0" dirty="0" smtClean="0">
                <a:solidFill>
                  <a:srgbClr val="9F37FE"/>
                </a:solidFill>
                <a:latin typeface="Simplon BP Bold"/>
                <a:cs typeface="Simplon BP Bold"/>
              </a:rPr>
              <a:t>SUMÁRIO EXECUTIVO</a:t>
            </a:r>
            <a:endParaRPr lang="en-US" sz="2700" i="0" dirty="0">
              <a:solidFill>
                <a:srgbClr val="9F37FE"/>
              </a:solidFill>
              <a:latin typeface="Simplon BP Bold"/>
              <a:cs typeface="Simplon BP Bold"/>
            </a:endParaRP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611982" y="1383713"/>
            <a:ext cx="5080447" cy="4156583"/>
          </a:xfrm>
        </p:spPr>
        <p:txBody>
          <a:bodyPr/>
          <a:lstStyle>
            <a:lvl1pPr marL="0" indent="0">
              <a:buNone/>
              <a:defRPr/>
            </a:lvl1pPr>
            <a:lvl2pPr marL="246740" indent="0">
              <a:buNone/>
              <a:defRPr/>
            </a:lvl2pPr>
            <a:lvl3pPr marL="476895" indent="0">
              <a:buNone/>
              <a:defRPr/>
            </a:lvl3pPr>
            <a:lvl4pPr marL="707051" indent="0">
              <a:buNone/>
              <a:defRPr/>
            </a:lvl4pPr>
            <a:lvl5pPr marL="937204" indent="0">
              <a:buNone/>
              <a:defRPr/>
            </a:lvl5pPr>
          </a:lstStyle>
          <a:p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,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consectetuer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dipiscing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lit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,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sed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diam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nonummy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nibh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uismod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tincidunt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ut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aoreet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dolore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magna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liquam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rat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volutpat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.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Ut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wisi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nim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ad minim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veniam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,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quis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nostrud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xerci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tation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ullamcorper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suscipit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bortis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nisl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ut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liquip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ex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a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commodo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consequat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. </a:t>
            </a:r>
            <a:endParaRPr lang="en-US" sz="1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3" hasCustomPrompt="1"/>
          </p:nvPr>
        </p:nvSpPr>
        <p:spPr>
          <a:xfrm>
            <a:off x="6287808" y="1383713"/>
            <a:ext cx="5049330" cy="4156583"/>
          </a:xfrm>
        </p:spPr>
        <p:txBody>
          <a:bodyPr/>
          <a:lstStyle>
            <a:lvl1pPr marL="0" indent="0">
              <a:buNone/>
              <a:defRPr sz="2700"/>
            </a:lvl1pPr>
            <a:lvl2pPr marL="246740" indent="0">
              <a:buNone/>
              <a:defRPr sz="2700"/>
            </a:lvl2pPr>
            <a:lvl3pPr marL="476895" indent="0">
              <a:buNone/>
              <a:defRPr sz="2700"/>
            </a:lvl3pPr>
            <a:lvl4pPr marL="707051" indent="0">
              <a:buNone/>
              <a:defRPr sz="2700"/>
            </a:lvl4pPr>
            <a:lvl5pPr marL="937204" indent="0">
              <a:buNone/>
              <a:defRPr sz="2700"/>
            </a:lvl5pPr>
          </a:lstStyle>
          <a:p>
            <a:pPr lvl="0"/>
            <a:r>
              <a:rPr lang="pt-PT" dirty="0" smtClean="0"/>
              <a:t>3. </a:t>
            </a:r>
            <a:r>
              <a:rPr lang="pt-PT" dirty="0" err="1" smtClean="0"/>
              <a:t>Impsu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endParaRPr lang="pt-PT" dirty="0" smtClean="0"/>
          </a:p>
          <a:p>
            <a:pPr lvl="0"/>
            <a:r>
              <a:rPr lang="pt-PT" dirty="0" smtClean="0"/>
              <a:t>5.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endParaRPr lang="pt-PT" dirty="0" smtClean="0"/>
          </a:p>
          <a:p>
            <a:pPr lvl="0"/>
            <a:r>
              <a:rPr lang="pt-PT" dirty="0" smtClean="0"/>
              <a:t>10. </a:t>
            </a:r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endParaRPr lang="pt-PT" dirty="0" smtClean="0"/>
          </a:p>
          <a:p>
            <a:pPr lvl="0"/>
            <a:r>
              <a:rPr lang="pt-PT" dirty="0" smtClean="0"/>
              <a:t>15. </a:t>
            </a:r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1" name="TextBox 10"/>
          <p:cNvSpPr txBox="1"/>
          <p:nvPr userDrawn="1"/>
        </p:nvSpPr>
        <p:spPr>
          <a:xfrm>
            <a:off x="611979" y="5852782"/>
            <a:ext cx="3574719" cy="470497"/>
          </a:xfrm>
          <a:prstGeom prst="rect">
            <a:avLst/>
          </a:prstGeom>
          <a:noFill/>
        </p:spPr>
        <p:txBody>
          <a:bodyPr wrap="none" lIns="47020" tIns="47020" rIns="47020" bIns="47020" rtlCol="0" anchor="ctr" anchorCtr="0">
            <a:noAutofit/>
          </a:bodyPr>
          <a:lstStyle/>
          <a:p>
            <a:pPr defTabSz="597158" fontAlgn="auto">
              <a:lnSpc>
                <a:spcPts val="2352"/>
              </a:lnSpc>
              <a:spcBef>
                <a:spcPts val="0"/>
              </a:spcBef>
              <a:spcAft>
                <a:spcPts val="0"/>
              </a:spcAft>
            </a:pPr>
            <a:r>
              <a:rPr lang="pt-BR" sz="2700" dirty="0" smtClean="0">
                <a:solidFill>
                  <a:srgbClr val="9F37FE"/>
                </a:solidFill>
                <a:latin typeface="Simplon BP" charset="0"/>
                <a:ea typeface="Simplon BP" charset="0"/>
                <a:cs typeface="Simplon BP" charset="0"/>
              </a:rPr>
              <a:t>TOTAL DE SLIDES:</a:t>
            </a:r>
            <a:endParaRPr lang="en-US" sz="2700" dirty="0" smtClean="0">
              <a:solidFill>
                <a:srgbClr val="9F37FE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13" name="Text Placeholder 16"/>
          <p:cNvSpPr>
            <a:spLocks noGrp="1"/>
          </p:cNvSpPr>
          <p:nvPr>
            <p:ph type="body" sz="quarter" idx="14" hasCustomPrompt="1"/>
          </p:nvPr>
        </p:nvSpPr>
        <p:spPr>
          <a:xfrm>
            <a:off x="3810046" y="5852782"/>
            <a:ext cx="753042" cy="470497"/>
          </a:xfrm>
          <a:noFill/>
        </p:spPr>
        <p:txBody>
          <a:bodyPr wrap="none" lIns="47020" tIns="47020" rIns="47020" bIns="47020" rtlCol="0" anchor="ctr" anchorCtr="0">
            <a:noAutofit/>
          </a:bodyPr>
          <a:lstStyle>
            <a:lvl1pPr marL="0" indent="0">
              <a:buNone/>
              <a:defRPr lang="en-US" sz="2700" dirty="0">
                <a:solidFill>
                  <a:schemeClr val="accent1"/>
                </a:solidFill>
                <a:latin typeface="Simplon BP" charset="0"/>
                <a:ea typeface="Simplon BP" charset="0"/>
                <a:cs typeface="Simplon BP" charset="0"/>
              </a:defRPr>
            </a:lvl1pPr>
          </a:lstStyle>
          <a:p>
            <a:pPr marL="0" lvl="0">
              <a:lnSpc>
                <a:spcPts val="2352"/>
              </a:lnSpc>
              <a:spcAft>
                <a:spcPts val="0"/>
              </a:spcAft>
            </a:pPr>
            <a:r>
              <a:rPr lang="pt-PT" dirty="0" smtClean="0"/>
              <a:t>##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6375339"/>
      </p:ext>
    </p:extLst>
  </p:cSld>
  <p:clrMapOvr>
    <a:masterClrMapping/>
  </p:clrMapOvr>
</p:sldLayout>
</file>

<file path=ppt/slideLayouts/slideLayout8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I Titulo Corpo later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1982" y="358894"/>
            <a:ext cx="5069337" cy="6014060"/>
          </a:xfrm>
        </p:spPr>
        <p:txBody>
          <a:bodyPr/>
          <a:lstStyle>
            <a:lvl1pPr marL="0" marR="0" indent="0" algn="l" defTabSz="597158" rtl="0" eaLnBrk="1" fontAlgn="auto" latinLnBrk="0" hangingPunct="1">
              <a:lnSpc>
                <a:spcPts val="5487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r>
              <a:rPr lang="pt-PT" dirty="0" smtClean="0"/>
              <a:t>Título </a:t>
            </a:r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DOLOR SIT AMET CONSECTETOR LOREM IPSUM INSERIR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256694" y="358894"/>
            <a:ext cx="5080447" cy="601406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6284716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8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I Titulo Corpo Lateral Destaq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1982" y="358894"/>
            <a:ext cx="5069337" cy="6014060"/>
          </a:xfrm>
        </p:spPr>
        <p:txBody>
          <a:bodyPr/>
          <a:lstStyle>
            <a:lvl1pPr marL="0" marR="0" indent="0" algn="l" defTabSz="597158" rtl="0" eaLnBrk="1" fontAlgn="auto" latinLnBrk="0" hangingPunct="1">
              <a:lnSpc>
                <a:spcPts val="5487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r>
              <a:rPr lang="pt-PT" dirty="0" smtClean="0"/>
              <a:t>Título </a:t>
            </a:r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DOLOR SIT AMET CONSECTETOR LOREM IPSUM INSERIR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2" hasCustomPrompt="1"/>
          </p:nvPr>
        </p:nvSpPr>
        <p:spPr>
          <a:xfrm>
            <a:off x="6256691" y="358894"/>
            <a:ext cx="5094969" cy="6014060"/>
          </a:xfrm>
        </p:spPr>
        <p:txBody>
          <a:bodyPr/>
          <a:lstStyle>
            <a:lvl1pPr marL="304801" indent="-304801">
              <a:buFont typeface="Arial" charset="0"/>
              <a:buChar char="•"/>
              <a:tabLst/>
              <a:defRPr sz="2700">
                <a:solidFill>
                  <a:schemeClr val="tx1"/>
                </a:solidFill>
              </a:defRPr>
            </a:lvl1pPr>
            <a:lvl2pPr>
              <a:defRPr sz="2700"/>
            </a:lvl2pPr>
            <a:lvl3pPr>
              <a:defRPr sz="2700"/>
            </a:lvl3pPr>
            <a:lvl4pPr>
              <a:defRPr sz="2700"/>
            </a:lvl4pPr>
            <a:lvl5pPr>
              <a:defRPr sz="2700"/>
            </a:lvl5pPr>
          </a:lstStyle>
          <a:p>
            <a:pPr lvl="0"/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 </a:t>
            </a:r>
            <a:r>
              <a:rPr lang="pt-PT" dirty="0" err="1" smtClean="0"/>
              <a:t>ips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 </a:t>
            </a:r>
            <a:r>
              <a:rPr lang="pt-PT" dirty="0" err="1" smtClean="0"/>
              <a:t>lorem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lorem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Amet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.</a:t>
            </a:r>
          </a:p>
          <a:p>
            <a:pPr lvl="0"/>
            <a:endParaRPr lang="pt-PT" dirty="0" smtClean="0"/>
          </a:p>
        </p:txBody>
      </p:sp>
    </p:spTree>
    <p:extLst>
      <p:ext uri="{BB962C8B-B14F-4D97-AF65-F5344CB8AC3E}">
        <p14:creationId xmlns:p14="http://schemas.microsoft.com/office/powerpoint/2010/main" val="119705821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2744">
          <p15:clr>
            <a:srgbClr val="FBAE40"/>
          </p15:clr>
        </p15:guide>
        <p15:guide id="2" pos="3016">
          <p15:clr>
            <a:srgbClr val="FBAE40"/>
          </p15:clr>
        </p15:guide>
      </p15:sldGuideLst>
    </p:ext>
  </p:extLst>
</p:sldLayout>
</file>

<file path=ppt/slideLayouts/slideLayout8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63383971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29011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24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 userDrawn="1"/>
        </p:nvSpPr>
        <p:spPr bwMode="auto">
          <a:xfrm>
            <a:off x="437849" y="131294"/>
            <a:ext cx="88165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pt-BR" sz="800" b="1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WORKING DRAFT</a:t>
            </a:r>
            <a:endParaRPr lang="pt-BR" sz="800" b="1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256937" y="36518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pt-BR" sz="800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 userDrawn="1"/>
        </p:nvSpPr>
        <p:spPr bwMode="auto">
          <a:xfrm>
            <a:off x="437874" y="286867"/>
            <a:ext cx="3069751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 userDrawn="1"/>
        </p:nvSpPr>
        <p:spPr bwMode="auto">
          <a:xfrm>
            <a:off x="437851" y="444027"/>
            <a:ext cx="270106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8" name="McK Title Elements" hidden="1"/>
          <p:cNvGrpSpPr>
            <a:grpSpLocks/>
          </p:cNvGrpSpPr>
          <p:nvPr userDrawn="1"/>
        </p:nvGrpSpPr>
        <p:grpSpPr bwMode="auto">
          <a:xfrm>
            <a:off x="5" y="110"/>
            <a:ext cx="11944879" cy="6723063"/>
            <a:chOff x="0" y="0"/>
            <a:chExt cx="5643" cy="4235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207" y="3361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ocument typ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207" y="3550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at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1" name="McK Disclaimer"/>
            <p:cNvSpPr>
              <a:spLocks noChangeArrowheads="1"/>
            </p:cNvSpPr>
            <p:nvPr/>
          </p:nvSpPr>
          <p:spPr bwMode="auto">
            <a:xfrm>
              <a:off x="207" y="3963"/>
              <a:ext cx="3226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798301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NFIDENTIAL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D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PRIETARY</a:t>
              </a:r>
              <a:endParaRPr lang="pt-BR" sz="80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  <a:p>
              <a:pPr defTabSz="798301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use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his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aterial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without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pecific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ermission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cKinsey &amp;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mpan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is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trictl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hibited</a:t>
              </a:r>
              <a:endParaRPr lang="pt-BR" sz="8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2" name="TitleBottomPlaceholder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3" name="TitleTopPlaceholder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Rectangle 1189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pic>
        <p:nvPicPr>
          <p:cNvPr id="18" name="TitleBottomBarBW" hidden="1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65754" y="6443669"/>
            <a:ext cx="2182379" cy="1920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7" name="Freeform 5"/>
          <p:cNvSpPr>
            <a:spLocks/>
          </p:cNvSpPr>
          <p:nvPr userDrawn="1"/>
        </p:nvSpPr>
        <p:spPr bwMode="auto">
          <a:xfrm flipH="1">
            <a:off x="4236" y="6635865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0678" tIns="45339" rIns="90678" bIns="45339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9" name="Freeform 5"/>
          <p:cNvSpPr>
            <a:spLocks/>
          </p:cNvSpPr>
          <p:nvPr userDrawn="1"/>
        </p:nvSpPr>
        <p:spPr bwMode="auto">
          <a:xfrm flipH="1">
            <a:off x="4236" y="3272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0678" tIns="45339" rIns="90678" bIns="45339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 userDrawn="1">
            <p:ph type="ctrTitle"/>
          </p:nvPr>
        </p:nvSpPr>
        <p:spPr>
          <a:xfrm>
            <a:off x="437853" y="2238434"/>
            <a:ext cx="6581329" cy="1292662"/>
          </a:xfrm>
          <a:prstGeom prst="rect">
            <a:avLst/>
          </a:prstGeom>
        </p:spPr>
        <p:txBody>
          <a:bodyPr/>
          <a:lstStyle>
            <a:lvl1pPr>
              <a:defRPr sz="4200" b="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dirty="0" smtClean="0"/>
              <a:t>Click </a:t>
            </a:r>
            <a:r>
              <a:rPr lang="pt-BR" noProof="0" dirty="0" err="1" smtClean="0"/>
              <a:t>to</a:t>
            </a:r>
            <a:r>
              <a:rPr lang="pt-BR" noProof="0" dirty="0" smtClean="0"/>
              <a:t> </a:t>
            </a:r>
            <a:r>
              <a:rPr lang="pt-BR" noProof="0" dirty="0" err="1" smtClean="0"/>
              <a:t>edit</a:t>
            </a:r>
            <a:r>
              <a:rPr lang="pt-BR" noProof="0" dirty="0" smtClean="0"/>
              <a:t> Master </a:t>
            </a:r>
            <a:r>
              <a:rPr lang="pt-BR" noProof="0" dirty="0" err="1" smtClean="0"/>
              <a:t>title</a:t>
            </a:r>
            <a:r>
              <a:rPr lang="pt-BR" noProof="0" dirty="0" smtClean="0"/>
              <a:t> </a:t>
            </a:r>
            <a:r>
              <a:rPr lang="pt-BR" noProof="0" dirty="0" err="1" smtClean="0"/>
              <a:t>style</a:t>
            </a:r>
            <a:endParaRPr lang="pt-BR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437852" y="3762851"/>
            <a:ext cx="6450496" cy="482639"/>
          </a:xfrm>
        </p:spPr>
        <p:txBody>
          <a:bodyPr wrap="square">
            <a:spAutoFit/>
          </a:bodyPr>
          <a:lstStyle>
            <a:lvl1pPr>
              <a:defRPr sz="310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smtClean="0"/>
              <a:t>Click to edit Master subtitle style</a:t>
            </a:r>
            <a:endParaRPr lang="pt-BR" noProof="0" dirty="0" smtClean="0"/>
          </a:p>
        </p:txBody>
      </p:sp>
      <p:grpSp>
        <p:nvGrpSpPr>
          <p:cNvPr id="25" name="Group 24"/>
          <p:cNvGrpSpPr/>
          <p:nvPr userDrawn="1"/>
        </p:nvGrpSpPr>
        <p:grpSpPr>
          <a:xfrm>
            <a:off x="8526083" y="2325895"/>
            <a:ext cx="3423031" cy="3656746"/>
            <a:chOff x="5526523" y="2325890"/>
            <a:chExt cx="3423032" cy="3656747"/>
          </a:xfrm>
        </p:grpSpPr>
        <p:sp>
          <p:nvSpPr>
            <p:cNvPr id="26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27" name="Group 26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28" name="Donut 27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29" name="Oval 28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0" name="Oval 29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4039115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83" y="1854632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6476820"/>
      </p:ext>
    </p:extLst>
  </p:cSld>
  <p:clrMapOvr>
    <a:masterClrMapping/>
  </p:clrMapOvr>
</p:sldLayout>
</file>

<file path=ppt/slideLayouts/slideLayout8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84823812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30035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24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211678" y="230280"/>
            <a:ext cx="10903658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US" noProof="0" dirty="0" smtClean="0"/>
            </a:lvl1pPr>
          </a:lstStyle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</p:spTree>
    <p:extLst>
      <p:ext uri="{BB962C8B-B14F-4D97-AF65-F5344CB8AC3E}">
        <p14:creationId xmlns:p14="http://schemas.microsoft.com/office/powerpoint/2010/main" val="134056355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6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21502" y="359003"/>
            <a:ext cx="10306110" cy="307777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818263774"/>
      </p:ext>
    </p:extLst>
  </p:cSld>
  <p:clrMapOvr>
    <a:masterClrMapping/>
  </p:clrMapOvr>
</p:sldLayout>
</file>

<file path=ppt/slideLayouts/slideLayout86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279018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86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422137" y="349421"/>
            <a:ext cx="6749230" cy="254184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703"/>
              </a:lnSpc>
              <a:defRPr sz="4700">
                <a:solidFill>
                  <a:srgbClr val="18C3FF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r>
              <a:rPr lang="en-US" dirty="0" smtClean="0"/>
              <a:t>. LOREM IPSUM DOLOR SIT AMET HAS ID CIBO QUIDAM</a:t>
            </a:r>
            <a:endParaRPr lang="en-US" dirty="0"/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422137" y="3071971"/>
            <a:ext cx="6749230" cy="796308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592532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2532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2532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44160396"/>
      </p:ext>
    </p:extLst>
  </p:cSld>
  <p:clrMapOvr>
    <a:masterClrMapping/>
  </p:clrMapOvr>
</p:sldLayout>
</file>

<file path=ppt/slideLayouts/slideLayout8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3482391650"/>
      </p:ext>
    </p:extLst>
  </p:cSld>
  <p:clrMapOvr>
    <a:masterClrMapping/>
  </p:clrMapOvr>
</p:sldLayout>
</file>

<file path=ppt/slideLayouts/slideLayout86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60" y="1576"/>
          <a:ext cx="1555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31059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24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60" y="1576"/>
                        <a:ext cx="1555" cy="155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 userDrawn="1"/>
        </p:nvSpPr>
        <p:spPr>
          <a:xfrm>
            <a:off x="1" y="-58698"/>
            <a:ext cx="11949113" cy="186905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678" tIns="45339" rIns="90678" bIns="45339"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75601" y="228691"/>
            <a:ext cx="11491891" cy="30777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97068338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86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284887335"/>
      </p:ext>
    </p:extLst>
  </p:cSld>
  <p:clrMapOvr>
    <a:masterClrMapping/>
  </p:clrMapOvr>
</p:sldLayout>
</file>

<file path=ppt/slideLayouts/slideLayout86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5153988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8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9329394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8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7995604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2708572"/>
      </p:ext>
    </p:extLst>
  </p:cSld>
  <p:clrMapOvr>
    <a:masterClrMapping/>
  </p:clrMapOvr>
</p:sldLayout>
</file>

<file path=ppt/slideLayouts/slideLayout8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0740183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8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9373443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8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7947813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8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EA288C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5241928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8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6D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5853333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8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A02B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0537061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8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59" y="358977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59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59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102" indent="0">
              <a:buNone/>
              <a:defRPr sz="2700">
                <a:solidFill>
                  <a:schemeClr val="accent3"/>
                </a:solidFill>
              </a:defRPr>
            </a:lvl2pPr>
            <a:lvl3pPr marL="473721" indent="0">
              <a:buNone/>
              <a:defRPr sz="2700">
                <a:solidFill>
                  <a:schemeClr val="accent3"/>
                </a:solidFill>
              </a:defRPr>
            </a:lvl3pPr>
            <a:lvl4pPr marL="702342" indent="0">
              <a:buNone/>
              <a:defRPr sz="2700">
                <a:solidFill>
                  <a:schemeClr val="accent3"/>
                </a:solidFill>
              </a:defRPr>
            </a:lvl4pPr>
            <a:lvl5pPr marL="930968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3020496070"/>
      </p:ext>
    </p:extLst>
  </p:cSld>
  <p:clrMapOvr>
    <a:masterClrMapping/>
  </p:clrMapOvr>
</p:sldLayout>
</file>

<file path=ppt/slideLayouts/slideLayout8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59" y="1854632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6044685"/>
      </p:ext>
    </p:extLst>
  </p:cSld>
  <p:clrMapOvr>
    <a:masterClrMapping/>
  </p:clrMapOvr>
</p:sldLayout>
</file>

<file path=ppt/slideLayouts/slideLayout8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18742534"/>
      </p:ext>
    </p:extLst>
  </p:cSld>
  <p:clrMapOvr>
    <a:masterClrMapping/>
  </p:clrMapOvr>
</p:sldLayout>
</file>

<file path=ppt/slideLayouts/slideLayout8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80" y="1854632"/>
            <a:ext cx="5080446" cy="451832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854712"/>
            <a:ext cx="5080448" cy="451832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2059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102" indent="0">
              <a:buNone/>
              <a:defRPr sz="2700">
                <a:solidFill>
                  <a:schemeClr val="accent3"/>
                </a:solidFill>
              </a:defRPr>
            </a:lvl2pPr>
            <a:lvl3pPr marL="473721" indent="0">
              <a:buNone/>
              <a:defRPr sz="2700">
                <a:solidFill>
                  <a:schemeClr val="accent3"/>
                </a:solidFill>
              </a:defRPr>
            </a:lvl3pPr>
            <a:lvl4pPr marL="702342" indent="0">
              <a:buNone/>
              <a:defRPr sz="2700">
                <a:solidFill>
                  <a:schemeClr val="accent3"/>
                </a:solidFill>
              </a:defRPr>
            </a:lvl4pPr>
            <a:lvl5pPr marL="930968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6642451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80" y="1854632"/>
            <a:ext cx="5080446" cy="451832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854734"/>
            <a:ext cx="5080448" cy="451832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2084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4604" indent="0">
              <a:buNone/>
              <a:defRPr sz="2700">
                <a:solidFill>
                  <a:schemeClr val="accent3"/>
                </a:solidFill>
              </a:defRPr>
            </a:lvl2pPr>
            <a:lvl3pPr marL="472756" indent="0">
              <a:buNone/>
              <a:defRPr sz="2700">
                <a:solidFill>
                  <a:schemeClr val="accent3"/>
                </a:solidFill>
              </a:defRPr>
            </a:lvl3pPr>
            <a:lvl4pPr marL="700913" indent="0">
              <a:buNone/>
              <a:defRPr sz="2700">
                <a:solidFill>
                  <a:schemeClr val="accent3"/>
                </a:solidFill>
              </a:defRPr>
            </a:lvl4pPr>
            <a:lvl5pPr marL="929070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98430343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8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5196758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8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578185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8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827453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8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861275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8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516218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8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EA288C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5187545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8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6D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0176740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8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A02B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8141967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8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85940985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39248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24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 userDrawn="1"/>
        </p:nvSpPr>
        <p:spPr bwMode="auto">
          <a:xfrm>
            <a:off x="437849" y="131294"/>
            <a:ext cx="88165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pt-BR" sz="800" b="1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WORKING DRAFT</a:t>
            </a:r>
            <a:endParaRPr lang="pt-BR" sz="800" b="1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256937" y="36518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pt-BR" sz="800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 userDrawn="1"/>
        </p:nvSpPr>
        <p:spPr bwMode="auto">
          <a:xfrm>
            <a:off x="437874" y="286867"/>
            <a:ext cx="3069751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 userDrawn="1"/>
        </p:nvSpPr>
        <p:spPr bwMode="auto">
          <a:xfrm>
            <a:off x="437851" y="444027"/>
            <a:ext cx="270106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8" name="McK Title Elements" hidden="1"/>
          <p:cNvGrpSpPr>
            <a:grpSpLocks/>
          </p:cNvGrpSpPr>
          <p:nvPr userDrawn="1"/>
        </p:nvGrpSpPr>
        <p:grpSpPr bwMode="auto">
          <a:xfrm>
            <a:off x="5" y="110"/>
            <a:ext cx="11944879" cy="6723063"/>
            <a:chOff x="0" y="0"/>
            <a:chExt cx="5643" cy="4235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207" y="3361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ocument typ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207" y="3550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at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1" name="McK Disclaimer"/>
            <p:cNvSpPr>
              <a:spLocks noChangeArrowheads="1"/>
            </p:cNvSpPr>
            <p:nvPr/>
          </p:nvSpPr>
          <p:spPr bwMode="auto">
            <a:xfrm>
              <a:off x="207" y="3963"/>
              <a:ext cx="3226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798301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NFIDENTIAL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D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PRIETARY</a:t>
              </a:r>
              <a:endParaRPr lang="pt-BR" sz="80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  <a:p>
              <a:pPr defTabSz="798301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use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his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aterial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without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pecific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ermission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cKinsey &amp;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mpan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is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trictl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hibited</a:t>
              </a:r>
              <a:endParaRPr lang="pt-BR" sz="8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2" name="TitleBottomPlaceholder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3" name="TitleTopPlaceholder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Rectangle 1189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pic>
        <p:nvPicPr>
          <p:cNvPr id="18" name="TitleBottomBarBW" hidden="1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65754" y="6443669"/>
            <a:ext cx="2182379" cy="1920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7" name="Freeform 5"/>
          <p:cNvSpPr>
            <a:spLocks/>
          </p:cNvSpPr>
          <p:nvPr userDrawn="1"/>
        </p:nvSpPr>
        <p:spPr bwMode="auto">
          <a:xfrm flipH="1">
            <a:off x="4236" y="6635865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0678" tIns="45339" rIns="90678" bIns="45339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9" name="Freeform 5"/>
          <p:cNvSpPr>
            <a:spLocks/>
          </p:cNvSpPr>
          <p:nvPr userDrawn="1"/>
        </p:nvSpPr>
        <p:spPr bwMode="auto">
          <a:xfrm flipH="1">
            <a:off x="4236" y="3272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0678" tIns="45339" rIns="90678" bIns="45339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 userDrawn="1">
            <p:ph type="ctrTitle"/>
          </p:nvPr>
        </p:nvSpPr>
        <p:spPr>
          <a:xfrm>
            <a:off x="437853" y="2238434"/>
            <a:ext cx="6581329" cy="1292662"/>
          </a:xfrm>
          <a:prstGeom prst="rect">
            <a:avLst/>
          </a:prstGeom>
        </p:spPr>
        <p:txBody>
          <a:bodyPr/>
          <a:lstStyle>
            <a:lvl1pPr>
              <a:defRPr sz="4200" b="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dirty="0" smtClean="0"/>
              <a:t>Click </a:t>
            </a:r>
            <a:r>
              <a:rPr lang="pt-BR" noProof="0" dirty="0" err="1" smtClean="0"/>
              <a:t>to</a:t>
            </a:r>
            <a:r>
              <a:rPr lang="pt-BR" noProof="0" dirty="0" smtClean="0"/>
              <a:t> </a:t>
            </a:r>
            <a:r>
              <a:rPr lang="pt-BR" noProof="0" dirty="0" err="1" smtClean="0"/>
              <a:t>edit</a:t>
            </a:r>
            <a:r>
              <a:rPr lang="pt-BR" noProof="0" dirty="0" smtClean="0"/>
              <a:t> Master </a:t>
            </a:r>
            <a:r>
              <a:rPr lang="pt-BR" noProof="0" dirty="0" err="1" smtClean="0"/>
              <a:t>title</a:t>
            </a:r>
            <a:r>
              <a:rPr lang="pt-BR" noProof="0" dirty="0" smtClean="0"/>
              <a:t> </a:t>
            </a:r>
            <a:r>
              <a:rPr lang="pt-BR" noProof="0" dirty="0" err="1" smtClean="0"/>
              <a:t>style</a:t>
            </a:r>
            <a:endParaRPr lang="pt-BR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437852" y="3762851"/>
            <a:ext cx="6450496" cy="482639"/>
          </a:xfrm>
        </p:spPr>
        <p:txBody>
          <a:bodyPr wrap="square">
            <a:spAutoFit/>
          </a:bodyPr>
          <a:lstStyle>
            <a:lvl1pPr>
              <a:defRPr sz="310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smtClean="0"/>
              <a:t>Click to edit Master subtitle style</a:t>
            </a:r>
            <a:endParaRPr lang="pt-BR" noProof="0" dirty="0" smtClean="0"/>
          </a:p>
        </p:txBody>
      </p:sp>
      <p:grpSp>
        <p:nvGrpSpPr>
          <p:cNvPr id="25" name="Group 24"/>
          <p:cNvGrpSpPr/>
          <p:nvPr userDrawn="1"/>
        </p:nvGrpSpPr>
        <p:grpSpPr>
          <a:xfrm>
            <a:off x="8526083" y="2325895"/>
            <a:ext cx="3423031" cy="3656746"/>
            <a:chOff x="5526523" y="2325890"/>
            <a:chExt cx="3423032" cy="3656747"/>
          </a:xfrm>
        </p:grpSpPr>
        <p:sp>
          <p:nvSpPr>
            <p:cNvPr id="26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27" name="Group 26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28" name="Donut 27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29" name="Oval 28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0" name="Oval 29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53738771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92490387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40272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24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211678" y="230280"/>
            <a:ext cx="10903658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US" noProof="0" dirty="0" smtClean="0"/>
            </a:lvl1pPr>
          </a:lstStyle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</p:spTree>
    <p:extLst>
      <p:ext uri="{BB962C8B-B14F-4D97-AF65-F5344CB8AC3E}">
        <p14:creationId xmlns:p14="http://schemas.microsoft.com/office/powerpoint/2010/main" val="146992798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9401375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89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21502" y="359003"/>
            <a:ext cx="10306110" cy="307777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461318969"/>
      </p:ext>
    </p:extLst>
  </p:cSld>
  <p:clrMapOvr>
    <a:masterClrMapping/>
  </p:clrMapOvr>
</p:sldLayout>
</file>

<file path=ppt/slideLayouts/slideLayout89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628730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89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422137" y="349421"/>
            <a:ext cx="6749230" cy="254184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703"/>
              </a:lnSpc>
              <a:defRPr sz="4700">
                <a:solidFill>
                  <a:srgbClr val="18C3FF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r>
              <a:rPr lang="en-US" dirty="0" smtClean="0"/>
              <a:t>. LOREM IPSUM DOLOR SIT AMET HAS ID CIBO QUIDAM</a:t>
            </a:r>
            <a:endParaRPr lang="en-US" dirty="0"/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422137" y="3071971"/>
            <a:ext cx="6749230" cy="796308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592532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2532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2532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99749645"/>
      </p:ext>
    </p:extLst>
  </p:cSld>
  <p:clrMapOvr>
    <a:masterClrMapping/>
  </p:clrMapOvr>
</p:sldLayout>
</file>

<file path=ppt/slideLayouts/slideLayout8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3164738128"/>
      </p:ext>
    </p:extLst>
  </p:cSld>
  <p:clrMapOvr>
    <a:masterClrMapping/>
  </p:clrMapOvr>
</p:sldLayout>
</file>

<file path=ppt/slideLayouts/slideLayout89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60" y="1576"/>
          <a:ext cx="1555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41296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24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60" y="1576"/>
                        <a:ext cx="1555" cy="155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 userDrawn="1"/>
        </p:nvSpPr>
        <p:spPr>
          <a:xfrm>
            <a:off x="1" y="-58698"/>
            <a:ext cx="11949113" cy="186905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678" tIns="45339" rIns="90678" bIns="45339"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75601" y="228691"/>
            <a:ext cx="11491891" cy="30777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40280365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89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3142944648"/>
      </p:ext>
    </p:extLst>
  </p:cSld>
  <p:clrMapOvr>
    <a:masterClrMapping/>
  </p:clrMapOvr>
</p:sldLayout>
</file>

<file path=ppt/slideLayouts/slideLayout8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8826685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8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3826662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8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4832099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8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630844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i Indi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pt-PT" dirty="0"/>
              <a:t>Índice</a:t>
            </a:r>
            <a:endParaRPr lang="en-US" dirty="0"/>
          </a:p>
        </p:txBody>
      </p:sp>
      <p:sp>
        <p:nvSpPr>
          <p:cNvPr id="10" name="Title 22"/>
          <p:cNvSpPr txBox="1">
            <a:spLocks/>
          </p:cNvSpPr>
          <p:nvPr userDrawn="1"/>
        </p:nvSpPr>
        <p:spPr>
          <a:xfrm>
            <a:off x="6287747" y="358896"/>
            <a:ext cx="5049390" cy="607312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 anchorCtr="0"/>
          <a:lstStyle>
            <a:lvl1pPr algn="l" defTabSz="457200" rtl="0" eaLnBrk="1" latinLnBrk="0" hangingPunct="1">
              <a:lnSpc>
                <a:spcPts val="6800"/>
              </a:lnSpc>
              <a:spcBef>
                <a:spcPts val="3300"/>
              </a:spcBef>
              <a:buNone/>
              <a:defRPr sz="6600" b="0" i="1" kern="1200" baseline="0">
                <a:solidFill>
                  <a:schemeClr val="tx1"/>
                </a:solidFill>
                <a:latin typeface="Georgia"/>
                <a:ea typeface="+mj-ea"/>
                <a:cs typeface="Georgia"/>
              </a:defRPr>
            </a:lvl1pPr>
          </a:lstStyle>
          <a:p>
            <a:pPr fontAlgn="auto">
              <a:lnSpc>
                <a:spcPts val="5486"/>
              </a:lnSpc>
              <a:spcBef>
                <a:spcPts val="0"/>
              </a:spcBef>
              <a:spcAft>
                <a:spcPts val="0"/>
              </a:spcAft>
            </a:pPr>
            <a:r>
              <a:rPr lang="pt-BR" sz="2700" i="0" dirty="0">
                <a:solidFill>
                  <a:srgbClr val="9F37FE"/>
                </a:solidFill>
                <a:latin typeface="Simplon BP Bold"/>
                <a:cs typeface="Simplon BP Bold"/>
              </a:rPr>
              <a:t>SUMÁRIO EXECUTIVO</a:t>
            </a:r>
            <a:endParaRPr lang="en-US" sz="2700" i="0" dirty="0">
              <a:solidFill>
                <a:srgbClr val="9F37FE"/>
              </a:solidFill>
              <a:latin typeface="Simplon BP Bold"/>
              <a:cs typeface="Simplon BP Bold"/>
            </a:endParaRP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612105" y="1383731"/>
            <a:ext cx="5080447" cy="4156583"/>
          </a:xfrm>
        </p:spPr>
        <p:txBody>
          <a:bodyPr/>
          <a:lstStyle>
            <a:lvl1pPr marL="0" indent="0">
              <a:buNone/>
              <a:defRPr/>
            </a:lvl1pPr>
            <a:lvl2pPr marL="244576" indent="0">
              <a:buNone/>
              <a:defRPr/>
            </a:lvl2pPr>
            <a:lvl3pPr marL="472703" indent="0">
              <a:buNone/>
              <a:defRPr/>
            </a:lvl3pPr>
            <a:lvl4pPr marL="700832" indent="0">
              <a:buNone/>
              <a:defRPr/>
            </a:lvl4pPr>
            <a:lvl5pPr marL="928964" indent="0">
              <a:buNone/>
              <a:defRPr/>
            </a:lvl5pPr>
          </a:lstStyle>
          <a:p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,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consectetuer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adipiscing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elit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,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sed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diam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nonummy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nibh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euismod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tincidunt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ut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laoreet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dolore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magna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aliquam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erat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volutpat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.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Ut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wisi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enim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ad minim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veniam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,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quis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nostrud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exerci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tation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ullamcorper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suscipit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lobortis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nisl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ut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aliquip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ex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ea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commodo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>
                <a:solidFill>
                  <a:srgbClr val="4D4E50"/>
                </a:solidFill>
                <a:latin typeface="Simplon BP Regular"/>
                <a:cs typeface="Simplon BP Regular"/>
              </a:rPr>
              <a:t>consequat</a:t>
            </a:r>
            <a:r>
              <a:rPr lang="en-US" sz="1800" dirty="0">
                <a:solidFill>
                  <a:srgbClr val="4D4E50"/>
                </a:solidFill>
                <a:latin typeface="Simplon BP Regular"/>
                <a:cs typeface="Simplon BP Regular"/>
              </a:rPr>
              <a:t>. </a:t>
            </a: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3" hasCustomPrompt="1"/>
          </p:nvPr>
        </p:nvSpPr>
        <p:spPr>
          <a:xfrm>
            <a:off x="6287808" y="1383731"/>
            <a:ext cx="5049330" cy="4156583"/>
          </a:xfrm>
        </p:spPr>
        <p:txBody>
          <a:bodyPr/>
          <a:lstStyle>
            <a:lvl1pPr marL="0" indent="0">
              <a:buNone/>
              <a:defRPr sz="2700"/>
            </a:lvl1pPr>
            <a:lvl2pPr marL="244576" indent="0">
              <a:buNone/>
              <a:defRPr sz="2700"/>
            </a:lvl2pPr>
            <a:lvl3pPr marL="472703" indent="0">
              <a:buNone/>
              <a:defRPr sz="2700"/>
            </a:lvl3pPr>
            <a:lvl4pPr marL="700832" indent="0">
              <a:buNone/>
              <a:defRPr sz="2700"/>
            </a:lvl4pPr>
            <a:lvl5pPr marL="928964" indent="0">
              <a:buNone/>
              <a:defRPr sz="2700"/>
            </a:lvl5pPr>
          </a:lstStyle>
          <a:p>
            <a:pPr lvl="0"/>
            <a:r>
              <a:rPr lang="pt-PT" dirty="0"/>
              <a:t>3. </a:t>
            </a:r>
            <a:r>
              <a:rPr lang="pt-PT" dirty="0" err="1"/>
              <a:t>Impsum</a:t>
            </a:r>
            <a:r>
              <a:rPr lang="pt-PT" dirty="0"/>
              <a:t> </a:t>
            </a:r>
            <a:r>
              <a:rPr lang="pt-PT" dirty="0" err="1"/>
              <a:t>dolor</a:t>
            </a:r>
            <a:r>
              <a:rPr lang="pt-PT" dirty="0"/>
              <a:t>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endParaRPr lang="pt-PT" dirty="0"/>
          </a:p>
          <a:p>
            <a:pPr lvl="0"/>
            <a:r>
              <a:rPr lang="pt-PT" dirty="0"/>
              <a:t>5. </a:t>
            </a:r>
            <a:r>
              <a:rPr lang="pt-PT" dirty="0" err="1"/>
              <a:t>Dolor</a:t>
            </a:r>
            <a:r>
              <a:rPr lang="pt-PT" dirty="0"/>
              <a:t>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endParaRPr lang="pt-PT" dirty="0"/>
          </a:p>
          <a:p>
            <a:pPr lvl="0"/>
            <a:r>
              <a:rPr lang="pt-PT" dirty="0"/>
              <a:t>10. </a:t>
            </a:r>
            <a:r>
              <a:rPr lang="pt-PT" dirty="0" err="1"/>
              <a:t>Lorem</a:t>
            </a:r>
            <a:r>
              <a:rPr lang="pt-PT" dirty="0"/>
              <a:t> </a:t>
            </a:r>
            <a:r>
              <a:rPr lang="pt-PT" dirty="0" err="1"/>
              <a:t>ipsum</a:t>
            </a:r>
            <a:endParaRPr lang="pt-PT" dirty="0"/>
          </a:p>
          <a:p>
            <a:pPr lvl="0"/>
            <a:r>
              <a:rPr lang="pt-PT" dirty="0"/>
              <a:t>15. </a:t>
            </a:r>
            <a:r>
              <a:rPr lang="pt-PT" dirty="0" err="1"/>
              <a:t>Ipsum</a:t>
            </a:r>
            <a:r>
              <a:rPr lang="pt-PT" dirty="0"/>
              <a:t> </a:t>
            </a:r>
            <a:r>
              <a:rPr lang="pt-PT" dirty="0" err="1"/>
              <a:t>dolor</a:t>
            </a:r>
            <a:r>
              <a:rPr lang="pt-PT" dirty="0"/>
              <a:t>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r>
              <a:rPr lang="pt-PT" dirty="0"/>
              <a:t> </a:t>
            </a:r>
            <a:endParaRPr lang="en-US" dirty="0"/>
          </a:p>
        </p:txBody>
      </p:sp>
      <p:sp>
        <p:nvSpPr>
          <p:cNvPr id="11" name="TextBox 10"/>
          <p:cNvSpPr txBox="1"/>
          <p:nvPr userDrawn="1"/>
        </p:nvSpPr>
        <p:spPr>
          <a:xfrm>
            <a:off x="611979" y="5852799"/>
            <a:ext cx="3574719" cy="470497"/>
          </a:xfrm>
          <a:prstGeom prst="rect">
            <a:avLst/>
          </a:prstGeom>
          <a:noFill/>
        </p:spPr>
        <p:txBody>
          <a:bodyPr wrap="none" lIns="46614" tIns="46614" rIns="46614" bIns="46614" rtlCol="0" anchor="ctr" anchorCtr="0">
            <a:noAutofit/>
          </a:bodyPr>
          <a:lstStyle/>
          <a:p>
            <a:pPr defTabSz="591880" fontAlgn="auto">
              <a:lnSpc>
                <a:spcPts val="2352"/>
              </a:lnSpc>
              <a:spcBef>
                <a:spcPts val="0"/>
              </a:spcBef>
              <a:spcAft>
                <a:spcPts val="0"/>
              </a:spcAft>
            </a:pPr>
            <a:r>
              <a:rPr lang="pt-BR" sz="2700" dirty="0">
                <a:solidFill>
                  <a:srgbClr val="9F37FE"/>
                </a:solidFill>
                <a:latin typeface="Simplon BP" charset="0"/>
                <a:ea typeface="Simplon BP" charset="0"/>
                <a:cs typeface="Simplon BP" charset="0"/>
              </a:rPr>
              <a:t>TOTAL DE SLIDES:</a:t>
            </a:r>
            <a:endParaRPr lang="en-US" sz="2700" dirty="0">
              <a:solidFill>
                <a:srgbClr val="9F37FE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13" name="Text Placeholder 16"/>
          <p:cNvSpPr>
            <a:spLocks noGrp="1"/>
          </p:cNvSpPr>
          <p:nvPr>
            <p:ph type="body" sz="quarter" idx="14" hasCustomPrompt="1"/>
          </p:nvPr>
        </p:nvSpPr>
        <p:spPr>
          <a:xfrm>
            <a:off x="3810046" y="5852799"/>
            <a:ext cx="753042" cy="470497"/>
          </a:xfrm>
          <a:noFill/>
        </p:spPr>
        <p:txBody>
          <a:bodyPr wrap="none" lIns="46614" tIns="46614" rIns="46614" bIns="46614" rtlCol="0" anchor="ctr" anchorCtr="0">
            <a:noAutofit/>
          </a:bodyPr>
          <a:lstStyle>
            <a:lvl1pPr marL="0" indent="0">
              <a:buNone/>
              <a:defRPr lang="en-US" sz="2700" dirty="0">
                <a:solidFill>
                  <a:schemeClr val="accent1"/>
                </a:solidFill>
                <a:latin typeface="Simplon BP" charset="0"/>
                <a:ea typeface="Simplon BP" charset="0"/>
                <a:cs typeface="Simplon BP" charset="0"/>
              </a:defRPr>
            </a:lvl1pPr>
          </a:lstStyle>
          <a:p>
            <a:pPr marL="0" lvl="0">
              <a:lnSpc>
                <a:spcPts val="2352"/>
              </a:lnSpc>
              <a:spcAft>
                <a:spcPts val="0"/>
              </a:spcAft>
            </a:pPr>
            <a:r>
              <a:rPr lang="pt-PT" dirty="0"/>
              <a:t>##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82170055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8550219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9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8506209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9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EA288C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2884637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9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6D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380664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9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A02B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0165989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9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1175111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9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8669746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9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2006974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9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5794231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9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0301072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9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EA288C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2664013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5935915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9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6D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55909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9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A02B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4478021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9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6755186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9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657203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9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3236117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9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2810625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9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8656998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9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EA288C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2369902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9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6D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752278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9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A02B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472325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2007392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9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54" y="358969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53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54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240" indent="0">
              <a:buNone/>
              <a:defRPr sz="2700">
                <a:solidFill>
                  <a:schemeClr val="accent3"/>
                </a:solidFill>
              </a:defRPr>
            </a:lvl2pPr>
            <a:lvl3pPr marL="473988" indent="0">
              <a:buNone/>
              <a:defRPr sz="2700">
                <a:solidFill>
                  <a:schemeClr val="accent3"/>
                </a:solidFill>
              </a:defRPr>
            </a:lvl3pPr>
            <a:lvl4pPr marL="702739" indent="0">
              <a:buNone/>
              <a:defRPr sz="2700">
                <a:solidFill>
                  <a:schemeClr val="accent3"/>
                </a:solidFill>
              </a:defRPr>
            </a:lvl4pPr>
            <a:lvl5pPr marL="931495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673204929"/>
      </p:ext>
    </p:extLst>
  </p:cSld>
  <p:clrMapOvr>
    <a:masterClrMapping/>
  </p:clrMapOvr>
</p:sldLayout>
</file>

<file path=ppt/slideLayouts/slideLayout9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53" y="1854632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20578288"/>
      </p:ext>
    </p:extLst>
  </p:cSld>
  <p:clrMapOvr>
    <a:masterClrMapping/>
  </p:clrMapOvr>
</p:sldLayout>
</file>

<file path=ppt/slideLayouts/slideLayout9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88126638"/>
      </p:ext>
    </p:extLst>
  </p:cSld>
  <p:clrMapOvr>
    <a:masterClrMapping/>
  </p:clrMapOvr>
</p:sldLayout>
</file>

<file path=ppt/slideLayouts/slideLayout9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80" y="1854632"/>
            <a:ext cx="5080446" cy="451832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854704"/>
            <a:ext cx="5080448" cy="451832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2054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240" indent="0">
              <a:buNone/>
              <a:defRPr sz="2700">
                <a:solidFill>
                  <a:schemeClr val="accent3"/>
                </a:solidFill>
              </a:defRPr>
            </a:lvl2pPr>
            <a:lvl3pPr marL="473988" indent="0">
              <a:buNone/>
              <a:defRPr sz="2700">
                <a:solidFill>
                  <a:schemeClr val="accent3"/>
                </a:solidFill>
              </a:defRPr>
            </a:lvl3pPr>
            <a:lvl4pPr marL="702739" indent="0">
              <a:buNone/>
              <a:defRPr sz="2700">
                <a:solidFill>
                  <a:schemeClr val="accent3"/>
                </a:solidFill>
              </a:defRPr>
            </a:lvl4pPr>
            <a:lvl5pPr marL="931495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70064415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9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9175747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9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4081498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9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7548812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9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980477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9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3448664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9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EA288C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7780472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4092306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9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6D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6404392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9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A02B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4421134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9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72" y="358989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71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72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4853" indent="0">
              <a:buNone/>
              <a:defRPr sz="2700">
                <a:solidFill>
                  <a:schemeClr val="accent3"/>
                </a:solidFill>
              </a:defRPr>
            </a:lvl2pPr>
            <a:lvl3pPr marL="473238" indent="0">
              <a:buNone/>
              <a:defRPr sz="2700">
                <a:solidFill>
                  <a:schemeClr val="accent3"/>
                </a:solidFill>
              </a:defRPr>
            </a:lvl3pPr>
            <a:lvl4pPr marL="701625" indent="0">
              <a:buNone/>
              <a:defRPr sz="2700">
                <a:solidFill>
                  <a:schemeClr val="accent3"/>
                </a:solidFill>
              </a:defRPr>
            </a:lvl4pPr>
            <a:lvl5pPr marL="930018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75124278"/>
      </p:ext>
    </p:extLst>
  </p:cSld>
  <p:clrMapOvr>
    <a:masterClrMapping/>
  </p:clrMapOvr>
</p:sldLayout>
</file>

<file path=ppt/slideLayouts/slideLayout9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71" y="1854632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81714980"/>
      </p:ext>
    </p:extLst>
  </p:cSld>
  <p:clrMapOvr>
    <a:masterClrMapping/>
  </p:clrMapOvr>
</p:sldLayout>
</file>

<file path=ppt/slideLayouts/slideLayout9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10544587"/>
      </p:ext>
    </p:extLst>
  </p:cSld>
  <p:clrMapOvr>
    <a:masterClrMapping/>
  </p:clrMapOvr>
</p:sldLayout>
</file>

<file path=ppt/slideLayouts/slideLayout9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80" y="1854632"/>
            <a:ext cx="5080446" cy="451832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854723"/>
            <a:ext cx="5080448" cy="451832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2072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4853" indent="0">
              <a:buNone/>
              <a:defRPr sz="2700">
                <a:solidFill>
                  <a:schemeClr val="accent3"/>
                </a:solidFill>
              </a:defRPr>
            </a:lvl2pPr>
            <a:lvl3pPr marL="473238" indent="0">
              <a:buNone/>
              <a:defRPr sz="2700">
                <a:solidFill>
                  <a:schemeClr val="accent3"/>
                </a:solidFill>
              </a:defRPr>
            </a:lvl3pPr>
            <a:lvl4pPr marL="701625" indent="0">
              <a:buNone/>
              <a:defRPr sz="2700">
                <a:solidFill>
                  <a:schemeClr val="accent3"/>
                </a:solidFill>
              </a:defRPr>
            </a:lvl4pPr>
            <a:lvl5pPr marL="930018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86953349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9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67" y="358985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67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67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4936" indent="0">
              <a:buNone/>
              <a:defRPr sz="2700">
                <a:solidFill>
                  <a:schemeClr val="accent3"/>
                </a:solidFill>
              </a:defRPr>
            </a:lvl2pPr>
            <a:lvl3pPr marL="473398" indent="0">
              <a:buNone/>
              <a:defRPr sz="2700">
                <a:solidFill>
                  <a:schemeClr val="accent3"/>
                </a:solidFill>
              </a:defRPr>
            </a:lvl3pPr>
            <a:lvl4pPr marL="701863" indent="0">
              <a:buNone/>
              <a:defRPr sz="2700">
                <a:solidFill>
                  <a:schemeClr val="accent3"/>
                </a:solidFill>
              </a:defRPr>
            </a:lvl4pPr>
            <a:lvl5pPr marL="930333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72200004"/>
      </p:ext>
    </p:extLst>
  </p:cSld>
  <p:clrMapOvr>
    <a:masterClrMapping/>
  </p:clrMapOvr>
</p:sldLayout>
</file>

<file path=ppt/slideLayouts/slideLayout9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67" y="1854632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51245810"/>
      </p:ext>
    </p:extLst>
  </p:cSld>
  <p:clrMapOvr>
    <a:masterClrMapping/>
  </p:clrMapOvr>
</p:sldLayout>
</file>

<file path=ppt/slideLayouts/slideLayout9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20698699"/>
      </p:ext>
    </p:extLst>
  </p:cSld>
  <p:clrMapOvr>
    <a:masterClrMapping/>
  </p:clrMapOvr>
</p:sldLayout>
</file>

<file path=ppt/slideLayouts/slideLayout9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80" y="1854632"/>
            <a:ext cx="5080446" cy="451832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854719"/>
            <a:ext cx="5080448" cy="451832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2067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4936" indent="0">
              <a:buNone/>
              <a:defRPr sz="2700">
                <a:solidFill>
                  <a:schemeClr val="accent3"/>
                </a:solidFill>
              </a:defRPr>
            </a:lvl2pPr>
            <a:lvl3pPr marL="473398" indent="0">
              <a:buNone/>
              <a:defRPr sz="2700">
                <a:solidFill>
                  <a:schemeClr val="accent3"/>
                </a:solidFill>
              </a:defRPr>
            </a:lvl3pPr>
            <a:lvl4pPr marL="701863" indent="0">
              <a:buNone/>
              <a:defRPr sz="2700">
                <a:solidFill>
                  <a:schemeClr val="accent3"/>
                </a:solidFill>
              </a:defRPr>
            </a:lvl4pPr>
            <a:lvl5pPr marL="930333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414889927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EA288C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0050313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9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11960743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0498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22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 userDrawn="1"/>
        </p:nvSpPr>
        <p:spPr bwMode="auto">
          <a:xfrm>
            <a:off x="437849" y="131298"/>
            <a:ext cx="88165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pt-BR" sz="800" b="1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WORKING DRAFT</a:t>
            </a:r>
            <a:endParaRPr lang="pt-BR" sz="800" b="1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256937" y="36518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pt-BR" sz="800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 userDrawn="1"/>
        </p:nvSpPr>
        <p:spPr bwMode="auto">
          <a:xfrm>
            <a:off x="437874" y="286871"/>
            <a:ext cx="3069751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 userDrawn="1"/>
        </p:nvSpPr>
        <p:spPr bwMode="auto">
          <a:xfrm>
            <a:off x="437851" y="444031"/>
            <a:ext cx="270106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8" name="McK Title Elements" hidden="1"/>
          <p:cNvGrpSpPr>
            <a:grpSpLocks/>
          </p:cNvGrpSpPr>
          <p:nvPr userDrawn="1"/>
        </p:nvGrpSpPr>
        <p:grpSpPr bwMode="auto">
          <a:xfrm>
            <a:off x="5" y="114"/>
            <a:ext cx="11944879" cy="6723063"/>
            <a:chOff x="0" y="0"/>
            <a:chExt cx="5643" cy="4235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207" y="3361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ocument typ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207" y="3550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at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1" name="McK Disclaimer"/>
            <p:cNvSpPr>
              <a:spLocks noChangeArrowheads="1"/>
            </p:cNvSpPr>
            <p:nvPr/>
          </p:nvSpPr>
          <p:spPr bwMode="auto">
            <a:xfrm>
              <a:off x="207" y="3963"/>
              <a:ext cx="3226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798029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NFIDENTIAL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D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PRIETARY</a:t>
              </a:r>
              <a:endParaRPr lang="pt-BR" sz="80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  <a:p>
              <a:pPr defTabSz="798029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use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his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aterial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without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pecific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ermission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cKinsey &amp;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mpan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is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trictl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hibited</a:t>
              </a:r>
              <a:endParaRPr lang="pt-BR" sz="8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2" name="TitleBottomPlaceholder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3" name="TitleTopPlaceholder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Rectangle 1189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pic>
        <p:nvPicPr>
          <p:cNvPr id="18" name="TitleBottomBarBW" hidden="1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65758" y="6443669"/>
            <a:ext cx="2182379" cy="1920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7" name="Freeform 5"/>
          <p:cNvSpPr>
            <a:spLocks/>
          </p:cNvSpPr>
          <p:nvPr userDrawn="1"/>
        </p:nvSpPr>
        <p:spPr bwMode="auto">
          <a:xfrm flipH="1">
            <a:off x="4236" y="6635869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0648" tIns="45323" rIns="90648" bIns="45323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9" name="Freeform 5"/>
          <p:cNvSpPr>
            <a:spLocks/>
          </p:cNvSpPr>
          <p:nvPr userDrawn="1"/>
        </p:nvSpPr>
        <p:spPr bwMode="auto">
          <a:xfrm flipH="1">
            <a:off x="4236" y="3276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0648" tIns="45323" rIns="90648" bIns="45323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 userDrawn="1">
            <p:ph type="ctrTitle"/>
          </p:nvPr>
        </p:nvSpPr>
        <p:spPr>
          <a:xfrm>
            <a:off x="437853" y="2238434"/>
            <a:ext cx="6581329" cy="1292662"/>
          </a:xfrm>
          <a:prstGeom prst="rect">
            <a:avLst/>
          </a:prstGeom>
        </p:spPr>
        <p:txBody>
          <a:bodyPr/>
          <a:lstStyle>
            <a:lvl1pPr>
              <a:defRPr sz="4200" b="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dirty="0" smtClean="0"/>
              <a:t>Click </a:t>
            </a:r>
            <a:r>
              <a:rPr lang="pt-BR" noProof="0" dirty="0" err="1" smtClean="0"/>
              <a:t>to</a:t>
            </a:r>
            <a:r>
              <a:rPr lang="pt-BR" noProof="0" dirty="0" smtClean="0"/>
              <a:t> </a:t>
            </a:r>
            <a:r>
              <a:rPr lang="pt-BR" noProof="0" dirty="0" err="1" smtClean="0"/>
              <a:t>edit</a:t>
            </a:r>
            <a:r>
              <a:rPr lang="pt-BR" noProof="0" dirty="0" smtClean="0"/>
              <a:t> Master </a:t>
            </a:r>
            <a:r>
              <a:rPr lang="pt-BR" noProof="0" dirty="0" err="1" smtClean="0"/>
              <a:t>title</a:t>
            </a:r>
            <a:r>
              <a:rPr lang="pt-BR" noProof="0" dirty="0" smtClean="0"/>
              <a:t> </a:t>
            </a:r>
            <a:r>
              <a:rPr lang="pt-BR" noProof="0" dirty="0" err="1" smtClean="0"/>
              <a:t>style</a:t>
            </a:r>
            <a:endParaRPr lang="pt-BR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437852" y="3762851"/>
            <a:ext cx="6450496" cy="482639"/>
          </a:xfrm>
        </p:spPr>
        <p:txBody>
          <a:bodyPr wrap="square">
            <a:spAutoFit/>
          </a:bodyPr>
          <a:lstStyle>
            <a:lvl1pPr>
              <a:defRPr sz="310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smtClean="0"/>
              <a:t>Click to edit Master subtitle style</a:t>
            </a:r>
            <a:endParaRPr lang="pt-BR" noProof="0" dirty="0" smtClean="0"/>
          </a:p>
        </p:txBody>
      </p:sp>
      <p:grpSp>
        <p:nvGrpSpPr>
          <p:cNvPr id="25" name="Group 24"/>
          <p:cNvGrpSpPr/>
          <p:nvPr userDrawn="1"/>
        </p:nvGrpSpPr>
        <p:grpSpPr>
          <a:xfrm>
            <a:off x="8526083" y="2325895"/>
            <a:ext cx="3423031" cy="3656746"/>
            <a:chOff x="5526523" y="2325890"/>
            <a:chExt cx="3423032" cy="3656747"/>
          </a:xfrm>
        </p:grpSpPr>
        <p:sp>
          <p:nvSpPr>
            <p:cNvPr id="26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27" name="Group 26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28" name="Donut 27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29" name="Oval 28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0" name="Oval 29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91229297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79833776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1522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22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211678" y="230284"/>
            <a:ext cx="10903658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US" noProof="0" dirty="0" smtClean="0"/>
            </a:lvl1pPr>
          </a:lstStyle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</p:spTree>
    <p:extLst>
      <p:ext uri="{BB962C8B-B14F-4D97-AF65-F5344CB8AC3E}">
        <p14:creationId xmlns:p14="http://schemas.microsoft.com/office/powerpoint/2010/main" val="329378074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21502" y="359007"/>
            <a:ext cx="10306110" cy="307777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277675649"/>
      </p:ext>
    </p:extLst>
  </p:cSld>
  <p:clrMapOvr>
    <a:masterClrMapping/>
  </p:clrMapOvr>
</p:sldLayout>
</file>

<file path=ppt/slideLayouts/slideLayout9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481304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9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422137" y="349423"/>
            <a:ext cx="6749230" cy="254184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703"/>
              </a:lnSpc>
              <a:defRPr sz="4700">
                <a:solidFill>
                  <a:srgbClr val="18C3FF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r>
              <a:rPr lang="en-US" dirty="0" smtClean="0"/>
              <a:t>. LOREM IPSUM DOLOR SIT AMET HAS ID CIBO QUIDAM</a:t>
            </a:r>
            <a:endParaRPr lang="en-US" dirty="0"/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422137" y="3071971"/>
            <a:ext cx="6749230" cy="796308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592328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2328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2328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82516527"/>
      </p:ext>
    </p:extLst>
  </p:cSld>
  <p:clrMapOvr>
    <a:masterClrMapping/>
  </p:clrMapOvr>
</p:sldLayout>
</file>

<file path=ppt/slideLayouts/slideLayout9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1025401311"/>
      </p:ext>
    </p:extLst>
  </p:cSld>
  <p:clrMapOvr>
    <a:masterClrMapping/>
  </p:clrMapOvr>
</p:sldLayout>
</file>

<file path=ppt/slideLayouts/slideLayout9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60" y="1576"/>
          <a:ext cx="1555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2546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22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60" y="1576"/>
                        <a:ext cx="1555" cy="155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 userDrawn="1"/>
        </p:nvSpPr>
        <p:spPr>
          <a:xfrm>
            <a:off x="1" y="-58698"/>
            <a:ext cx="11949113" cy="186905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648" tIns="45323" rIns="90648" bIns="45323"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75605" y="228695"/>
            <a:ext cx="11491891" cy="30777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25907734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94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441035450"/>
      </p:ext>
    </p:extLst>
  </p:cSld>
  <p:clrMapOvr>
    <a:masterClrMapping/>
  </p:clrMapOvr>
</p:sldLayout>
</file>

<file path=ppt/slideLayouts/slideLayout9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0863724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9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1889303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6D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76658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9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25" y="358943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25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25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822" indent="0">
              <a:buNone/>
              <a:defRPr sz="2700">
                <a:solidFill>
                  <a:schemeClr val="accent3"/>
                </a:solidFill>
              </a:defRPr>
            </a:lvl2pPr>
            <a:lvl3pPr marL="475115" indent="0">
              <a:buNone/>
              <a:defRPr sz="2700">
                <a:solidFill>
                  <a:schemeClr val="accent3"/>
                </a:solidFill>
              </a:defRPr>
            </a:lvl3pPr>
            <a:lvl4pPr marL="704412" indent="0">
              <a:buNone/>
              <a:defRPr sz="2700">
                <a:solidFill>
                  <a:schemeClr val="accent3"/>
                </a:solidFill>
              </a:defRPr>
            </a:lvl4pPr>
            <a:lvl5pPr marL="933714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45395453"/>
      </p:ext>
    </p:extLst>
  </p:cSld>
  <p:clrMapOvr>
    <a:masterClrMapping/>
  </p:clrMapOvr>
</p:sldLayout>
</file>

<file path=ppt/slideLayouts/slideLayout9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25" y="1854632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26540604"/>
      </p:ext>
    </p:extLst>
  </p:cSld>
  <p:clrMapOvr>
    <a:masterClrMapping/>
  </p:clrMapOvr>
</p:sldLayout>
</file>

<file path=ppt/slideLayouts/slideLayout9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30105070"/>
      </p:ext>
    </p:extLst>
  </p:cSld>
  <p:clrMapOvr>
    <a:masterClrMapping/>
  </p:clrMapOvr>
</p:sldLayout>
</file>

<file path=ppt/slideLayouts/slideLayout9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80" y="1854632"/>
            <a:ext cx="5080446" cy="451832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854677"/>
            <a:ext cx="5080448" cy="451832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2025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822" indent="0">
              <a:buNone/>
              <a:defRPr sz="2700">
                <a:solidFill>
                  <a:schemeClr val="accent3"/>
                </a:solidFill>
              </a:defRPr>
            </a:lvl2pPr>
            <a:lvl3pPr marL="475115" indent="0">
              <a:buNone/>
              <a:defRPr sz="2700">
                <a:solidFill>
                  <a:schemeClr val="accent3"/>
                </a:solidFill>
              </a:defRPr>
            </a:lvl3pPr>
            <a:lvl4pPr marL="704412" indent="0">
              <a:buNone/>
              <a:defRPr sz="2700">
                <a:solidFill>
                  <a:schemeClr val="accent3"/>
                </a:solidFill>
              </a:defRPr>
            </a:lvl4pPr>
            <a:lvl5pPr marL="933714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85598214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9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25" y="358943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25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25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822" indent="0">
              <a:buNone/>
              <a:defRPr sz="2700">
                <a:solidFill>
                  <a:schemeClr val="accent3"/>
                </a:solidFill>
              </a:defRPr>
            </a:lvl2pPr>
            <a:lvl3pPr marL="475115" indent="0">
              <a:buNone/>
              <a:defRPr sz="2700">
                <a:solidFill>
                  <a:schemeClr val="accent3"/>
                </a:solidFill>
              </a:defRPr>
            </a:lvl3pPr>
            <a:lvl4pPr marL="704412" indent="0">
              <a:buNone/>
              <a:defRPr sz="2700">
                <a:solidFill>
                  <a:schemeClr val="accent3"/>
                </a:solidFill>
              </a:defRPr>
            </a:lvl4pPr>
            <a:lvl5pPr marL="933714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3938233176"/>
      </p:ext>
    </p:extLst>
  </p:cSld>
  <p:clrMapOvr>
    <a:masterClrMapping/>
  </p:clrMapOvr>
</p:sldLayout>
</file>

<file path=ppt/slideLayouts/slideLayout9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25" y="1854632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76542049"/>
      </p:ext>
    </p:extLst>
  </p:cSld>
  <p:clrMapOvr>
    <a:masterClrMapping/>
  </p:clrMapOvr>
</p:sldLayout>
</file>

<file path=ppt/slideLayouts/slideLayout9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61138471"/>
      </p:ext>
    </p:extLst>
  </p:cSld>
  <p:clrMapOvr>
    <a:masterClrMapping/>
  </p:clrMapOvr>
</p:sldLayout>
</file>

<file path=ppt/slideLayouts/slideLayout9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80" y="1854632"/>
            <a:ext cx="5080446" cy="451832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854677"/>
            <a:ext cx="5080448" cy="451832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2025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822" indent="0">
              <a:buNone/>
              <a:defRPr sz="2700">
                <a:solidFill>
                  <a:schemeClr val="accent3"/>
                </a:solidFill>
              </a:defRPr>
            </a:lvl2pPr>
            <a:lvl3pPr marL="475115" indent="0">
              <a:buNone/>
              <a:defRPr sz="2700">
                <a:solidFill>
                  <a:schemeClr val="accent3"/>
                </a:solidFill>
              </a:defRPr>
            </a:lvl3pPr>
            <a:lvl4pPr marL="704412" indent="0">
              <a:buNone/>
              <a:defRPr sz="2700">
                <a:solidFill>
                  <a:schemeClr val="accent3"/>
                </a:solidFill>
              </a:defRPr>
            </a:lvl4pPr>
            <a:lvl5pPr marL="933714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58190890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9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72846105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61756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22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 userDrawn="1"/>
        </p:nvSpPr>
        <p:spPr bwMode="auto">
          <a:xfrm>
            <a:off x="437849" y="131294"/>
            <a:ext cx="88165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pt-BR" sz="800" b="1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WORKING DRAFT</a:t>
            </a:r>
            <a:endParaRPr lang="pt-BR" sz="800" b="1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256937" y="36518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pt-BR" sz="800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 userDrawn="1"/>
        </p:nvSpPr>
        <p:spPr bwMode="auto">
          <a:xfrm>
            <a:off x="437874" y="286867"/>
            <a:ext cx="3069751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 userDrawn="1"/>
        </p:nvSpPr>
        <p:spPr bwMode="auto">
          <a:xfrm>
            <a:off x="437851" y="444027"/>
            <a:ext cx="270106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8" name="McK Title Elements" hidden="1"/>
          <p:cNvGrpSpPr>
            <a:grpSpLocks/>
          </p:cNvGrpSpPr>
          <p:nvPr userDrawn="1"/>
        </p:nvGrpSpPr>
        <p:grpSpPr bwMode="auto">
          <a:xfrm>
            <a:off x="5" y="110"/>
            <a:ext cx="11944879" cy="6723063"/>
            <a:chOff x="0" y="0"/>
            <a:chExt cx="5643" cy="4235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207" y="3361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ocument typ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207" y="3550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at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1" name="McK Disclaimer"/>
            <p:cNvSpPr>
              <a:spLocks noChangeArrowheads="1"/>
            </p:cNvSpPr>
            <p:nvPr/>
          </p:nvSpPr>
          <p:spPr bwMode="auto">
            <a:xfrm>
              <a:off x="207" y="3963"/>
              <a:ext cx="3226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798301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NFIDENTIAL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D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PRIETARY</a:t>
              </a:r>
              <a:endParaRPr lang="pt-BR" sz="80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  <a:p>
              <a:pPr defTabSz="798301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use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his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aterial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without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pecific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ermission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cKinsey &amp;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mpan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is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trictl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hibited</a:t>
              </a:r>
              <a:endParaRPr lang="pt-BR" sz="8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2" name="TitleBottomPlaceholder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3" name="TitleTopPlaceholder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Rectangle 1189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pic>
        <p:nvPicPr>
          <p:cNvPr id="18" name="TitleBottomBarBW" hidden="1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65754" y="6443669"/>
            <a:ext cx="2182379" cy="1920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7" name="Freeform 5"/>
          <p:cNvSpPr>
            <a:spLocks/>
          </p:cNvSpPr>
          <p:nvPr userDrawn="1"/>
        </p:nvSpPr>
        <p:spPr bwMode="auto">
          <a:xfrm flipH="1">
            <a:off x="4236" y="6635865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0678" tIns="45339" rIns="90678" bIns="45339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9" name="Freeform 5"/>
          <p:cNvSpPr>
            <a:spLocks/>
          </p:cNvSpPr>
          <p:nvPr userDrawn="1"/>
        </p:nvSpPr>
        <p:spPr bwMode="auto">
          <a:xfrm flipH="1">
            <a:off x="4236" y="3272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0678" tIns="45339" rIns="90678" bIns="45339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 userDrawn="1">
            <p:ph type="ctrTitle"/>
          </p:nvPr>
        </p:nvSpPr>
        <p:spPr>
          <a:xfrm>
            <a:off x="437853" y="2238434"/>
            <a:ext cx="6581329" cy="1292662"/>
          </a:xfrm>
          <a:prstGeom prst="rect">
            <a:avLst/>
          </a:prstGeom>
        </p:spPr>
        <p:txBody>
          <a:bodyPr/>
          <a:lstStyle>
            <a:lvl1pPr>
              <a:defRPr sz="4200" b="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dirty="0" smtClean="0"/>
              <a:t>Click </a:t>
            </a:r>
            <a:r>
              <a:rPr lang="pt-BR" noProof="0" dirty="0" err="1" smtClean="0"/>
              <a:t>to</a:t>
            </a:r>
            <a:r>
              <a:rPr lang="pt-BR" noProof="0" dirty="0" smtClean="0"/>
              <a:t> </a:t>
            </a:r>
            <a:r>
              <a:rPr lang="pt-BR" noProof="0" dirty="0" err="1" smtClean="0"/>
              <a:t>edit</a:t>
            </a:r>
            <a:r>
              <a:rPr lang="pt-BR" noProof="0" dirty="0" smtClean="0"/>
              <a:t> Master </a:t>
            </a:r>
            <a:r>
              <a:rPr lang="pt-BR" noProof="0" dirty="0" err="1" smtClean="0"/>
              <a:t>title</a:t>
            </a:r>
            <a:r>
              <a:rPr lang="pt-BR" noProof="0" dirty="0" smtClean="0"/>
              <a:t> </a:t>
            </a:r>
            <a:r>
              <a:rPr lang="pt-BR" noProof="0" dirty="0" err="1" smtClean="0"/>
              <a:t>style</a:t>
            </a:r>
            <a:endParaRPr lang="pt-BR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437852" y="3762851"/>
            <a:ext cx="6450496" cy="482639"/>
          </a:xfrm>
        </p:spPr>
        <p:txBody>
          <a:bodyPr wrap="square">
            <a:spAutoFit/>
          </a:bodyPr>
          <a:lstStyle>
            <a:lvl1pPr>
              <a:defRPr sz="310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smtClean="0"/>
              <a:t>Click to edit Master subtitle style</a:t>
            </a:r>
            <a:endParaRPr lang="pt-BR" noProof="0" dirty="0" smtClean="0"/>
          </a:p>
        </p:txBody>
      </p:sp>
      <p:grpSp>
        <p:nvGrpSpPr>
          <p:cNvPr id="25" name="Group 24"/>
          <p:cNvGrpSpPr/>
          <p:nvPr userDrawn="1"/>
        </p:nvGrpSpPr>
        <p:grpSpPr>
          <a:xfrm>
            <a:off x="8526083" y="2325895"/>
            <a:ext cx="3423031" cy="3656746"/>
            <a:chOff x="5526523" y="2325890"/>
            <a:chExt cx="3423032" cy="3656747"/>
          </a:xfrm>
        </p:grpSpPr>
        <p:sp>
          <p:nvSpPr>
            <p:cNvPr id="26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27" name="Group 26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28" name="Donut 27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29" name="Oval 28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0" name="Oval 29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45594229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A02B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1165955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9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70486310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66875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22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 userDrawn="1"/>
        </p:nvSpPr>
        <p:spPr bwMode="auto">
          <a:xfrm>
            <a:off x="437849" y="131294"/>
            <a:ext cx="88165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pt-BR" sz="800" b="1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WORKING DRAFT</a:t>
            </a:r>
            <a:endParaRPr lang="pt-BR" sz="800" b="1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256937" y="36518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pt-BR" sz="800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 userDrawn="1"/>
        </p:nvSpPr>
        <p:spPr bwMode="auto">
          <a:xfrm>
            <a:off x="437874" y="286867"/>
            <a:ext cx="3069751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 userDrawn="1"/>
        </p:nvSpPr>
        <p:spPr bwMode="auto">
          <a:xfrm>
            <a:off x="437851" y="444027"/>
            <a:ext cx="270106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sz="8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8" name="McK Title Elements" hidden="1"/>
          <p:cNvGrpSpPr>
            <a:grpSpLocks/>
          </p:cNvGrpSpPr>
          <p:nvPr userDrawn="1"/>
        </p:nvGrpSpPr>
        <p:grpSpPr bwMode="auto">
          <a:xfrm>
            <a:off x="5" y="110"/>
            <a:ext cx="11944879" cy="6723063"/>
            <a:chOff x="0" y="0"/>
            <a:chExt cx="5643" cy="4235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207" y="3361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ocument typ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207" y="3550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ate</a:t>
              </a:r>
              <a:endPara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1" name="McK Disclaimer"/>
            <p:cNvSpPr>
              <a:spLocks noChangeArrowheads="1"/>
            </p:cNvSpPr>
            <p:nvPr/>
          </p:nvSpPr>
          <p:spPr bwMode="auto">
            <a:xfrm>
              <a:off x="207" y="3963"/>
              <a:ext cx="3226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798301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NFIDENTIAL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D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PRIETARY</a:t>
              </a:r>
              <a:endParaRPr lang="pt-BR" sz="80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  <a:p>
              <a:pPr defTabSz="798301" eaLnBrk="0" hangingPunct="0"/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use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his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aterial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without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pecific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ermission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f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McKinsey &amp;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mpan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is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trictly</a:t>
              </a:r>
              <a:r>
                <a:rPr lang="pt-BR" sz="8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pt-BR" sz="80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hibited</a:t>
              </a:r>
              <a:endParaRPr lang="pt-BR" sz="8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2" name="TitleBottomPlaceholder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3" name="TitleTopPlaceholder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Rectangle 1189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pic>
        <p:nvPicPr>
          <p:cNvPr id="18" name="TitleBottomBarBW" hidden="1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65754" y="6443669"/>
            <a:ext cx="2182379" cy="1920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7" name="Freeform 5"/>
          <p:cNvSpPr>
            <a:spLocks/>
          </p:cNvSpPr>
          <p:nvPr userDrawn="1"/>
        </p:nvSpPr>
        <p:spPr bwMode="auto">
          <a:xfrm flipH="1">
            <a:off x="4236" y="6635865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0678" tIns="45339" rIns="90678" bIns="45339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9" name="Freeform 5"/>
          <p:cNvSpPr>
            <a:spLocks/>
          </p:cNvSpPr>
          <p:nvPr userDrawn="1"/>
        </p:nvSpPr>
        <p:spPr bwMode="auto">
          <a:xfrm flipH="1">
            <a:off x="4236" y="3272"/>
            <a:ext cx="11940646" cy="8731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91650">
                <a:srgbClr val="1BB3FF"/>
              </a:gs>
              <a:gs pos="100000">
                <a:srgbClr val="00CEFF">
                  <a:alpha val="0"/>
                </a:srgbClr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0678" tIns="45339" rIns="90678" bIns="45339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 userDrawn="1">
            <p:ph type="ctrTitle"/>
          </p:nvPr>
        </p:nvSpPr>
        <p:spPr>
          <a:xfrm>
            <a:off x="437853" y="2238434"/>
            <a:ext cx="6581329" cy="1292662"/>
          </a:xfrm>
          <a:prstGeom prst="rect">
            <a:avLst/>
          </a:prstGeom>
        </p:spPr>
        <p:txBody>
          <a:bodyPr/>
          <a:lstStyle>
            <a:lvl1pPr>
              <a:defRPr sz="4200" b="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dirty="0" smtClean="0"/>
              <a:t>Click </a:t>
            </a:r>
            <a:r>
              <a:rPr lang="pt-BR" noProof="0" dirty="0" err="1" smtClean="0"/>
              <a:t>to</a:t>
            </a:r>
            <a:r>
              <a:rPr lang="pt-BR" noProof="0" dirty="0" smtClean="0"/>
              <a:t> </a:t>
            </a:r>
            <a:r>
              <a:rPr lang="pt-BR" noProof="0" dirty="0" err="1" smtClean="0"/>
              <a:t>edit</a:t>
            </a:r>
            <a:r>
              <a:rPr lang="pt-BR" noProof="0" dirty="0" smtClean="0"/>
              <a:t> Master </a:t>
            </a:r>
            <a:r>
              <a:rPr lang="pt-BR" noProof="0" dirty="0" err="1" smtClean="0"/>
              <a:t>title</a:t>
            </a:r>
            <a:r>
              <a:rPr lang="pt-BR" noProof="0" dirty="0" smtClean="0"/>
              <a:t> </a:t>
            </a:r>
            <a:r>
              <a:rPr lang="pt-BR" noProof="0" dirty="0" err="1" smtClean="0"/>
              <a:t>style</a:t>
            </a:r>
            <a:endParaRPr lang="pt-BR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437852" y="3762851"/>
            <a:ext cx="6450496" cy="482639"/>
          </a:xfrm>
        </p:spPr>
        <p:txBody>
          <a:bodyPr wrap="square">
            <a:spAutoFit/>
          </a:bodyPr>
          <a:lstStyle>
            <a:lvl1pPr>
              <a:defRPr sz="3100" baseline="0">
                <a:solidFill>
                  <a:schemeClr val="accent4"/>
                </a:solidFill>
                <a:latin typeface="Arial" panose="020B0604020202020204" pitchFamily="34" charset="0"/>
                <a:ea typeface="+mj-ea"/>
                <a:sym typeface="Arial" panose="020B0604020202020204" pitchFamily="34" charset="0"/>
              </a:defRPr>
            </a:lvl1pPr>
          </a:lstStyle>
          <a:p>
            <a:pPr lvl="0"/>
            <a:r>
              <a:rPr lang="pt-BR" noProof="0" smtClean="0"/>
              <a:t>Click to edit Master subtitle style</a:t>
            </a:r>
            <a:endParaRPr lang="pt-BR" noProof="0" dirty="0" smtClean="0"/>
          </a:p>
        </p:txBody>
      </p:sp>
      <p:grpSp>
        <p:nvGrpSpPr>
          <p:cNvPr id="25" name="Group 24"/>
          <p:cNvGrpSpPr/>
          <p:nvPr userDrawn="1"/>
        </p:nvGrpSpPr>
        <p:grpSpPr>
          <a:xfrm>
            <a:off x="8526083" y="2325895"/>
            <a:ext cx="3423031" cy="3656746"/>
            <a:chOff x="5526523" y="2325890"/>
            <a:chExt cx="3423032" cy="3656747"/>
          </a:xfrm>
        </p:grpSpPr>
        <p:sp>
          <p:nvSpPr>
            <p:cNvPr id="26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27" name="Group 26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28" name="Donut 27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29" name="Oval 28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0" name="Oval 29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73120943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006400"/>
              </p:ext>
            </p:extLst>
          </p:nvPr>
        </p:nvGraphicFramePr>
        <p:xfrm>
          <a:off x="2120" y="1595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67899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0" name="AutoShape 22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5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211678" y="230280"/>
            <a:ext cx="10903658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US" noProof="0" dirty="0" smtClean="0"/>
            </a:lvl1pPr>
          </a:lstStyle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</p:spTree>
    <p:extLst>
      <p:ext uri="{BB962C8B-B14F-4D97-AF65-F5344CB8AC3E}">
        <p14:creationId xmlns:p14="http://schemas.microsoft.com/office/powerpoint/2010/main" val="248100113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6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21502" y="359003"/>
            <a:ext cx="10306110" cy="307777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313955005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80" y="358997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79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80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4687" indent="0">
              <a:buNone/>
              <a:defRPr sz="2700">
                <a:solidFill>
                  <a:schemeClr val="accent3"/>
                </a:solidFill>
              </a:defRPr>
            </a:lvl2pPr>
            <a:lvl3pPr marL="472916" indent="0">
              <a:buNone/>
              <a:defRPr sz="2700">
                <a:solidFill>
                  <a:schemeClr val="accent3"/>
                </a:solidFill>
              </a:defRPr>
            </a:lvl3pPr>
            <a:lvl4pPr marL="701150" indent="0">
              <a:buNone/>
              <a:defRPr sz="2700">
                <a:solidFill>
                  <a:schemeClr val="accent3"/>
                </a:solidFill>
              </a:defRPr>
            </a:lvl4pPr>
            <a:lvl5pPr marL="929386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3913538879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79" y="1854632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56555124"/>
      </p:ext>
    </p:extLst>
  </p:cSld>
  <p:clrMapOvr>
    <a:masterClrMapping/>
  </p:clrMapOvr>
</p:sldLayout>
</file>

<file path=ppt/slideLayouts/slideLayout98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9103743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98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12" y="358929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11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12" y="819634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6126" indent="0">
              <a:buNone/>
              <a:defRPr sz="2700">
                <a:solidFill>
                  <a:schemeClr val="accent3"/>
                </a:solidFill>
              </a:defRPr>
            </a:lvl2pPr>
            <a:lvl3pPr marL="475705" indent="0">
              <a:buNone/>
              <a:defRPr sz="2700">
                <a:solidFill>
                  <a:schemeClr val="accent3"/>
                </a:solidFill>
              </a:defRPr>
            </a:lvl3pPr>
            <a:lvl4pPr marL="705287" indent="0">
              <a:buNone/>
              <a:defRPr sz="2700">
                <a:solidFill>
                  <a:schemeClr val="accent3"/>
                </a:solidFill>
              </a:defRPr>
            </a:lvl4pPr>
            <a:lvl5pPr marL="934876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3362815722"/>
      </p:ext>
    </p:extLst>
  </p:cSld>
  <p:clrMapOvr>
    <a:masterClrMapping/>
  </p:clrMapOvr>
</p:sldLayout>
</file>

<file path=ppt/slideLayouts/slideLayout98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>
          <a:xfrm>
            <a:off x="597456" y="6229821"/>
            <a:ext cx="2788126" cy="357857"/>
          </a:xfrm>
          <a:prstGeom prst="rect">
            <a:avLst/>
          </a:prstGeom>
        </p:spPr>
        <p:txBody>
          <a:bodyPr lIns="91148" tIns="45575" rIns="91148" bIns="45575"/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>
          <a:xfrm>
            <a:off x="4082614" y="6229821"/>
            <a:ext cx="3783886" cy="357857"/>
          </a:xfrm>
          <a:prstGeom prst="rect">
            <a:avLst/>
          </a:prstGeom>
        </p:spPr>
        <p:txBody>
          <a:bodyPr lIns="91148" tIns="45575" rIns="91148" bIns="45575"/>
          <a:lstStyle/>
          <a:p>
            <a:endParaRPr lang="pt-BR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3539543"/>
      </p:ext>
    </p:extLst>
  </p:cSld>
  <p:clrMapOvr>
    <a:masterClrMapping/>
  </p:clrMapOvr>
</p:sldLayout>
</file>

<file path=ppt/slideLayouts/slideLayout9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a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405253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5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 userDrawn="1"/>
        </p:nvSpPr>
        <p:spPr>
          <a:xfrm>
            <a:off x="9689506" y="3762877"/>
            <a:ext cx="1194911" cy="896197"/>
          </a:xfrm>
          <a:prstGeom prst="rect">
            <a:avLst/>
          </a:prstGeom>
        </p:spPr>
        <p:txBody>
          <a:bodyPr vert="horz" wrap="none" lIns="119387" tIns="59693" rIns="119387" bIns="59693" rtlCol="0" anchor="ctr">
            <a:noAutofit/>
          </a:bodyPr>
          <a:lstStyle/>
          <a:p>
            <a:pPr marL="373056" indent="-373056">
              <a:buFont typeface="Arial"/>
              <a:buChar char="•"/>
            </a:pPr>
            <a:endParaRPr lang="en-US" sz="2700" dirty="0">
              <a:solidFill>
                <a:srgbClr val="4D4D4D"/>
              </a:solidFill>
              <a:latin typeface="Simplon BP"/>
            </a:endParaRPr>
          </a:p>
        </p:txBody>
      </p:sp>
      <p:sp>
        <p:nvSpPr>
          <p:cNvPr id="13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422135" y="2848723"/>
            <a:ext cx="5577332" cy="1562434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596885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6885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6885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596885" rtl="0" eaLnBrk="1" fontAlgn="auto" latinLnBrk="0" hangingPunct="1">
              <a:lnSpc>
                <a:spcPts val="182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  <p:sp>
        <p:nvSpPr>
          <p:cNvPr id="14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422135" y="1790555"/>
            <a:ext cx="4970423" cy="73342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596885" rtl="0" eaLnBrk="1" fontAlgn="auto" latinLnBrk="0" hangingPunct="1">
              <a:lnSpc>
                <a:spcPts val="2352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 cap="all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968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smtClean="0"/>
              <a:t>has </a:t>
            </a:r>
            <a:br>
              <a:rPr lang="en-US" dirty="0" smtClean="0"/>
            </a:br>
            <a:r>
              <a:rPr lang="en-US" dirty="0" smtClean="0"/>
              <a:t>id </a:t>
            </a:r>
            <a:r>
              <a:rPr lang="en-US" dirty="0" err="1" smtClean="0"/>
              <a:t>cibo</a:t>
            </a:r>
            <a:r>
              <a:rPr lang="en-US" dirty="0" smtClean="0"/>
              <a:t> </a:t>
            </a:r>
            <a:r>
              <a:rPr lang="en-US" dirty="0" err="1" smtClean="0"/>
              <a:t>quidam</a:t>
            </a:r>
            <a:r>
              <a:rPr lang="en-US" dirty="0" smtClean="0"/>
              <a:t> </a:t>
            </a:r>
            <a:r>
              <a:rPr lang="en-US" dirty="0" err="1" smtClean="0"/>
              <a:t>facilis</a:t>
            </a:r>
            <a:endParaRPr lang="en-US" dirty="0"/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422136" y="349336"/>
            <a:ext cx="4970421" cy="123378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703"/>
              </a:lnSpc>
              <a:defRPr sz="4700">
                <a:solidFill>
                  <a:srgbClr val="EA288C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</a:t>
            </a:r>
            <a:br>
              <a:rPr lang="en-US" dirty="0" smtClean="0"/>
            </a:br>
            <a:r>
              <a:rPr lang="en-US" dirty="0" smtClean="0"/>
              <a:t>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38932898"/>
      </p:ext>
    </p:extLst>
  </p:cSld>
  <p:clrMapOvr>
    <a:masterClrMapping/>
  </p:clrMapOvr>
</p:sldLayout>
</file>

<file path=ppt/slideLayouts/slideLayout9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9150162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6361909"/>
      </p:ext>
    </p:extLst>
  </p:cSld>
  <p:clrMapOvr>
    <a:masterClrMapping/>
  </p:clrMapOvr>
</p:sldLayout>
</file>

<file path=ppt/slideLayouts/slideLayout9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45" y="358960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42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45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435" indent="0">
              <a:buNone/>
              <a:defRPr sz="2700">
                <a:solidFill>
                  <a:schemeClr val="accent3"/>
                </a:solidFill>
              </a:defRPr>
            </a:lvl2pPr>
            <a:lvl3pPr marL="474363" indent="0">
              <a:buNone/>
              <a:defRPr sz="2700">
                <a:solidFill>
                  <a:schemeClr val="accent3"/>
                </a:solidFill>
              </a:defRPr>
            </a:lvl3pPr>
            <a:lvl4pPr marL="703296" indent="0">
              <a:buNone/>
              <a:defRPr sz="2700">
                <a:solidFill>
                  <a:schemeClr val="accent3"/>
                </a:solidFill>
              </a:defRPr>
            </a:lvl4pPr>
            <a:lvl5pPr marL="932232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340182067"/>
      </p:ext>
    </p:extLst>
  </p:cSld>
  <p:clrMapOvr>
    <a:masterClrMapping/>
  </p:clrMapOvr>
</p:sldLayout>
</file>

<file path=ppt/slideLayouts/slideLayout9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42" y="1854632"/>
            <a:ext cx="10725159" cy="451832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21167379"/>
      </p:ext>
    </p:extLst>
  </p:cSld>
  <p:clrMapOvr>
    <a:masterClrMapping/>
  </p:clrMapOvr>
</p:sldLayout>
</file>

<file path=ppt/slideLayouts/slideLayout9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9776265"/>
      </p:ext>
    </p:extLst>
  </p:cSld>
  <p:clrMapOvr>
    <a:masterClrMapping/>
  </p:clrMapOvr>
</p:sldLayout>
</file>

<file path=ppt/slideLayouts/slideLayout9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1980" y="1854632"/>
            <a:ext cx="5080446" cy="451832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256688" y="1854695"/>
            <a:ext cx="5080448" cy="451832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2045" y="1290132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5435" indent="0">
              <a:buNone/>
              <a:defRPr sz="2700">
                <a:solidFill>
                  <a:schemeClr val="accent3"/>
                </a:solidFill>
              </a:defRPr>
            </a:lvl2pPr>
            <a:lvl3pPr marL="474363" indent="0">
              <a:buNone/>
              <a:defRPr sz="2700">
                <a:solidFill>
                  <a:schemeClr val="accent3"/>
                </a:solidFill>
              </a:defRPr>
            </a:lvl3pPr>
            <a:lvl4pPr marL="703296" indent="0">
              <a:buNone/>
              <a:defRPr sz="2700">
                <a:solidFill>
                  <a:schemeClr val="accent3"/>
                </a:solidFill>
              </a:defRPr>
            </a:lvl4pPr>
            <a:lvl5pPr marL="932232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86310414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99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3707423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99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12" y="358929"/>
            <a:ext cx="10725159" cy="931463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2011" y="1854632"/>
            <a:ext cx="10725159" cy="451832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2012" y="819634"/>
            <a:ext cx="10725159" cy="470918"/>
          </a:xfrm>
        </p:spPr>
        <p:txBody>
          <a:bodyPr/>
          <a:lstStyle>
            <a:lvl1pPr marL="0" indent="0">
              <a:lnSpc>
                <a:spcPts val="2744"/>
              </a:lnSpc>
              <a:buNone/>
              <a:defRPr sz="2600">
                <a:solidFill>
                  <a:srgbClr val="4D4D4D"/>
                </a:solidFill>
              </a:defRPr>
            </a:lvl1pPr>
            <a:lvl2pPr marL="246126" indent="0">
              <a:buNone/>
              <a:defRPr sz="2700">
                <a:solidFill>
                  <a:schemeClr val="accent3"/>
                </a:solidFill>
              </a:defRPr>
            </a:lvl2pPr>
            <a:lvl3pPr marL="475705" indent="0">
              <a:buNone/>
              <a:defRPr sz="2700">
                <a:solidFill>
                  <a:schemeClr val="accent3"/>
                </a:solidFill>
              </a:defRPr>
            </a:lvl3pPr>
            <a:lvl4pPr marL="705287" indent="0">
              <a:buNone/>
              <a:defRPr sz="2700">
                <a:solidFill>
                  <a:schemeClr val="accent3"/>
                </a:solidFill>
              </a:defRPr>
            </a:lvl4pPr>
            <a:lvl5pPr marL="934876" indent="0">
              <a:buNone/>
              <a:defRPr sz="27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7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311014456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0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6.xml"/><Relationship Id="rId3" Type="http://schemas.openxmlformats.org/officeDocument/2006/relationships/slideLayout" Target="../slideLayouts/slideLayout71.xml"/><Relationship Id="rId7" Type="http://schemas.openxmlformats.org/officeDocument/2006/relationships/slideLayout" Target="../slideLayouts/slideLayout75.xml"/><Relationship Id="rId12" Type="http://schemas.openxmlformats.org/officeDocument/2006/relationships/oleObject" Target="../embeddings/oleObject30.bin"/><Relationship Id="rId2" Type="http://schemas.openxmlformats.org/officeDocument/2006/relationships/slideLayout" Target="../slideLayouts/slideLayout70.xml"/><Relationship Id="rId1" Type="http://schemas.openxmlformats.org/officeDocument/2006/relationships/slideLayout" Target="../slideLayouts/slideLayout69.xml"/><Relationship Id="rId6" Type="http://schemas.openxmlformats.org/officeDocument/2006/relationships/slideLayout" Target="../slideLayouts/slideLayout74.xml"/><Relationship Id="rId11" Type="http://schemas.openxmlformats.org/officeDocument/2006/relationships/tags" Target="../tags/tag31.xml"/><Relationship Id="rId5" Type="http://schemas.openxmlformats.org/officeDocument/2006/relationships/slideLayout" Target="../slideLayouts/slideLayout73.xml"/><Relationship Id="rId10" Type="http://schemas.openxmlformats.org/officeDocument/2006/relationships/vmlDrawing" Target="../drawings/vmlDrawing30.vml"/><Relationship Id="rId4" Type="http://schemas.openxmlformats.org/officeDocument/2006/relationships/slideLayout" Target="../slideLayouts/slideLayout72.xml"/><Relationship Id="rId9" Type="http://schemas.openxmlformats.org/officeDocument/2006/relationships/theme" Target="../theme/theme10.xml"/></Relationships>
</file>

<file path=ppt/slideMasters/_rels/slideMaster10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90.xml"/><Relationship Id="rId3" Type="http://schemas.openxmlformats.org/officeDocument/2006/relationships/slideLayout" Target="../slideLayouts/slideLayout685.xml"/><Relationship Id="rId7" Type="http://schemas.openxmlformats.org/officeDocument/2006/relationships/slideLayout" Target="../slideLayouts/slideLayout689.xml"/><Relationship Id="rId2" Type="http://schemas.openxmlformats.org/officeDocument/2006/relationships/slideLayout" Target="../slideLayouts/slideLayout684.xml"/><Relationship Id="rId1" Type="http://schemas.openxmlformats.org/officeDocument/2006/relationships/slideLayout" Target="../slideLayouts/slideLayout683.xml"/><Relationship Id="rId6" Type="http://schemas.openxmlformats.org/officeDocument/2006/relationships/slideLayout" Target="../slideLayouts/slideLayout688.xml"/><Relationship Id="rId5" Type="http://schemas.openxmlformats.org/officeDocument/2006/relationships/slideLayout" Target="../slideLayouts/slideLayout687.xml"/><Relationship Id="rId4" Type="http://schemas.openxmlformats.org/officeDocument/2006/relationships/slideLayout" Target="../slideLayouts/slideLayout686.xml"/><Relationship Id="rId9" Type="http://schemas.openxmlformats.org/officeDocument/2006/relationships/theme" Target="../theme/theme100.xml"/></Relationships>
</file>

<file path=ppt/slideMasters/_rels/slideMaster10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01.xml"/><Relationship Id="rId2" Type="http://schemas.openxmlformats.org/officeDocument/2006/relationships/slideLayout" Target="../slideLayouts/slideLayout692.xml"/><Relationship Id="rId1" Type="http://schemas.openxmlformats.org/officeDocument/2006/relationships/slideLayout" Target="../slideLayouts/slideLayout691.xml"/><Relationship Id="rId6" Type="http://schemas.openxmlformats.org/officeDocument/2006/relationships/oleObject" Target="../embeddings/oleObject128.bin"/><Relationship Id="rId5" Type="http://schemas.openxmlformats.org/officeDocument/2006/relationships/tags" Target="../tags/tag129.xml"/><Relationship Id="rId4" Type="http://schemas.openxmlformats.org/officeDocument/2006/relationships/vmlDrawing" Target="../drawings/vmlDrawing128.vml"/></Relationships>
</file>

<file path=ppt/slideMasters/_rels/slideMaster10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00.xml"/><Relationship Id="rId3" Type="http://schemas.openxmlformats.org/officeDocument/2006/relationships/slideLayout" Target="../slideLayouts/slideLayout695.xml"/><Relationship Id="rId7" Type="http://schemas.openxmlformats.org/officeDocument/2006/relationships/slideLayout" Target="../slideLayouts/slideLayout699.xml"/><Relationship Id="rId12" Type="http://schemas.openxmlformats.org/officeDocument/2006/relationships/oleObject" Target="../embeddings/oleObject129.bin"/><Relationship Id="rId2" Type="http://schemas.openxmlformats.org/officeDocument/2006/relationships/slideLayout" Target="../slideLayouts/slideLayout694.xml"/><Relationship Id="rId1" Type="http://schemas.openxmlformats.org/officeDocument/2006/relationships/slideLayout" Target="../slideLayouts/slideLayout693.xml"/><Relationship Id="rId6" Type="http://schemas.openxmlformats.org/officeDocument/2006/relationships/slideLayout" Target="../slideLayouts/slideLayout698.xml"/><Relationship Id="rId11" Type="http://schemas.openxmlformats.org/officeDocument/2006/relationships/tags" Target="../tags/tag130.xml"/><Relationship Id="rId5" Type="http://schemas.openxmlformats.org/officeDocument/2006/relationships/slideLayout" Target="../slideLayouts/slideLayout697.xml"/><Relationship Id="rId10" Type="http://schemas.openxmlformats.org/officeDocument/2006/relationships/vmlDrawing" Target="../drawings/vmlDrawing129.vml"/><Relationship Id="rId4" Type="http://schemas.openxmlformats.org/officeDocument/2006/relationships/slideLayout" Target="../slideLayouts/slideLayout696.xml"/><Relationship Id="rId9" Type="http://schemas.openxmlformats.org/officeDocument/2006/relationships/theme" Target="../theme/theme102.xml"/></Relationships>
</file>

<file path=ppt/slideMasters/_rels/slideMaster10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08.xml"/><Relationship Id="rId3" Type="http://schemas.openxmlformats.org/officeDocument/2006/relationships/slideLayout" Target="../slideLayouts/slideLayout703.xml"/><Relationship Id="rId7" Type="http://schemas.openxmlformats.org/officeDocument/2006/relationships/slideLayout" Target="../slideLayouts/slideLayout707.xml"/><Relationship Id="rId2" Type="http://schemas.openxmlformats.org/officeDocument/2006/relationships/slideLayout" Target="../slideLayouts/slideLayout702.xml"/><Relationship Id="rId1" Type="http://schemas.openxmlformats.org/officeDocument/2006/relationships/slideLayout" Target="../slideLayouts/slideLayout701.xml"/><Relationship Id="rId6" Type="http://schemas.openxmlformats.org/officeDocument/2006/relationships/slideLayout" Target="../slideLayouts/slideLayout706.xml"/><Relationship Id="rId5" Type="http://schemas.openxmlformats.org/officeDocument/2006/relationships/slideLayout" Target="../slideLayouts/slideLayout705.xml"/><Relationship Id="rId4" Type="http://schemas.openxmlformats.org/officeDocument/2006/relationships/slideLayout" Target="../slideLayouts/slideLayout704.xml"/><Relationship Id="rId9" Type="http://schemas.openxmlformats.org/officeDocument/2006/relationships/theme" Target="../theme/theme103.xml"/></Relationships>
</file>

<file path=ppt/slideMasters/_rels/slideMaster10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16.xml"/><Relationship Id="rId3" Type="http://schemas.openxmlformats.org/officeDocument/2006/relationships/slideLayout" Target="../slideLayouts/slideLayout711.xml"/><Relationship Id="rId7" Type="http://schemas.openxmlformats.org/officeDocument/2006/relationships/slideLayout" Target="../slideLayouts/slideLayout715.xml"/><Relationship Id="rId2" Type="http://schemas.openxmlformats.org/officeDocument/2006/relationships/slideLayout" Target="../slideLayouts/slideLayout710.xml"/><Relationship Id="rId1" Type="http://schemas.openxmlformats.org/officeDocument/2006/relationships/slideLayout" Target="../slideLayouts/slideLayout709.xml"/><Relationship Id="rId6" Type="http://schemas.openxmlformats.org/officeDocument/2006/relationships/slideLayout" Target="../slideLayouts/slideLayout714.xml"/><Relationship Id="rId5" Type="http://schemas.openxmlformats.org/officeDocument/2006/relationships/slideLayout" Target="../slideLayouts/slideLayout713.xml"/><Relationship Id="rId4" Type="http://schemas.openxmlformats.org/officeDocument/2006/relationships/slideLayout" Target="../slideLayouts/slideLayout712.xml"/><Relationship Id="rId9" Type="http://schemas.openxmlformats.org/officeDocument/2006/relationships/theme" Target="../theme/theme104.xml"/></Relationships>
</file>

<file path=ppt/slideMasters/_rels/slideMaster10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24.xml"/><Relationship Id="rId3" Type="http://schemas.openxmlformats.org/officeDocument/2006/relationships/slideLayout" Target="../slideLayouts/slideLayout719.xml"/><Relationship Id="rId7" Type="http://schemas.openxmlformats.org/officeDocument/2006/relationships/slideLayout" Target="../slideLayouts/slideLayout723.xml"/><Relationship Id="rId12" Type="http://schemas.openxmlformats.org/officeDocument/2006/relationships/oleObject" Target="../embeddings/oleObject133.bin"/><Relationship Id="rId2" Type="http://schemas.openxmlformats.org/officeDocument/2006/relationships/slideLayout" Target="../slideLayouts/slideLayout718.xml"/><Relationship Id="rId1" Type="http://schemas.openxmlformats.org/officeDocument/2006/relationships/slideLayout" Target="../slideLayouts/slideLayout717.xml"/><Relationship Id="rId6" Type="http://schemas.openxmlformats.org/officeDocument/2006/relationships/slideLayout" Target="../slideLayouts/slideLayout722.xml"/><Relationship Id="rId11" Type="http://schemas.openxmlformats.org/officeDocument/2006/relationships/tags" Target="../tags/tag134.xml"/><Relationship Id="rId5" Type="http://schemas.openxmlformats.org/officeDocument/2006/relationships/slideLayout" Target="../slideLayouts/slideLayout721.xml"/><Relationship Id="rId10" Type="http://schemas.openxmlformats.org/officeDocument/2006/relationships/vmlDrawing" Target="../drawings/vmlDrawing133.vml"/><Relationship Id="rId4" Type="http://schemas.openxmlformats.org/officeDocument/2006/relationships/slideLayout" Target="../slideLayouts/slideLayout720.xml"/><Relationship Id="rId9" Type="http://schemas.openxmlformats.org/officeDocument/2006/relationships/theme" Target="../theme/theme105.xml"/></Relationships>
</file>

<file path=ppt/slideMasters/_rels/slideMaster10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27.xml"/><Relationship Id="rId2" Type="http://schemas.openxmlformats.org/officeDocument/2006/relationships/slideLayout" Target="../slideLayouts/slideLayout726.xml"/><Relationship Id="rId1" Type="http://schemas.openxmlformats.org/officeDocument/2006/relationships/slideLayout" Target="../slideLayouts/slideLayout725.xml"/><Relationship Id="rId5" Type="http://schemas.openxmlformats.org/officeDocument/2006/relationships/theme" Target="../theme/theme106.xml"/><Relationship Id="rId4" Type="http://schemas.openxmlformats.org/officeDocument/2006/relationships/slideLayout" Target="../slideLayouts/slideLayout728.xml"/></Relationships>
</file>

<file path=ppt/slideMasters/_rels/slideMaster10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36.xml"/><Relationship Id="rId3" Type="http://schemas.openxmlformats.org/officeDocument/2006/relationships/slideLayout" Target="../slideLayouts/slideLayout731.xml"/><Relationship Id="rId7" Type="http://schemas.openxmlformats.org/officeDocument/2006/relationships/slideLayout" Target="../slideLayouts/slideLayout735.xml"/><Relationship Id="rId2" Type="http://schemas.openxmlformats.org/officeDocument/2006/relationships/slideLayout" Target="../slideLayouts/slideLayout730.xml"/><Relationship Id="rId1" Type="http://schemas.openxmlformats.org/officeDocument/2006/relationships/slideLayout" Target="../slideLayouts/slideLayout729.xml"/><Relationship Id="rId6" Type="http://schemas.openxmlformats.org/officeDocument/2006/relationships/slideLayout" Target="../slideLayouts/slideLayout734.xml"/><Relationship Id="rId5" Type="http://schemas.openxmlformats.org/officeDocument/2006/relationships/slideLayout" Target="../slideLayouts/slideLayout733.xml"/><Relationship Id="rId4" Type="http://schemas.openxmlformats.org/officeDocument/2006/relationships/slideLayout" Target="../slideLayouts/slideLayout732.xml"/><Relationship Id="rId9" Type="http://schemas.openxmlformats.org/officeDocument/2006/relationships/theme" Target="../theme/theme107.xml"/></Relationships>
</file>

<file path=ppt/slideMasters/_rels/slideMaster10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44.xml"/><Relationship Id="rId13" Type="http://schemas.openxmlformats.org/officeDocument/2006/relationships/oleObject" Target="../embeddings/oleObject137.bin"/><Relationship Id="rId3" Type="http://schemas.openxmlformats.org/officeDocument/2006/relationships/slideLayout" Target="../slideLayouts/slideLayout739.xml"/><Relationship Id="rId7" Type="http://schemas.openxmlformats.org/officeDocument/2006/relationships/slideLayout" Target="../slideLayouts/slideLayout743.xml"/><Relationship Id="rId12" Type="http://schemas.openxmlformats.org/officeDocument/2006/relationships/tags" Target="../tags/tag138.xml"/><Relationship Id="rId2" Type="http://schemas.openxmlformats.org/officeDocument/2006/relationships/slideLayout" Target="../slideLayouts/slideLayout738.xml"/><Relationship Id="rId1" Type="http://schemas.openxmlformats.org/officeDocument/2006/relationships/slideLayout" Target="../slideLayouts/slideLayout737.xml"/><Relationship Id="rId6" Type="http://schemas.openxmlformats.org/officeDocument/2006/relationships/slideLayout" Target="../slideLayouts/slideLayout742.xml"/><Relationship Id="rId11" Type="http://schemas.openxmlformats.org/officeDocument/2006/relationships/vmlDrawing" Target="../drawings/vmlDrawing137.vml"/><Relationship Id="rId5" Type="http://schemas.openxmlformats.org/officeDocument/2006/relationships/slideLayout" Target="../slideLayouts/slideLayout741.xml"/><Relationship Id="rId10" Type="http://schemas.openxmlformats.org/officeDocument/2006/relationships/theme" Target="../theme/theme108.xml"/><Relationship Id="rId4" Type="http://schemas.openxmlformats.org/officeDocument/2006/relationships/slideLayout" Target="../slideLayouts/slideLayout740.xml"/><Relationship Id="rId9" Type="http://schemas.openxmlformats.org/officeDocument/2006/relationships/slideLayout" Target="../slideLayouts/slideLayout745.xml"/></Relationships>
</file>

<file path=ppt/slideMasters/_rels/slideMaster10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53.xml"/><Relationship Id="rId3" Type="http://schemas.openxmlformats.org/officeDocument/2006/relationships/slideLayout" Target="../slideLayouts/slideLayout748.xml"/><Relationship Id="rId7" Type="http://schemas.openxmlformats.org/officeDocument/2006/relationships/slideLayout" Target="../slideLayouts/slideLayout752.xml"/><Relationship Id="rId2" Type="http://schemas.openxmlformats.org/officeDocument/2006/relationships/slideLayout" Target="../slideLayouts/slideLayout747.xml"/><Relationship Id="rId1" Type="http://schemas.openxmlformats.org/officeDocument/2006/relationships/slideLayout" Target="../slideLayouts/slideLayout746.xml"/><Relationship Id="rId6" Type="http://schemas.openxmlformats.org/officeDocument/2006/relationships/slideLayout" Target="../slideLayouts/slideLayout751.xml"/><Relationship Id="rId11" Type="http://schemas.openxmlformats.org/officeDocument/2006/relationships/theme" Target="../theme/theme109.xml"/><Relationship Id="rId5" Type="http://schemas.openxmlformats.org/officeDocument/2006/relationships/slideLayout" Target="../slideLayouts/slideLayout750.xml"/><Relationship Id="rId10" Type="http://schemas.openxmlformats.org/officeDocument/2006/relationships/slideLayout" Target="../slideLayouts/slideLayout755.xml"/><Relationship Id="rId4" Type="http://schemas.openxmlformats.org/officeDocument/2006/relationships/slideLayout" Target="../slideLayouts/slideLayout749.xml"/><Relationship Id="rId9" Type="http://schemas.openxmlformats.org/officeDocument/2006/relationships/slideLayout" Target="../slideLayouts/slideLayout754.xml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4.xml"/><Relationship Id="rId3" Type="http://schemas.openxmlformats.org/officeDocument/2006/relationships/slideLayout" Target="../slideLayouts/slideLayout79.xml"/><Relationship Id="rId7" Type="http://schemas.openxmlformats.org/officeDocument/2006/relationships/slideLayout" Target="../slideLayouts/slideLayout83.xml"/><Relationship Id="rId2" Type="http://schemas.openxmlformats.org/officeDocument/2006/relationships/slideLayout" Target="../slideLayouts/slideLayout78.xml"/><Relationship Id="rId1" Type="http://schemas.openxmlformats.org/officeDocument/2006/relationships/slideLayout" Target="../slideLayouts/slideLayout77.xml"/><Relationship Id="rId6" Type="http://schemas.openxmlformats.org/officeDocument/2006/relationships/slideLayout" Target="../slideLayouts/slideLayout82.xml"/><Relationship Id="rId5" Type="http://schemas.openxmlformats.org/officeDocument/2006/relationships/slideLayout" Target="../slideLayouts/slideLayout81.xml"/><Relationship Id="rId4" Type="http://schemas.openxmlformats.org/officeDocument/2006/relationships/slideLayout" Target="../slideLayouts/slideLayout80.xml"/><Relationship Id="rId9" Type="http://schemas.openxmlformats.org/officeDocument/2006/relationships/theme" Target="../theme/theme11.xml"/></Relationships>
</file>

<file path=ppt/slideMasters/_rels/slideMaster1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63.xml"/><Relationship Id="rId3" Type="http://schemas.openxmlformats.org/officeDocument/2006/relationships/slideLayout" Target="../slideLayouts/slideLayout758.xml"/><Relationship Id="rId7" Type="http://schemas.openxmlformats.org/officeDocument/2006/relationships/slideLayout" Target="../slideLayouts/slideLayout762.xml"/><Relationship Id="rId12" Type="http://schemas.openxmlformats.org/officeDocument/2006/relationships/oleObject" Target="../embeddings/oleObject141.bin"/><Relationship Id="rId2" Type="http://schemas.openxmlformats.org/officeDocument/2006/relationships/slideLayout" Target="../slideLayouts/slideLayout757.xml"/><Relationship Id="rId1" Type="http://schemas.openxmlformats.org/officeDocument/2006/relationships/slideLayout" Target="../slideLayouts/slideLayout756.xml"/><Relationship Id="rId6" Type="http://schemas.openxmlformats.org/officeDocument/2006/relationships/slideLayout" Target="../slideLayouts/slideLayout761.xml"/><Relationship Id="rId11" Type="http://schemas.openxmlformats.org/officeDocument/2006/relationships/tags" Target="../tags/tag142.xml"/><Relationship Id="rId5" Type="http://schemas.openxmlformats.org/officeDocument/2006/relationships/slideLayout" Target="../slideLayouts/slideLayout760.xml"/><Relationship Id="rId10" Type="http://schemas.openxmlformats.org/officeDocument/2006/relationships/vmlDrawing" Target="../drawings/vmlDrawing141.vml"/><Relationship Id="rId4" Type="http://schemas.openxmlformats.org/officeDocument/2006/relationships/slideLayout" Target="../slideLayouts/slideLayout759.xml"/><Relationship Id="rId9" Type="http://schemas.openxmlformats.org/officeDocument/2006/relationships/theme" Target="../theme/theme110.xml"/></Relationships>
</file>

<file path=ppt/slideMasters/_rels/slideMaster1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71.xml"/><Relationship Id="rId3" Type="http://schemas.openxmlformats.org/officeDocument/2006/relationships/slideLayout" Target="../slideLayouts/slideLayout766.xml"/><Relationship Id="rId7" Type="http://schemas.openxmlformats.org/officeDocument/2006/relationships/slideLayout" Target="../slideLayouts/slideLayout770.xml"/><Relationship Id="rId12" Type="http://schemas.openxmlformats.org/officeDocument/2006/relationships/oleObject" Target="../embeddings/oleObject145.bin"/><Relationship Id="rId2" Type="http://schemas.openxmlformats.org/officeDocument/2006/relationships/slideLayout" Target="../slideLayouts/slideLayout765.xml"/><Relationship Id="rId1" Type="http://schemas.openxmlformats.org/officeDocument/2006/relationships/slideLayout" Target="../slideLayouts/slideLayout764.xml"/><Relationship Id="rId6" Type="http://schemas.openxmlformats.org/officeDocument/2006/relationships/slideLayout" Target="../slideLayouts/slideLayout769.xml"/><Relationship Id="rId11" Type="http://schemas.openxmlformats.org/officeDocument/2006/relationships/tags" Target="../tags/tag146.xml"/><Relationship Id="rId5" Type="http://schemas.openxmlformats.org/officeDocument/2006/relationships/slideLayout" Target="../slideLayouts/slideLayout768.xml"/><Relationship Id="rId10" Type="http://schemas.openxmlformats.org/officeDocument/2006/relationships/vmlDrawing" Target="../drawings/vmlDrawing145.vml"/><Relationship Id="rId4" Type="http://schemas.openxmlformats.org/officeDocument/2006/relationships/slideLayout" Target="../slideLayouts/slideLayout767.xml"/><Relationship Id="rId9" Type="http://schemas.openxmlformats.org/officeDocument/2006/relationships/theme" Target="../theme/theme111.xml"/></Relationships>
</file>

<file path=ppt/slideMasters/_rels/slideMaster1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79.xml"/><Relationship Id="rId3" Type="http://schemas.openxmlformats.org/officeDocument/2006/relationships/slideLayout" Target="../slideLayouts/slideLayout774.xml"/><Relationship Id="rId7" Type="http://schemas.openxmlformats.org/officeDocument/2006/relationships/slideLayout" Target="../slideLayouts/slideLayout778.xml"/><Relationship Id="rId2" Type="http://schemas.openxmlformats.org/officeDocument/2006/relationships/slideLayout" Target="../slideLayouts/slideLayout773.xml"/><Relationship Id="rId1" Type="http://schemas.openxmlformats.org/officeDocument/2006/relationships/slideLayout" Target="../slideLayouts/slideLayout772.xml"/><Relationship Id="rId6" Type="http://schemas.openxmlformats.org/officeDocument/2006/relationships/slideLayout" Target="../slideLayouts/slideLayout777.xml"/><Relationship Id="rId5" Type="http://schemas.openxmlformats.org/officeDocument/2006/relationships/slideLayout" Target="../slideLayouts/slideLayout776.xml"/><Relationship Id="rId4" Type="http://schemas.openxmlformats.org/officeDocument/2006/relationships/slideLayout" Target="../slideLayouts/slideLayout775.xml"/><Relationship Id="rId9" Type="http://schemas.openxmlformats.org/officeDocument/2006/relationships/theme" Target="../theme/theme112.xml"/></Relationships>
</file>

<file path=ppt/slideMasters/_rels/slideMaster11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87.xml"/><Relationship Id="rId3" Type="http://schemas.openxmlformats.org/officeDocument/2006/relationships/slideLayout" Target="../slideLayouts/slideLayout782.xml"/><Relationship Id="rId7" Type="http://schemas.openxmlformats.org/officeDocument/2006/relationships/slideLayout" Target="../slideLayouts/slideLayout786.xml"/><Relationship Id="rId2" Type="http://schemas.openxmlformats.org/officeDocument/2006/relationships/slideLayout" Target="../slideLayouts/slideLayout781.xml"/><Relationship Id="rId1" Type="http://schemas.openxmlformats.org/officeDocument/2006/relationships/slideLayout" Target="../slideLayouts/slideLayout780.xml"/><Relationship Id="rId6" Type="http://schemas.openxmlformats.org/officeDocument/2006/relationships/slideLayout" Target="../slideLayouts/slideLayout785.xml"/><Relationship Id="rId11" Type="http://schemas.openxmlformats.org/officeDocument/2006/relationships/theme" Target="../theme/theme113.xml"/><Relationship Id="rId5" Type="http://schemas.openxmlformats.org/officeDocument/2006/relationships/slideLayout" Target="../slideLayouts/slideLayout784.xml"/><Relationship Id="rId10" Type="http://schemas.openxmlformats.org/officeDocument/2006/relationships/slideLayout" Target="../slideLayouts/slideLayout789.xml"/><Relationship Id="rId4" Type="http://schemas.openxmlformats.org/officeDocument/2006/relationships/slideLayout" Target="../slideLayouts/slideLayout783.xml"/><Relationship Id="rId9" Type="http://schemas.openxmlformats.org/officeDocument/2006/relationships/slideLayout" Target="../slideLayouts/slideLayout788.xml"/></Relationships>
</file>

<file path=ppt/slideMasters/_rels/slideMaster11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97.xml"/><Relationship Id="rId3" Type="http://schemas.openxmlformats.org/officeDocument/2006/relationships/slideLayout" Target="../slideLayouts/slideLayout792.xml"/><Relationship Id="rId7" Type="http://schemas.openxmlformats.org/officeDocument/2006/relationships/slideLayout" Target="../slideLayouts/slideLayout796.xml"/><Relationship Id="rId2" Type="http://schemas.openxmlformats.org/officeDocument/2006/relationships/slideLayout" Target="../slideLayouts/slideLayout791.xml"/><Relationship Id="rId1" Type="http://schemas.openxmlformats.org/officeDocument/2006/relationships/slideLayout" Target="../slideLayouts/slideLayout790.xml"/><Relationship Id="rId6" Type="http://schemas.openxmlformats.org/officeDocument/2006/relationships/slideLayout" Target="../slideLayouts/slideLayout795.xml"/><Relationship Id="rId11" Type="http://schemas.openxmlformats.org/officeDocument/2006/relationships/theme" Target="../theme/theme114.xml"/><Relationship Id="rId5" Type="http://schemas.openxmlformats.org/officeDocument/2006/relationships/slideLayout" Target="../slideLayouts/slideLayout794.xml"/><Relationship Id="rId10" Type="http://schemas.openxmlformats.org/officeDocument/2006/relationships/slideLayout" Target="../slideLayouts/slideLayout799.xml"/><Relationship Id="rId4" Type="http://schemas.openxmlformats.org/officeDocument/2006/relationships/slideLayout" Target="../slideLayouts/slideLayout793.xml"/><Relationship Id="rId9" Type="http://schemas.openxmlformats.org/officeDocument/2006/relationships/slideLayout" Target="../slideLayouts/slideLayout798.xml"/></Relationships>
</file>

<file path=ppt/slideMasters/_rels/slideMaster11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07.xml"/><Relationship Id="rId3" Type="http://schemas.openxmlformats.org/officeDocument/2006/relationships/slideLayout" Target="../slideLayouts/slideLayout802.xml"/><Relationship Id="rId7" Type="http://schemas.openxmlformats.org/officeDocument/2006/relationships/slideLayout" Target="../slideLayouts/slideLayout806.xml"/><Relationship Id="rId12" Type="http://schemas.openxmlformats.org/officeDocument/2006/relationships/oleObject" Target="../embeddings/oleObject146.bin"/><Relationship Id="rId2" Type="http://schemas.openxmlformats.org/officeDocument/2006/relationships/slideLayout" Target="../slideLayouts/slideLayout801.xml"/><Relationship Id="rId1" Type="http://schemas.openxmlformats.org/officeDocument/2006/relationships/slideLayout" Target="../slideLayouts/slideLayout800.xml"/><Relationship Id="rId6" Type="http://schemas.openxmlformats.org/officeDocument/2006/relationships/slideLayout" Target="../slideLayouts/slideLayout805.xml"/><Relationship Id="rId11" Type="http://schemas.openxmlformats.org/officeDocument/2006/relationships/tags" Target="../tags/tag147.xml"/><Relationship Id="rId5" Type="http://schemas.openxmlformats.org/officeDocument/2006/relationships/slideLayout" Target="../slideLayouts/slideLayout804.xml"/><Relationship Id="rId10" Type="http://schemas.openxmlformats.org/officeDocument/2006/relationships/vmlDrawing" Target="../drawings/vmlDrawing146.vml"/><Relationship Id="rId4" Type="http://schemas.openxmlformats.org/officeDocument/2006/relationships/slideLayout" Target="../slideLayouts/slideLayout803.xml"/><Relationship Id="rId9" Type="http://schemas.openxmlformats.org/officeDocument/2006/relationships/theme" Target="../theme/theme115.xml"/></Relationships>
</file>

<file path=ppt/slideMasters/_rels/slideMaster11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15.xml"/><Relationship Id="rId3" Type="http://schemas.openxmlformats.org/officeDocument/2006/relationships/slideLayout" Target="../slideLayouts/slideLayout810.xml"/><Relationship Id="rId7" Type="http://schemas.openxmlformats.org/officeDocument/2006/relationships/slideLayout" Target="../slideLayouts/slideLayout814.xml"/><Relationship Id="rId2" Type="http://schemas.openxmlformats.org/officeDocument/2006/relationships/slideLayout" Target="../slideLayouts/slideLayout809.xml"/><Relationship Id="rId1" Type="http://schemas.openxmlformats.org/officeDocument/2006/relationships/slideLayout" Target="../slideLayouts/slideLayout808.xml"/><Relationship Id="rId6" Type="http://schemas.openxmlformats.org/officeDocument/2006/relationships/slideLayout" Target="../slideLayouts/slideLayout813.xml"/><Relationship Id="rId5" Type="http://schemas.openxmlformats.org/officeDocument/2006/relationships/slideLayout" Target="../slideLayouts/slideLayout812.xml"/><Relationship Id="rId10" Type="http://schemas.openxmlformats.org/officeDocument/2006/relationships/theme" Target="../theme/theme116.xml"/><Relationship Id="rId4" Type="http://schemas.openxmlformats.org/officeDocument/2006/relationships/slideLayout" Target="../slideLayouts/slideLayout811.xml"/><Relationship Id="rId9" Type="http://schemas.openxmlformats.org/officeDocument/2006/relationships/slideLayout" Target="../slideLayouts/slideLayout816.xml"/></Relationships>
</file>

<file path=ppt/slideMasters/_rels/slideMaster11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24.xml"/><Relationship Id="rId13" Type="http://schemas.openxmlformats.org/officeDocument/2006/relationships/vmlDrawing" Target="../drawings/vmlDrawing147.vml"/><Relationship Id="rId3" Type="http://schemas.openxmlformats.org/officeDocument/2006/relationships/slideLayout" Target="../slideLayouts/slideLayout819.xml"/><Relationship Id="rId7" Type="http://schemas.openxmlformats.org/officeDocument/2006/relationships/slideLayout" Target="../slideLayouts/slideLayout823.xml"/><Relationship Id="rId12" Type="http://schemas.openxmlformats.org/officeDocument/2006/relationships/theme" Target="../theme/theme117.xml"/><Relationship Id="rId2" Type="http://schemas.openxmlformats.org/officeDocument/2006/relationships/slideLayout" Target="../slideLayouts/slideLayout818.xml"/><Relationship Id="rId1" Type="http://schemas.openxmlformats.org/officeDocument/2006/relationships/slideLayout" Target="../slideLayouts/slideLayout817.xml"/><Relationship Id="rId6" Type="http://schemas.openxmlformats.org/officeDocument/2006/relationships/slideLayout" Target="../slideLayouts/slideLayout822.xml"/><Relationship Id="rId11" Type="http://schemas.openxmlformats.org/officeDocument/2006/relationships/slideLayout" Target="../slideLayouts/slideLayout827.xml"/><Relationship Id="rId5" Type="http://schemas.openxmlformats.org/officeDocument/2006/relationships/slideLayout" Target="../slideLayouts/slideLayout821.xml"/><Relationship Id="rId15" Type="http://schemas.openxmlformats.org/officeDocument/2006/relationships/oleObject" Target="../embeddings/oleObject147.bin"/><Relationship Id="rId10" Type="http://schemas.openxmlformats.org/officeDocument/2006/relationships/slideLayout" Target="../slideLayouts/slideLayout826.xml"/><Relationship Id="rId4" Type="http://schemas.openxmlformats.org/officeDocument/2006/relationships/slideLayout" Target="../slideLayouts/slideLayout820.xml"/><Relationship Id="rId9" Type="http://schemas.openxmlformats.org/officeDocument/2006/relationships/slideLayout" Target="../slideLayouts/slideLayout825.xml"/><Relationship Id="rId14" Type="http://schemas.openxmlformats.org/officeDocument/2006/relationships/tags" Target="../tags/tag148.xml"/></Relationships>
</file>

<file path=ppt/slideMasters/_rels/slideMaster118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49.bin"/><Relationship Id="rId3" Type="http://schemas.openxmlformats.org/officeDocument/2006/relationships/slideLayout" Target="../slideLayouts/slideLayout830.xml"/><Relationship Id="rId7" Type="http://schemas.openxmlformats.org/officeDocument/2006/relationships/tags" Target="../tags/tag150.xml"/><Relationship Id="rId2" Type="http://schemas.openxmlformats.org/officeDocument/2006/relationships/slideLayout" Target="../slideLayouts/slideLayout829.xml"/><Relationship Id="rId1" Type="http://schemas.openxmlformats.org/officeDocument/2006/relationships/slideLayout" Target="../slideLayouts/slideLayout828.xml"/><Relationship Id="rId6" Type="http://schemas.openxmlformats.org/officeDocument/2006/relationships/vmlDrawing" Target="../drawings/vmlDrawing149.vml"/><Relationship Id="rId5" Type="http://schemas.openxmlformats.org/officeDocument/2006/relationships/theme" Target="../theme/theme118.xml"/><Relationship Id="rId4" Type="http://schemas.openxmlformats.org/officeDocument/2006/relationships/slideLayout" Target="../slideLayouts/slideLayout831.xml"/></Relationships>
</file>

<file path=ppt/slideMasters/_rels/slideMaster11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34.xml"/><Relationship Id="rId2" Type="http://schemas.openxmlformats.org/officeDocument/2006/relationships/slideLayout" Target="../slideLayouts/slideLayout833.xml"/><Relationship Id="rId1" Type="http://schemas.openxmlformats.org/officeDocument/2006/relationships/slideLayout" Target="../slideLayouts/slideLayout832.xml"/><Relationship Id="rId5" Type="http://schemas.openxmlformats.org/officeDocument/2006/relationships/theme" Target="../theme/theme119.xml"/><Relationship Id="rId4" Type="http://schemas.openxmlformats.org/officeDocument/2006/relationships/slideLayout" Target="../slideLayouts/slideLayout835.xml"/></Relationships>
</file>

<file path=ppt/slideMasters/_rels/slideMaster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7.xml"/><Relationship Id="rId2" Type="http://schemas.openxmlformats.org/officeDocument/2006/relationships/slideLayout" Target="../slideLayouts/slideLayout86.xml"/><Relationship Id="rId1" Type="http://schemas.openxmlformats.org/officeDocument/2006/relationships/slideLayout" Target="../slideLayouts/slideLayout85.xml"/><Relationship Id="rId5" Type="http://schemas.openxmlformats.org/officeDocument/2006/relationships/theme" Target="../theme/theme12.xml"/><Relationship Id="rId4" Type="http://schemas.openxmlformats.org/officeDocument/2006/relationships/slideLayout" Target="../slideLayouts/slideLayout88.xml"/></Relationships>
</file>

<file path=ppt/slideMasters/_rels/slideMaster12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38.xml"/><Relationship Id="rId2" Type="http://schemas.openxmlformats.org/officeDocument/2006/relationships/slideLayout" Target="../slideLayouts/slideLayout837.xml"/><Relationship Id="rId1" Type="http://schemas.openxmlformats.org/officeDocument/2006/relationships/slideLayout" Target="../slideLayouts/slideLayout836.xml"/><Relationship Id="rId5" Type="http://schemas.openxmlformats.org/officeDocument/2006/relationships/theme" Target="../theme/theme120.xml"/><Relationship Id="rId4" Type="http://schemas.openxmlformats.org/officeDocument/2006/relationships/slideLayout" Target="../slideLayouts/slideLayout839.xml"/></Relationships>
</file>

<file path=ppt/slideMasters/_rels/slideMaster12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42.xml"/><Relationship Id="rId2" Type="http://schemas.openxmlformats.org/officeDocument/2006/relationships/slideLayout" Target="../slideLayouts/slideLayout841.xml"/><Relationship Id="rId1" Type="http://schemas.openxmlformats.org/officeDocument/2006/relationships/slideLayout" Target="../slideLayouts/slideLayout840.xml"/><Relationship Id="rId5" Type="http://schemas.openxmlformats.org/officeDocument/2006/relationships/theme" Target="../theme/theme121.xml"/><Relationship Id="rId4" Type="http://schemas.openxmlformats.org/officeDocument/2006/relationships/slideLayout" Target="../slideLayouts/slideLayout843.xml"/></Relationships>
</file>

<file path=ppt/slideMasters/_rels/slideMaster12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46.xml"/><Relationship Id="rId2" Type="http://schemas.openxmlformats.org/officeDocument/2006/relationships/slideLayout" Target="../slideLayouts/slideLayout845.xml"/><Relationship Id="rId1" Type="http://schemas.openxmlformats.org/officeDocument/2006/relationships/slideLayout" Target="../slideLayouts/slideLayout844.xml"/><Relationship Id="rId5" Type="http://schemas.openxmlformats.org/officeDocument/2006/relationships/theme" Target="../theme/theme122.xml"/><Relationship Id="rId4" Type="http://schemas.openxmlformats.org/officeDocument/2006/relationships/slideLayout" Target="../slideLayouts/slideLayout847.xml"/></Relationships>
</file>

<file path=ppt/slideMasters/_rels/slideMaster12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55.xml"/><Relationship Id="rId3" Type="http://schemas.openxmlformats.org/officeDocument/2006/relationships/slideLayout" Target="../slideLayouts/slideLayout850.xml"/><Relationship Id="rId7" Type="http://schemas.openxmlformats.org/officeDocument/2006/relationships/slideLayout" Target="../slideLayouts/slideLayout854.xml"/><Relationship Id="rId12" Type="http://schemas.openxmlformats.org/officeDocument/2006/relationships/oleObject" Target="../embeddings/oleObject150.bin"/><Relationship Id="rId2" Type="http://schemas.openxmlformats.org/officeDocument/2006/relationships/slideLayout" Target="../slideLayouts/slideLayout849.xml"/><Relationship Id="rId1" Type="http://schemas.openxmlformats.org/officeDocument/2006/relationships/slideLayout" Target="../slideLayouts/slideLayout848.xml"/><Relationship Id="rId6" Type="http://schemas.openxmlformats.org/officeDocument/2006/relationships/slideLayout" Target="../slideLayouts/slideLayout853.xml"/><Relationship Id="rId11" Type="http://schemas.openxmlformats.org/officeDocument/2006/relationships/tags" Target="../tags/tag151.xml"/><Relationship Id="rId5" Type="http://schemas.openxmlformats.org/officeDocument/2006/relationships/slideLayout" Target="../slideLayouts/slideLayout852.xml"/><Relationship Id="rId10" Type="http://schemas.openxmlformats.org/officeDocument/2006/relationships/vmlDrawing" Target="../drawings/vmlDrawing150.vml"/><Relationship Id="rId4" Type="http://schemas.openxmlformats.org/officeDocument/2006/relationships/slideLayout" Target="../slideLayouts/slideLayout851.xml"/><Relationship Id="rId9" Type="http://schemas.openxmlformats.org/officeDocument/2006/relationships/theme" Target="../theme/theme123.xml"/></Relationships>
</file>

<file path=ppt/slideMasters/_rels/slideMaster12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58.xml"/><Relationship Id="rId2" Type="http://schemas.openxmlformats.org/officeDocument/2006/relationships/slideLayout" Target="../slideLayouts/slideLayout857.xml"/><Relationship Id="rId1" Type="http://schemas.openxmlformats.org/officeDocument/2006/relationships/slideLayout" Target="../slideLayouts/slideLayout856.xml"/><Relationship Id="rId4" Type="http://schemas.openxmlformats.org/officeDocument/2006/relationships/theme" Target="../theme/theme124.xml"/></Relationships>
</file>

<file path=ppt/slideMasters/_rels/slideMaster12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66.xml"/><Relationship Id="rId13" Type="http://schemas.openxmlformats.org/officeDocument/2006/relationships/oleObject" Target="../embeddings/oleObject154.bin"/><Relationship Id="rId3" Type="http://schemas.openxmlformats.org/officeDocument/2006/relationships/slideLayout" Target="../slideLayouts/slideLayout861.xml"/><Relationship Id="rId7" Type="http://schemas.openxmlformats.org/officeDocument/2006/relationships/slideLayout" Target="../slideLayouts/slideLayout865.xml"/><Relationship Id="rId12" Type="http://schemas.openxmlformats.org/officeDocument/2006/relationships/tags" Target="../tags/tag155.xml"/><Relationship Id="rId2" Type="http://schemas.openxmlformats.org/officeDocument/2006/relationships/slideLayout" Target="../slideLayouts/slideLayout860.xml"/><Relationship Id="rId1" Type="http://schemas.openxmlformats.org/officeDocument/2006/relationships/slideLayout" Target="../slideLayouts/slideLayout859.xml"/><Relationship Id="rId6" Type="http://schemas.openxmlformats.org/officeDocument/2006/relationships/slideLayout" Target="../slideLayouts/slideLayout864.xml"/><Relationship Id="rId11" Type="http://schemas.openxmlformats.org/officeDocument/2006/relationships/vmlDrawing" Target="../drawings/vmlDrawing154.vml"/><Relationship Id="rId5" Type="http://schemas.openxmlformats.org/officeDocument/2006/relationships/slideLayout" Target="../slideLayouts/slideLayout863.xml"/><Relationship Id="rId10" Type="http://schemas.openxmlformats.org/officeDocument/2006/relationships/theme" Target="../theme/theme125.xml"/><Relationship Id="rId4" Type="http://schemas.openxmlformats.org/officeDocument/2006/relationships/slideLayout" Target="../slideLayouts/slideLayout862.xml"/><Relationship Id="rId9" Type="http://schemas.openxmlformats.org/officeDocument/2006/relationships/slideLayout" Target="../slideLayouts/slideLayout867.xml"/></Relationships>
</file>

<file path=ppt/slideMasters/_rels/slideMaster12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75.xml"/><Relationship Id="rId3" Type="http://schemas.openxmlformats.org/officeDocument/2006/relationships/slideLayout" Target="../slideLayouts/slideLayout870.xml"/><Relationship Id="rId7" Type="http://schemas.openxmlformats.org/officeDocument/2006/relationships/slideLayout" Target="../slideLayouts/slideLayout874.xml"/><Relationship Id="rId2" Type="http://schemas.openxmlformats.org/officeDocument/2006/relationships/slideLayout" Target="../slideLayouts/slideLayout869.xml"/><Relationship Id="rId1" Type="http://schemas.openxmlformats.org/officeDocument/2006/relationships/slideLayout" Target="../slideLayouts/slideLayout868.xml"/><Relationship Id="rId6" Type="http://schemas.openxmlformats.org/officeDocument/2006/relationships/slideLayout" Target="../slideLayouts/slideLayout873.xml"/><Relationship Id="rId5" Type="http://schemas.openxmlformats.org/officeDocument/2006/relationships/slideLayout" Target="../slideLayouts/slideLayout872.xml"/><Relationship Id="rId4" Type="http://schemas.openxmlformats.org/officeDocument/2006/relationships/slideLayout" Target="../slideLayouts/slideLayout871.xml"/><Relationship Id="rId9" Type="http://schemas.openxmlformats.org/officeDocument/2006/relationships/theme" Target="../theme/theme126.xml"/></Relationships>
</file>

<file path=ppt/slideMasters/_rels/slideMaster12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78.xml"/><Relationship Id="rId2" Type="http://schemas.openxmlformats.org/officeDocument/2006/relationships/slideLayout" Target="../slideLayouts/slideLayout877.xml"/><Relationship Id="rId1" Type="http://schemas.openxmlformats.org/officeDocument/2006/relationships/slideLayout" Target="../slideLayouts/slideLayout876.xml"/><Relationship Id="rId5" Type="http://schemas.openxmlformats.org/officeDocument/2006/relationships/theme" Target="../theme/theme127.xml"/><Relationship Id="rId4" Type="http://schemas.openxmlformats.org/officeDocument/2006/relationships/slideLayout" Target="../slideLayouts/slideLayout879.xml"/></Relationships>
</file>

<file path=ppt/slideMasters/_rels/slideMaster12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87.xml"/><Relationship Id="rId3" Type="http://schemas.openxmlformats.org/officeDocument/2006/relationships/slideLayout" Target="../slideLayouts/slideLayout882.xml"/><Relationship Id="rId7" Type="http://schemas.openxmlformats.org/officeDocument/2006/relationships/slideLayout" Target="../slideLayouts/slideLayout886.xml"/><Relationship Id="rId12" Type="http://schemas.openxmlformats.org/officeDocument/2006/relationships/oleObject" Target="../embeddings/oleObject158.bin"/><Relationship Id="rId2" Type="http://schemas.openxmlformats.org/officeDocument/2006/relationships/slideLayout" Target="../slideLayouts/slideLayout881.xml"/><Relationship Id="rId1" Type="http://schemas.openxmlformats.org/officeDocument/2006/relationships/slideLayout" Target="../slideLayouts/slideLayout880.xml"/><Relationship Id="rId6" Type="http://schemas.openxmlformats.org/officeDocument/2006/relationships/slideLayout" Target="../slideLayouts/slideLayout885.xml"/><Relationship Id="rId11" Type="http://schemas.openxmlformats.org/officeDocument/2006/relationships/tags" Target="../tags/tag159.xml"/><Relationship Id="rId5" Type="http://schemas.openxmlformats.org/officeDocument/2006/relationships/slideLayout" Target="../slideLayouts/slideLayout884.xml"/><Relationship Id="rId10" Type="http://schemas.openxmlformats.org/officeDocument/2006/relationships/vmlDrawing" Target="../drawings/vmlDrawing158.vml"/><Relationship Id="rId4" Type="http://schemas.openxmlformats.org/officeDocument/2006/relationships/slideLayout" Target="../slideLayouts/slideLayout883.xml"/><Relationship Id="rId9" Type="http://schemas.openxmlformats.org/officeDocument/2006/relationships/theme" Target="../theme/theme128.xml"/></Relationships>
</file>

<file path=ppt/slideMasters/_rels/slideMaster12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95.xml"/><Relationship Id="rId3" Type="http://schemas.openxmlformats.org/officeDocument/2006/relationships/slideLayout" Target="../slideLayouts/slideLayout890.xml"/><Relationship Id="rId7" Type="http://schemas.openxmlformats.org/officeDocument/2006/relationships/slideLayout" Target="../slideLayouts/slideLayout894.xml"/><Relationship Id="rId12" Type="http://schemas.openxmlformats.org/officeDocument/2006/relationships/oleObject" Target="../embeddings/oleObject159.bin"/><Relationship Id="rId2" Type="http://schemas.openxmlformats.org/officeDocument/2006/relationships/slideLayout" Target="../slideLayouts/slideLayout889.xml"/><Relationship Id="rId1" Type="http://schemas.openxmlformats.org/officeDocument/2006/relationships/slideLayout" Target="../slideLayouts/slideLayout888.xml"/><Relationship Id="rId6" Type="http://schemas.openxmlformats.org/officeDocument/2006/relationships/slideLayout" Target="../slideLayouts/slideLayout893.xml"/><Relationship Id="rId11" Type="http://schemas.openxmlformats.org/officeDocument/2006/relationships/tags" Target="../tags/tag160.xml"/><Relationship Id="rId5" Type="http://schemas.openxmlformats.org/officeDocument/2006/relationships/slideLayout" Target="../slideLayouts/slideLayout892.xml"/><Relationship Id="rId10" Type="http://schemas.openxmlformats.org/officeDocument/2006/relationships/vmlDrawing" Target="../drawings/vmlDrawing159.vml"/><Relationship Id="rId4" Type="http://schemas.openxmlformats.org/officeDocument/2006/relationships/slideLayout" Target="../slideLayouts/slideLayout891.xml"/><Relationship Id="rId9" Type="http://schemas.openxmlformats.org/officeDocument/2006/relationships/theme" Target="../theme/theme129.xml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6.xml"/><Relationship Id="rId3" Type="http://schemas.openxmlformats.org/officeDocument/2006/relationships/slideLayout" Target="../slideLayouts/slideLayout91.xml"/><Relationship Id="rId7" Type="http://schemas.openxmlformats.org/officeDocument/2006/relationships/slideLayout" Target="../slideLayouts/slideLayout95.xml"/><Relationship Id="rId2" Type="http://schemas.openxmlformats.org/officeDocument/2006/relationships/slideLayout" Target="../slideLayouts/slideLayout90.xml"/><Relationship Id="rId1" Type="http://schemas.openxmlformats.org/officeDocument/2006/relationships/slideLayout" Target="../slideLayouts/slideLayout89.xml"/><Relationship Id="rId6" Type="http://schemas.openxmlformats.org/officeDocument/2006/relationships/slideLayout" Target="../slideLayouts/slideLayout94.xml"/><Relationship Id="rId5" Type="http://schemas.openxmlformats.org/officeDocument/2006/relationships/slideLayout" Target="../slideLayouts/slideLayout93.xml"/><Relationship Id="rId4" Type="http://schemas.openxmlformats.org/officeDocument/2006/relationships/slideLayout" Target="../slideLayouts/slideLayout92.xml"/><Relationship Id="rId9" Type="http://schemas.openxmlformats.org/officeDocument/2006/relationships/theme" Target="../theme/theme13.xml"/></Relationships>
</file>

<file path=ppt/slideMasters/_rels/slideMaster13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03.xml"/><Relationship Id="rId3" Type="http://schemas.openxmlformats.org/officeDocument/2006/relationships/slideLayout" Target="../slideLayouts/slideLayout898.xml"/><Relationship Id="rId7" Type="http://schemas.openxmlformats.org/officeDocument/2006/relationships/slideLayout" Target="../slideLayouts/slideLayout902.xml"/><Relationship Id="rId12" Type="http://schemas.openxmlformats.org/officeDocument/2006/relationships/oleObject" Target="../embeddings/oleObject163.bin"/><Relationship Id="rId2" Type="http://schemas.openxmlformats.org/officeDocument/2006/relationships/slideLayout" Target="../slideLayouts/slideLayout897.xml"/><Relationship Id="rId1" Type="http://schemas.openxmlformats.org/officeDocument/2006/relationships/slideLayout" Target="../slideLayouts/slideLayout896.xml"/><Relationship Id="rId6" Type="http://schemas.openxmlformats.org/officeDocument/2006/relationships/slideLayout" Target="../slideLayouts/slideLayout901.xml"/><Relationship Id="rId11" Type="http://schemas.openxmlformats.org/officeDocument/2006/relationships/tags" Target="../tags/tag164.xml"/><Relationship Id="rId5" Type="http://schemas.openxmlformats.org/officeDocument/2006/relationships/slideLayout" Target="../slideLayouts/slideLayout900.xml"/><Relationship Id="rId10" Type="http://schemas.openxmlformats.org/officeDocument/2006/relationships/vmlDrawing" Target="../drawings/vmlDrawing163.vml"/><Relationship Id="rId4" Type="http://schemas.openxmlformats.org/officeDocument/2006/relationships/slideLayout" Target="../slideLayouts/slideLayout899.xml"/><Relationship Id="rId9" Type="http://schemas.openxmlformats.org/officeDocument/2006/relationships/theme" Target="../theme/theme130.xml"/></Relationships>
</file>

<file path=ppt/slideMasters/_rels/slideMaster13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11.xml"/><Relationship Id="rId3" Type="http://schemas.openxmlformats.org/officeDocument/2006/relationships/slideLayout" Target="../slideLayouts/slideLayout906.xml"/><Relationship Id="rId7" Type="http://schemas.openxmlformats.org/officeDocument/2006/relationships/slideLayout" Target="../slideLayouts/slideLayout910.xml"/><Relationship Id="rId2" Type="http://schemas.openxmlformats.org/officeDocument/2006/relationships/slideLayout" Target="../slideLayouts/slideLayout905.xml"/><Relationship Id="rId1" Type="http://schemas.openxmlformats.org/officeDocument/2006/relationships/slideLayout" Target="../slideLayouts/slideLayout904.xml"/><Relationship Id="rId6" Type="http://schemas.openxmlformats.org/officeDocument/2006/relationships/slideLayout" Target="../slideLayouts/slideLayout909.xml"/><Relationship Id="rId5" Type="http://schemas.openxmlformats.org/officeDocument/2006/relationships/slideLayout" Target="../slideLayouts/slideLayout908.xml"/><Relationship Id="rId4" Type="http://schemas.openxmlformats.org/officeDocument/2006/relationships/slideLayout" Target="../slideLayouts/slideLayout907.xml"/><Relationship Id="rId9" Type="http://schemas.openxmlformats.org/officeDocument/2006/relationships/theme" Target="../theme/theme131.xml"/></Relationships>
</file>

<file path=ppt/slideMasters/_rels/slideMaster13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19.xml"/><Relationship Id="rId3" Type="http://schemas.openxmlformats.org/officeDocument/2006/relationships/slideLayout" Target="../slideLayouts/slideLayout914.xml"/><Relationship Id="rId7" Type="http://schemas.openxmlformats.org/officeDocument/2006/relationships/slideLayout" Target="../slideLayouts/slideLayout918.xml"/><Relationship Id="rId12" Type="http://schemas.openxmlformats.org/officeDocument/2006/relationships/oleObject" Target="../embeddings/oleObject164.bin"/><Relationship Id="rId2" Type="http://schemas.openxmlformats.org/officeDocument/2006/relationships/slideLayout" Target="../slideLayouts/slideLayout913.xml"/><Relationship Id="rId1" Type="http://schemas.openxmlformats.org/officeDocument/2006/relationships/slideLayout" Target="../slideLayouts/slideLayout912.xml"/><Relationship Id="rId6" Type="http://schemas.openxmlformats.org/officeDocument/2006/relationships/slideLayout" Target="../slideLayouts/slideLayout917.xml"/><Relationship Id="rId11" Type="http://schemas.openxmlformats.org/officeDocument/2006/relationships/tags" Target="../tags/tag165.xml"/><Relationship Id="rId5" Type="http://schemas.openxmlformats.org/officeDocument/2006/relationships/slideLayout" Target="../slideLayouts/slideLayout916.xml"/><Relationship Id="rId10" Type="http://schemas.openxmlformats.org/officeDocument/2006/relationships/vmlDrawing" Target="../drawings/vmlDrawing164.vml"/><Relationship Id="rId4" Type="http://schemas.openxmlformats.org/officeDocument/2006/relationships/slideLayout" Target="../slideLayouts/slideLayout915.xml"/><Relationship Id="rId9" Type="http://schemas.openxmlformats.org/officeDocument/2006/relationships/theme" Target="../theme/theme132.xml"/></Relationships>
</file>

<file path=ppt/slideMasters/_rels/slideMaster13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22.xml"/><Relationship Id="rId2" Type="http://schemas.openxmlformats.org/officeDocument/2006/relationships/slideLayout" Target="../slideLayouts/slideLayout921.xml"/><Relationship Id="rId1" Type="http://schemas.openxmlformats.org/officeDocument/2006/relationships/slideLayout" Target="../slideLayouts/slideLayout920.xml"/><Relationship Id="rId5" Type="http://schemas.openxmlformats.org/officeDocument/2006/relationships/theme" Target="../theme/theme133.xml"/><Relationship Id="rId4" Type="http://schemas.openxmlformats.org/officeDocument/2006/relationships/slideLayout" Target="../slideLayouts/slideLayout923.xml"/></Relationships>
</file>

<file path=ppt/slideMasters/_rels/slideMaster13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31.xml"/><Relationship Id="rId3" Type="http://schemas.openxmlformats.org/officeDocument/2006/relationships/slideLayout" Target="../slideLayouts/slideLayout926.xml"/><Relationship Id="rId7" Type="http://schemas.openxmlformats.org/officeDocument/2006/relationships/slideLayout" Target="../slideLayouts/slideLayout930.xml"/><Relationship Id="rId2" Type="http://schemas.openxmlformats.org/officeDocument/2006/relationships/slideLayout" Target="../slideLayouts/slideLayout925.xml"/><Relationship Id="rId1" Type="http://schemas.openxmlformats.org/officeDocument/2006/relationships/slideLayout" Target="../slideLayouts/slideLayout924.xml"/><Relationship Id="rId6" Type="http://schemas.openxmlformats.org/officeDocument/2006/relationships/slideLayout" Target="../slideLayouts/slideLayout929.xml"/><Relationship Id="rId5" Type="http://schemas.openxmlformats.org/officeDocument/2006/relationships/slideLayout" Target="../slideLayouts/slideLayout928.xml"/><Relationship Id="rId4" Type="http://schemas.openxmlformats.org/officeDocument/2006/relationships/slideLayout" Target="../slideLayouts/slideLayout927.xml"/><Relationship Id="rId9" Type="http://schemas.openxmlformats.org/officeDocument/2006/relationships/theme" Target="../theme/theme134.xml"/></Relationships>
</file>

<file path=ppt/slideMasters/_rels/slideMaster13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34.xml"/><Relationship Id="rId2" Type="http://schemas.openxmlformats.org/officeDocument/2006/relationships/slideLayout" Target="../slideLayouts/slideLayout933.xml"/><Relationship Id="rId1" Type="http://schemas.openxmlformats.org/officeDocument/2006/relationships/slideLayout" Target="../slideLayouts/slideLayout932.xml"/><Relationship Id="rId5" Type="http://schemas.openxmlformats.org/officeDocument/2006/relationships/theme" Target="../theme/theme135.xml"/><Relationship Id="rId4" Type="http://schemas.openxmlformats.org/officeDocument/2006/relationships/slideLayout" Target="../slideLayouts/slideLayout935.xml"/></Relationships>
</file>

<file path=ppt/slideMasters/_rels/slideMaster13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38.xml"/><Relationship Id="rId2" Type="http://schemas.openxmlformats.org/officeDocument/2006/relationships/slideLayout" Target="../slideLayouts/slideLayout937.xml"/><Relationship Id="rId1" Type="http://schemas.openxmlformats.org/officeDocument/2006/relationships/slideLayout" Target="../slideLayouts/slideLayout936.xml"/><Relationship Id="rId5" Type="http://schemas.openxmlformats.org/officeDocument/2006/relationships/theme" Target="../theme/theme136.xml"/><Relationship Id="rId4" Type="http://schemas.openxmlformats.org/officeDocument/2006/relationships/slideLayout" Target="../slideLayouts/slideLayout939.xml"/></Relationships>
</file>

<file path=ppt/slideMasters/_rels/slideMaster13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47.xml"/><Relationship Id="rId13" Type="http://schemas.openxmlformats.org/officeDocument/2006/relationships/tags" Target="../tags/tag166.xml"/><Relationship Id="rId3" Type="http://schemas.openxmlformats.org/officeDocument/2006/relationships/slideLayout" Target="../slideLayouts/slideLayout942.xml"/><Relationship Id="rId7" Type="http://schemas.openxmlformats.org/officeDocument/2006/relationships/slideLayout" Target="../slideLayouts/slideLayout946.xml"/><Relationship Id="rId12" Type="http://schemas.openxmlformats.org/officeDocument/2006/relationships/vmlDrawing" Target="../drawings/vmlDrawing165.vml"/><Relationship Id="rId2" Type="http://schemas.openxmlformats.org/officeDocument/2006/relationships/slideLayout" Target="../slideLayouts/slideLayout941.xml"/><Relationship Id="rId1" Type="http://schemas.openxmlformats.org/officeDocument/2006/relationships/slideLayout" Target="../slideLayouts/slideLayout940.xml"/><Relationship Id="rId6" Type="http://schemas.openxmlformats.org/officeDocument/2006/relationships/slideLayout" Target="../slideLayouts/slideLayout945.xml"/><Relationship Id="rId11" Type="http://schemas.openxmlformats.org/officeDocument/2006/relationships/theme" Target="../theme/theme137.xml"/><Relationship Id="rId5" Type="http://schemas.openxmlformats.org/officeDocument/2006/relationships/slideLayout" Target="../slideLayouts/slideLayout944.xml"/><Relationship Id="rId10" Type="http://schemas.openxmlformats.org/officeDocument/2006/relationships/slideLayout" Target="../slideLayouts/slideLayout949.xml"/><Relationship Id="rId4" Type="http://schemas.openxmlformats.org/officeDocument/2006/relationships/slideLayout" Target="../slideLayouts/slideLayout943.xml"/><Relationship Id="rId9" Type="http://schemas.openxmlformats.org/officeDocument/2006/relationships/slideLayout" Target="../slideLayouts/slideLayout948.xml"/><Relationship Id="rId14" Type="http://schemas.openxmlformats.org/officeDocument/2006/relationships/oleObject" Target="../embeddings/oleObject165.bin"/></Relationships>
</file>

<file path=ppt/slideMasters/_rels/slideMaster138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69.bin"/><Relationship Id="rId3" Type="http://schemas.openxmlformats.org/officeDocument/2006/relationships/slideLayout" Target="../slideLayouts/slideLayout952.xml"/><Relationship Id="rId7" Type="http://schemas.openxmlformats.org/officeDocument/2006/relationships/tags" Target="../tags/tag170.xml"/><Relationship Id="rId2" Type="http://schemas.openxmlformats.org/officeDocument/2006/relationships/slideLayout" Target="../slideLayouts/slideLayout951.xml"/><Relationship Id="rId1" Type="http://schemas.openxmlformats.org/officeDocument/2006/relationships/slideLayout" Target="../slideLayouts/slideLayout950.xml"/><Relationship Id="rId6" Type="http://schemas.openxmlformats.org/officeDocument/2006/relationships/vmlDrawing" Target="../drawings/vmlDrawing169.vml"/><Relationship Id="rId5" Type="http://schemas.openxmlformats.org/officeDocument/2006/relationships/theme" Target="../theme/theme138.xml"/><Relationship Id="rId4" Type="http://schemas.openxmlformats.org/officeDocument/2006/relationships/slideLayout" Target="../slideLayouts/slideLayout953.xml"/></Relationships>
</file>

<file path=ppt/slideMasters/_rels/slideMaster139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70.bin"/><Relationship Id="rId3" Type="http://schemas.openxmlformats.org/officeDocument/2006/relationships/slideLayout" Target="../slideLayouts/slideLayout956.xml"/><Relationship Id="rId7" Type="http://schemas.openxmlformats.org/officeDocument/2006/relationships/tags" Target="../tags/tag171.xml"/><Relationship Id="rId2" Type="http://schemas.openxmlformats.org/officeDocument/2006/relationships/slideLayout" Target="../slideLayouts/slideLayout955.xml"/><Relationship Id="rId1" Type="http://schemas.openxmlformats.org/officeDocument/2006/relationships/slideLayout" Target="../slideLayouts/slideLayout954.xml"/><Relationship Id="rId6" Type="http://schemas.openxmlformats.org/officeDocument/2006/relationships/vmlDrawing" Target="../drawings/vmlDrawing170.vml"/><Relationship Id="rId5" Type="http://schemas.openxmlformats.org/officeDocument/2006/relationships/theme" Target="../theme/theme139.xml"/><Relationship Id="rId4" Type="http://schemas.openxmlformats.org/officeDocument/2006/relationships/slideLayout" Target="../slideLayouts/slideLayout957.xml"/></Relationships>
</file>

<file path=ppt/slideMasters/_rels/slideMaster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9.xml"/><Relationship Id="rId2" Type="http://schemas.openxmlformats.org/officeDocument/2006/relationships/slideLayout" Target="../slideLayouts/slideLayout98.xml"/><Relationship Id="rId1" Type="http://schemas.openxmlformats.org/officeDocument/2006/relationships/slideLayout" Target="../slideLayouts/slideLayout97.xml"/><Relationship Id="rId5" Type="http://schemas.openxmlformats.org/officeDocument/2006/relationships/theme" Target="../theme/theme14.xml"/><Relationship Id="rId4" Type="http://schemas.openxmlformats.org/officeDocument/2006/relationships/slideLayout" Target="../slideLayouts/slideLayout100.xml"/></Relationships>
</file>

<file path=ppt/slideMasters/_rels/slideMaster14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65.xml"/><Relationship Id="rId3" Type="http://schemas.openxmlformats.org/officeDocument/2006/relationships/slideLayout" Target="../slideLayouts/slideLayout960.xml"/><Relationship Id="rId7" Type="http://schemas.openxmlformats.org/officeDocument/2006/relationships/slideLayout" Target="../slideLayouts/slideLayout964.xml"/><Relationship Id="rId12" Type="http://schemas.openxmlformats.org/officeDocument/2006/relationships/oleObject" Target="../embeddings/oleObject171.bin"/><Relationship Id="rId2" Type="http://schemas.openxmlformats.org/officeDocument/2006/relationships/slideLayout" Target="../slideLayouts/slideLayout959.xml"/><Relationship Id="rId1" Type="http://schemas.openxmlformats.org/officeDocument/2006/relationships/slideLayout" Target="../slideLayouts/slideLayout958.xml"/><Relationship Id="rId6" Type="http://schemas.openxmlformats.org/officeDocument/2006/relationships/slideLayout" Target="../slideLayouts/slideLayout963.xml"/><Relationship Id="rId11" Type="http://schemas.openxmlformats.org/officeDocument/2006/relationships/tags" Target="../tags/tag172.xml"/><Relationship Id="rId5" Type="http://schemas.openxmlformats.org/officeDocument/2006/relationships/slideLayout" Target="../slideLayouts/slideLayout962.xml"/><Relationship Id="rId10" Type="http://schemas.openxmlformats.org/officeDocument/2006/relationships/vmlDrawing" Target="../drawings/vmlDrawing171.vml"/><Relationship Id="rId4" Type="http://schemas.openxmlformats.org/officeDocument/2006/relationships/slideLayout" Target="../slideLayouts/slideLayout961.xml"/><Relationship Id="rId9" Type="http://schemas.openxmlformats.org/officeDocument/2006/relationships/theme" Target="../theme/theme140.xml"/></Relationships>
</file>

<file path=ppt/slideMasters/_rels/slideMaster14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73.xml"/><Relationship Id="rId13" Type="http://schemas.openxmlformats.org/officeDocument/2006/relationships/tags" Target="../tags/tag176.xml"/><Relationship Id="rId3" Type="http://schemas.openxmlformats.org/officeDocument/2006/relationships/slideLayout" Target="../slideLayouts/slideLayout968.xml"/><Relationship Id="rId7" Type="http://schemas.openxmlformats.org/officeDocument/2006/relationships/slideLayout" Target="../slideLayouts/slideLayout972.xml"/><Relationship Id="rId12" Type="http://schemas.openxmlformats.org/officeDocument/2006/relationships/vmlDrawing" Target="../drawings/vmlDrawing175.vml"/><Relationship Id="rId2" Type="http://schemas.openxmlformats.org/officeDocument/2006/relationships/slideLayout" Target="../slideLayouts/slideLayout967.xml"/><Relationship Id="rId1" Type="http://schemas.openxmlformats.org/officeDocument/2006/relationships/slideLayout" Target="../slideLayouts/slideLayout966.xml"/><Relationship Id="rId6" Type="http://schemas.openxmlformats.org/officeDocument/2006/relationships/slideLayout" Target="../slideLayouts/slideLayout971.xml"/><Relationship Id="rId11" Type="http://schemas.openxmlformats.org/officeDocument/2006/relationships/theme" Target="../theme/theme141.xml"/><Relationship Id="rId5" Type="http://schemas.openxmlformats.org/officeDocument/2006/relationships/slideLayout" Target="../slideLayouts/slideLayout970.xml"/><Relationship Id="rId10" Type="http://schemas.openxmlformats.org/officeDocument/2006/relationships/slideLayout" Target="../slideLayouts/slideLayout975.xml"/><Relationship Id="rId4" Type="http://schemas.openxmlformats.org/officeDocument/2006/relationships/slideLayout" Target="../slideLayouts/slideLayout969.xml"/><Relationship Id="rId9" Type="http://schemas.openxmlformats.org/officeDocument/2006/relationships/slideLayout" Target="../slideLayouts/slideLayout974.xml"/><Relationship Id="rId14" Type="http://schemas.openxmlformats.org/officeDocument/2006/relationships/oleObject" Target="../embeddings/oleObject175.bin"/></Relationships>
</file>

<file path=ppt/slideMasters/_rels/slideMaster14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83.xml"/><Relationship Id="rId3" Type="http://schemas.openxmlformats.org/officeDocument/2006/relationships/slideLayout" Target="../slideLayouts/slideLayout978.xml"/><Relationship Id="rId7" Type="http://schemas.openxmlformats.org/officeDocument/2006/relationships/slideLayout" Target="../slideLayouts/slideLayout982.xml"/><Relationship Id="rId2" Type="http://schemas.openxmlformats.org/officeDocument/2006/relationships/slideLayout" Target="../slideLayouts/slideLayout977.xml"/><Relationship Id="rId1" Type="http://schemas.openxmlformats.org/officeDocument/2006/relationships/slideLayout" Target="../slideLayouts/slideLayout976.xml"/><Relationship Id="rId6" Type="http://schemas.openxmlformats.org/officeDocument/2006/relationships/slideLayout" Target="../slideLayouts/slideLayout981.xml"/><Relationship Id="rId11" Type="http://schemas.openxmlformats.org/officeDocument/2006/relationships/theme" Target="../theme/theme142.xml"/><Relationship Id="rId5" Type="http://schemas.openxmlformats.org/officeDocument/2006/relationships/slideLayout" Target="../slideLayouts/slideLayout980.xml"/><Relationship Id="rId10" Type="http://schemas.openxmlformats.org/officeDocument/2006/relationships/slideLayout" Target="../slideLayouts/slideLayout985.xml"/><Relationship Id="rId4" Type="http://schemas.openxmlformats.org/officeDocument/2006/relationships/slideLayout" Target="../slideLayouts/slideLayout979.xml"/><Relationship Id="rId9" Type="http://schemas.openxmlformats.org/officeDocument/2006/relationships/slideLayout" Target="../slideLayouts/slideLayout984.xml"/></Relationships>
</file>

<file path=ppt/slideMasters/_rels/slideMaster14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93.xml"/><Relationship Id="rId3" Type="http://schemas.openxmlformats.org/officeDocument/2006/relationships/slideLayout" Target="../slideLayouts/slideLayout988.xml"/><Relationship Id="rId7" Type="http://schemas.openxmlformats.org/officeDocument/2006/relationships/slideLayout" Target="../slideLayouts/slideLayout992.xml"/><Relationship Id="rId2" Type="http://schemas.openxmlformats.org/officeDocument/2006/relationships/slideLayout" Target="../slideLayouts/slideLayout987.xml"/><Relationship Id="rId1" Type="http://schemas.openxmlformats.org/officeDocument/2006/relationships/slideLayout" Target="../slideLayouts/slideLayout986.xml"/><Relationship Id="rId6" Type="http://schemas.openxmlformats.org/officeDocument/2006/relationships/slideLayout" Target="../slideLayouts/slideLayout991.xml"/><Relationship Id="rId5" Type="http://schemas.openxmlformats.org/officeDocument/2006/relationships/slideLayout" Target="../slideLayouts/slideLayout990.xml"/><Relationship Id="rId4" Type="http://schemas.openxmlformats.org/officeDocument/2006/relationships/slideLayout" Target="../slideLayouts/slideLayout989.xml"/><Relationship Id="rId9" Type="http://schemas.openxmlformats.org/officeDocument/2006/relationships/theme" Target="../theme/theme143.xml"/></Relationships>
</file>

<file path=ppt/slideMasters/_rels/slideMaster14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01.xml"/><Relationship Id="rId3" Type="http://schemas.openxmlformats.org/officeDocument/2006/relationships/slideLayout" Target="../slideLayouts/slideLayout996.xml"/><Relationship Id="rId7" Type="http://schemas.openxmlformats.org/officeDocument/2006/relationships/slideLayout" Target="../slideLayouts/slideLayout1000.xml"/><Relationship Id="rId2" Type="http://schemas.openxmlformats.org/officeDocument/2006/relationships/slideLayout" Target="../slideLayouts/slideLayout995.xml"/><Relationship Id="rId1" Type="http://schemas.openxmlformats.org/officeDocument/2006/relationships/slideLayout" Target="../slideLayouts/slideLayout994.xml"/><Relationship Id="rId6" Type="http://schemas.openxmlformats.org/officeDocument/2006/relationships/slideLayout" Target="../slideLayouts/slideLayout999.xml"/><Relationship Id="rId11" Type="http://schemas.openxmlformats.org/officeDocument/2006/relationships/theme" Target="../theme/theme144.xml"/><Relationship Id="rId5" Type="http://schemas.openxmlformats.org/officeDocument/2006/relationships/slideLayout" Target="../slideLayouts/slideLayout998.xml"/><Relationship Id="rId10" Type="http://schemas.openxmlformats.org/officeDocument/2006/relationships/slideLayout" Target="../slideLayouts/slideLayout1003.xml"/><Relationship Id="rId4" Type="http://schemas.openxmlformats.org/officeDocument/2006/relationships/slideLayout" Target="../slideLayouts/slideLayout997.xml"/><Relationship Id="rId9" Type="http://schemas.openxmlformats.org/officeDocument/2006/relationships/slideLayout" Target="../slideLayouts/slideLayout1002.xml"/></Relationships>
</file>

<file path=ppt/slideMasters/_rels/slideMaster14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11.xml"/><Relationship Id="rId3" Type="http://schemas.openxmlformats.org/officeDocument/2006/relationships/slideLayout" Target="../slideLayouts/slideLayout1006.xml"/><Relationship Id="rId7" Type="http://schemas.openxmlformats.org/officeDocument/2006/relationships/slideLayout" Target="../slideLayouts/slideLayout1010.xml"/><Relationship Id="rId2" Type="http://schemas.openxmlformats.org/officeDocument/2006/relationships/slideLayout" Target="../slideLayouts/slideLayout1005.xml"/><Relationship Id="rId1" Type="http://schemas.openxmlformats.org/officeDocument/2006/relationships/slideLayout" Target="../slideLayouts/slideLayout1004.xml"/><Relationship Id="rId6" Type="http://schemas.openxmlformats.org/officeDocument/2006/relationships/slideLayout" Target="../slideLayouts/slideLayout1009.xml"/><Relationship Id="rId11" Type="http://schemas.openxmlformats.org/officeDocument/2006/relationships/theme" Target="../theme/theme145.xml"/><Relationship Id="rId5" Type="http://schemas.openxmlformats.org/officeDocument/2006/relationships/slideLayout" Target="../slideLayouts/slideLayout1008.xml"/><Relationship Id="rId10" Type="http://schemas.openxmlformats.org/officeDocument/2006/relationships/slideLayout" Target="../slideLayouts/slideLayout1013.xml"/><Relationship Id="rId4" Type="http://schemas.openxmlformats.org/officeDocument/2006/relationships/slideLayout" Target="../slideLayouts/slideLayout1007.xml"/><Relationship Id="rId9" Type="http://schemas.openxmlformats.org/officeDocument/2006/relationships/slideLayout" Target="../slideLayouts/slideLayout1012.xml"/></Relationships>
</file>

<file path=ppt/slideMasters/_rels/slideMaster14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21.xml"/><Relationship Id="rId3" Type="http://schemas.openxmlformats.org/officeDocument/2006/relationships/slideLayout" Target="../slideLayouts/slideLayout1016.xml"/><Relationship Id="rId7" Type="http://schemas.openxmlformats.org/officeDocument/2006/relationships/slideLayout" Target="../slideLayouts/slideLayout1020.xml"/><Relationship Id="rId2" Type="http://schemas.openxmlformats.org/officeDocument/2006/relationships/slideLayout" Target="../slideLayouts/slideLayout1015.xml"/><Relationship Id="rId1" Type="http://schemas.openxmlformats.org/officeDocument/2006/relationships/slideLayout" Target="../slideLayouts/slideLayout1014.xml"/><Relationship Id="rId6" Type="http://schemas.openxmlformats.org/officeDocument/2006/relationships/slideLayout" Target="../slideLayouts/slideLayout1019.xml"/><Relationship Id="rId5" Type="http://schemas.openxmlformats.org/officeDocument/2006/relationships/slideLayout" Target="../slideLayouts/slideLayout1018.xml"/><Relationship Id="rId4" Type="http://schemas.openxmlformats.org/officeDocument/2006/relationships/slideLayout" Target="../slideLayouts/slideLayout1017.xml"/><Relationship Id="rId9" Type="http://schemas.openxmlformats.org/officeDocument/2006/relationships/theme" Target="../theme/theme146.xml"/></Relationships>
</file>

<file path=ppt/slideMasters/_rels/slideMaster14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29.xml"/><Relationship Id="rId3" Type="http://schemas.openxmlformats.org/officeDocument/2006/relationships/slideLayout" Target="../slideLayouts/slideLayout1024.xml"/><Relationship Id="rId7" Type="http://schemas.openxmlformats.org/officeDocument/2006/relationships/slideLayout" Target="../slideLayouts/slideLayout1028.xml"/><Relationship Id="rId2" Type="http://schemas.openxmlformats.org/officeDocument/2006/relationships/slideLayout" Target="../slideLayouts/slideLayout1023.xml"/><Relationship Id="rId1" Type="http://schemas.openxmlformats.org/officeDocument/2006/relationships/slideLayout" Target="../slideLayouts/slideLayout1022.xml"/><Relationship Id="rId6" Type="http://schemas.openxmlformats.org/officeDocument/2006/relationships/slideLayout" Target="../slideLayouts/slideLayout1027.xml"/><Relationship Id="rId11" Type="http://schemas.openxmlformats.org/officeDocument/2006/relationships/theme" Target="../theme/theme147.xml"/><Relationship Id="rId5" Type="http://schemas.openxmlformats.org/officeDocument/2006/relationships/slideLayout" Target="../slideLayouts/slideLayout1026.xml"/><Relationship Id="rId10" Type="http://schemas.openxmlformats.org/officeDocument/2006/relationships/slideLayout" Target="../slideLayouts/slideLayout1031.xml"/><Relationship Id="rId4" Type="http://schemas.openxmlformats.org/officeDocument/2006/relationships/slideLayout" Target="../slideLayouts/slideLayout1025.xml"/><Relationship Id="rId9" Type="http://schemas.openxmlformats.org/officeDocument/2006/relationships/slideLayout" Target="../slideLayouts/slideLayout1030.xml"/></Relationships>
</file>

<file path=ppt/slideMasters/_rels/slideMaster14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39.xml"/><Relationship Id="rId3" Type="http://schemas.openxmlformats.org/officeDocument/2006/relationships/slideLayout" Target="../slideLayouts/slideLayout1034.xml"/><Relationship Id="rId7" Type="http://schemas.openxmlformats.org/officeDocument/2006/relationships/slideLayout" Target="../slideLayouts/slideLayout1038.xml"/><Relationship Id="rId2" Type="http://schemas.openxmlformats.org/officeDocument/2006/relationships/slideLayout" Target="../slideLayouts/slideLayout1033.xml"/><Relationship Id="rId1" Type="http://schemas.openxmlformats.org/officeDocument/2006/relationships/slideLayout" Target="../slideLayouts/slideLayout1032.xml"/><Relationship Id="rId6" Type="http://schemas.openxmlformats.org/officeDocument/2006/relationships/slideLayout" Target="../slideLayouts/slideLayout1037.xml"/><Relationship Id="rId5" Type="http://schemas.openxmlformats.org/officeDocument/2006/relationships/slideLayout" Target="../slideLayouts/slideLayout1036.xml"/><Relationship Id="rId4" Type="http://schemas.openxmlformats.org/officeDocument/2006/relationships/slideLayout" Target="../slideLayouts/slideLayout1035.xml"/><Relationship Id="rId9" Type="http://schemas.openxmlformats.org/officeDocument/2006/relationships/theme" Target="../theme/theme148.xml"/></Relationships>
</file>

<file path=ppt/slideMasters/_rels/slideMaster149.xml.rels><?xml version="1.0" encoding="UTF-8" standalone="yes"?>
<Relationships xmlns="http://schemas.openxmlformats.org/package/2006/relationships"><Relationship Id="rId8" Type="http://schemas.openxmlformats.org/officeDocument/2006/relationships/tags" Target="../tags/tag180.xml"/><Relationship Id="rId3" Type="http://schemas.openxmlformats.org/officeDocument/2006/relationships/slideLayout" Target="../slideLayouts/slideLayout1042.xml"/><Relationship Id="rId7" Type="http://schemas.openxmlformats.org/officeDocument/2006/relationships/vmlDrawing" Target="../drawings/vmlDrawing179.vml"/><Relationship Id="rId2" Type="http://schemas.openxmlformats.org/officeDocument/2006/relationships/slideLayout" Target="../slideLayouts/slideLayout1041.xml"/><Relationship Id="rId1" Type="http://schemas.openxmlformats.org/officeDocument/2006/relationships/slideLayout" Target="../slideLayouts/slideLayout1040.xml"/><Relationship Id="rId6" Type="http://schemas.openxmlformats.org/officeDocument/2006/relationships/theme" Target="../theme/theme149.xml"/><Relationship Id="rId5" Type="http://schemas.openxmlformats.org/officeDocument/2006/relationships/slideLayout" Target="../slideLayouts/slideLayout1044.xml"/><Relationship Id="rId4" Type="http://schemas.openxmlformats.org/officeDocument/2006/relationships/slideLayout" Target="../slideLayouts/slideLayout1043.xml"/><Relationship Id="rId9" Type="http://schemas.openxmlformats.org/officeDocument/2006/relationships/oleObject" Target="../embeddings/oleObject179.bin"/></Relationships>
</file>

<file path=ppt/slideMasters/_rels/slideMaster1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8.xml"/><Relationship Id="rId3" Type="http://schemas.openxmlformats.org/officeDocument/2006/relationships/slideLayout" Target="../slideLayouts/slideLayout103.xml"/><Relationship Id="rId7" Type="http://schemas.openxmlformats.org/officeDocument/2006/relationships/slideLayout" Target="../slideLayouts/slideLayout107.xml"/><Relationship Id="rId12" Type="http://schemas.openxmlformats.org/officeDocument/2006/relationships/oleObject" Target="../embeddings/oleObject31.bin"/><Relationship Id="rId2" Type="http://schemas.openxmlformats.org/officeDocument/2006/relationships/slideLayout" Target="../slideLayouts/slideLayout102.xml"/><Relationship Id="rId1" Type="http://schemas.openxmlformats.org/officeDocument/2006/relationships/slideLayout" Target="../slideLayouts/slideLayout101.xml"/><Relationship Id="rId6" Type="http://schemas.openxmlformats.org/officeDocument/2006/relationships/slideLayout" Target="../slideLayouts/slideLayout106.xml"/><Relationship Id="rId11" Type="http://schemas.openxmlformats.org/officeDocument/2006/relationships/tags" Target="../tags/tag32.xml"/><Relationship Id="rId5" Type="http://schemas.openxmlformats.org/officeDocument/2006/relationships/slideLayout" Target="../slideLayouts/slideLayout105.xml"/><Relationship Id="rId10" Type="http://schemas.openxmlformats.org/officeDocument/2006/relationships/vmlDrawing" Target="../drawings/vmlDrawing31.vml"/><Relationship Id="rId4" Type="http://schemas.openxmlformats.org/officeDocument/2006/relationships/slideLayout" Target="../slideLayouts/slideLayout104.xml"/><Relationship Id="rId9" Type="http://schemas.openxmlformats.org/officeDocument/2006/relationships/theme" Target="../theme/theme15.xml"/></Relationships>
</file>

<file path=ppt/slideMasters/_rels/slideMaster15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52.xml"/><Relationship Id="rId3" Type="http://schemas.openxmlformats.org/officeDocument/2006/relationships/slideLayout" Target="../slideLayouts/slideLayout1047.xml"/><Relationship Id="rId7" Type="http://schemas.openxmlformats.org/officeDocument/2006/relationships/slideLayout" Target="../slideLayouts/slideLayout1051.xml"/><Relationship Id="rId12" Type="http://schemas.openxmlformats.org/officeDocument/2006/relationships/oleObject" Target="../embeddings/oleObject181.bin"/><Relationship Id="rId2" Type="http://schemas.openxmlformats.org/officeDocument/2006/relationships/slideLayout" Target="../slideLayouts/slideLayout1046.xml"/><Relationship Id="rId1" Type="http://schemas.openxmlformats.org/officeDocument/2006/relationships/slideLayout" Target="../slideLayouts/slideLayout1045.xml"/><Relationship Id="rId6" Type="http://schemas.openxmlformats.org/officeDocument/2006/relationships/slideLayout" Target="../slideLayouts/slideLayout1050.xml"/><Relationship Id="rId11" Type="http://schemas.openxmlformats.org/officeDocument/2006/relationships/tags" Target="../tags/tag182.xml"/><Relationship Id="rId5" Type="http://schemas.openxmlformats.org/officeDocument/2006/relationships/slideLayout" Target="../slideLayouts/slideLayout1049.xml"/><Relationship Id="rId10" Type="http://schemas.openxmlformats.org/officeDocument/2006/relationships/vmlDrawing" Target="../drawings/vmlDrawing181.vml"/><Relationship Id="rId4" Type="http://schemas.openxmlformats.org/officeDocument/2006/relationships/slideLayout" Target="../slideLayouts/slideLayout1048.xml"/><Relationship Id="rId9" Type="http://schemas.openxmlformats.org/officeDocument/2006/relationships/theme" Target="../theme/theme150.xml"/></Relationships>
</file>

<file path=ppt/slideMasters/_rels/slideMaster15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60.xml"/><Relationship Id="rId3" Type="http://schemas.openxmlformats.org/officeDocument/2006/relationships/slideLayout" Target="../slideLayouts/slideLayout1055.xml"/><Relationship Id="rId7" Type="http://schemas.openxmlformats.org/officeDocument/2006/relationships/slideLayout" Target="../slideLayouts/slideLayout1059.xml"/><Relationship Id="rId12" Type="http://schemas.openxmlformats.org/officeDocument/2006/relationships/oleObject" Target="../embeddings/oleObject182.bin"/><Relationship Id="rId2" Type="http://schemas.openxmlformats.org/officeDocument/2006/relationships/slideLayout" Target="../slideLayouts/slideLayout1054.xml"/><Relationship Id="rId1" Type="http://schemas.openxmlformats.org/officeDocument/2006/relationships/slideLayout" Target="../slideLayouts/slideLayout1053.xml"/><Relationship Id="rId6" Type="http://schemas.openxmlformats.org/officeDocument/2006/relationships/slideLayout" Target="../slideLayouts/slideLayout1058.xml"/><Relationship Id="rId11" Type="http://schemas.openxmlformats.org/officeDocument/2006/relationships/tags" Target="../tags/tag183.xml"/><Relationship Id="rId5" Type="http://schemas.openxmlformats.org/officeDocument/2006/relationships/slideLayout" Target="../slideLayouts/slideLayout1057.xml"/><Relationship Id="rId10" Type="http://schemas.openxmlformats.org/officeDocument/2006/relationships/vmlDrawing" Target="../drawings/vmlDrawing182.vml"/><Relationship Id="rId4" Type="http://schemas.openxmlformats.org/officeDocument/2006/relationships/slideLayout" Target="../slideLayouts/slideLayout1056.xml"/><Relationship Id="rId9" Type="http://schemas.openxmlformats.org/officeDocument/2006/relationships/theme" Target="../theme/theme151.xml"/></Relationships>
</file>

<file path=ppt/slideMasters/_rels/slideMaster15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68.xml"/><Relationship Id="rId3" Type="http://schemas.openxmlformats.org/officeDocument/2006/relationships/slideLayout" Target="../slideLayouts/slideLayout1063.xml"/><Relationship Id="rId7" Type="http://schemas.openxmlformats.org/officeDocument/2006/relationships/slideLayout" Target="../slideLayouts/slideLayout1067.xml"/><Relationship Id="rId2" Type="http://schemas.openxmlformats.org/officeDocument/2006/relationships/slideLayout" Target="../slideLayouts/slideLayout1062.xml"/><Relationship Id="rId1" Type="http://schemas.openxmlformats.org/officeDocument/2006/relationships/slideLayout" Target="../slideLayouts/slideLayout1061.xml"/><Relationship Id="rId6" Type="http://schemas.openxmlformats.org/officeDocument/2006/relationships/slideLayout" Target="../slideLayouts/slideLayout1066.xml"/><Relationship Id="rId11" Type="http://schemas.openxmlformats.org/officeDocument/2006/relationships/theme" Target="../theme/theme152.xml"/><Relationship Id="rId5" Type="http://schemas.openxmlformats.org/officeDocument/2006/relationships/slideLayout" Target="../slideLayouts/slideLayout1065.xml"/><Relationship Id="rId10" Type="http://schemas.openxmlformats.org/officeDocument/2006/relationships/slideLayout" Target="../slideLayouts/slideLayout1070.xml"/><Relationship Id="rId4" Type="http://schemas.openxmlformats.org/officeDocument/2006/relationships/slideLayout" Target="../slideLayouts/slideLayout1064.xml"/><Relationship Id="rId9" Type="http://schemas.openxmlformats.org/officeDocument/2006/relationships/slideLayout" Target="../slideLayouts/slideLayout1069.xml"/></Relationships>
</file>

<file path=ppt/slideMasters/_rels/slideMaster15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78.xml"/><Relationship Id="rId3" Type="http://schemas.openxmlformats.org/officeDocument/2006/relationships/slideLayout" Target="../slideLayouts/slideLayout1073.xml"/><Relationship Id="rId7" Type="http://schemas.openxmlformats.org/officeDocument/2006/relationships/slideLayout" Target="../slideLayouts/slideLayout1077.xml"/><Relationship Id="rId2" Type="http://schemas.openxmlformats.org/officeDocument/2006/relationships/slideLayout" Target="../slideLayouts/slideLayout1072.xml"/><Relationship Id="rId1" Type="http://schemas.openxmlformats.org/officeDocument/2006/relationships/slideLayout" Target="../slideLayouts/slideLayout1071.xml"/><Relationship Id="rId6" Type="http://schemas.openxmlformats.org/officeDocument/2006/relationships/slideLayout" Target="../slideLayouts/slideLayout1076.xml"/><Relationship Id="rId5" Type="http://schemas.openxmlformats.org/officeDocument/2006/relationships/slideLayout" Target="../slideLayouts/slideLayout1075.xml"/><Relationship Id="rId4" Type="http://schemas.openxmlformats.org/officeDocument/2006/relationships/slideLayout" Target="../slideLayouts/slideLayout1074.xml"/><Relationship Id="rId9" Type="http://schemas.openxmlformats.org/officeDocument/2006/relationships/theme" Target="../theme/theme153.xml"/></Relationships>
</file>

<file path=ppt/slideMasters/_rels/slideMaster15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86.xml"/><Relationship Id="rId3" Type="http://schemas.openxmlformats.org/officeDocument/2006/relationships/slideLayout" Target="../slideLayouts/slideLayout1081.xml"/><Relationship Id="rId7" Type="http://schemas.openxmlformats.org/officeDocument/2006/relationships/slideLayout" Target="../slideLayouts/slideLayout1085.xml"/><Relationship Id="rId2" Type="http://schemas.openxmlformats.org/officeDocument/2006/relationships/slideLayout" Target="../slideLayouts/slideLayout1080.xml"/><Relationship Id="rId1" Type="http://schemas.openxmlformats.org/officeDocument/2006/relationships/slideLayout" Target="../slideLayouts/slideLayout1079.xml"/><Relationship Id="rId6" Type="http://schemas.openxmlformats.org/officeDocument/2006/relationships/slideLayout" Target="../slideLayouts/slideLayout1084.xml"/><Relationship Id="rId11" Type="http://schemas.openxmlformats.org/officeDocument/2006/relationships/theme" Target="../theme/theme154.xml"/><Relationship Id="rId5" Type="http://schemas.openxmlformats.org/officeDocument/2006/relationships/slideLayout" Target="../slideLayouts/slideLayout1083.xml"/><Relationship Id="rId10" Type="http://schemas.openxmlformats.org/officeDocument/2006/relationships/slideLayout" Target="../slideLayouts/slideLayout1088.xml"/><Relationship Id="rId4" Type="http://schemas.openxmlformats.org/officeDocument/2006/relationships/slideLayout" Target="../slideLayouts/slideLayout1082.xml"/><Relationship Id="rId9" Type="http://schemas.openxmlformats.org/officeDocument/2006/relationships/slideLayout" Target="../slideLayouts/slideLayout1087.xml"/></Relationships>
</file>

<file path=ppt/slideMasters/_rels/slideMaster15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96.xml"/><Relationship Id="rId13" Type="http://schemas.openxmlformats.org/officeDocument/2006/relationships/oleObject" Target="../embeddings/oleObject183.bin"/><Relationship Id="rId3" Type="http://schemas.openxmlformats.org/officeDocument/2006/relationships/slideLayout" Target="../slideLayouts/slideLayout1091.xml"/><Relationship Id="rId7" Type="http://schemas.openxmlformats.org/officeDocument/2006/relationships/slideLayout" Target="../slideLayouts/slideLayout1095.xml"/><Relationship Id="rId12" Type="http://schemas.openxmlformats.org/officeDocument/2006/relationships/tags" Target="../tags/tag184.xml"/><Relationship Id="rId2" Type="http://schemas.openxmlformats.org/officeDocument/2006/relationships/slideLayout" Target="../slideLayouts/slideLayout1090.xml"/><Relationship Id="rId1" Type="http://schemas.openxmlformats.org/officeDocument/2006/relationships/slideLayout" Target="../slideLayouts/slideLayout1089.xml"/><Relationship Id="rId6" Type="http://schemas.openxmlformats.org/officeDocument/2006/relationships/slideLayout" Target="../slideLayouts/slideLayout1094.xml"/><Relationship Id="rId11" Type="http://schemas.openxmlformats.org/officeDocument/2006/relationships/vmlDrawing" Target="../drawings/vmlDrawing183.vml"/><Relationship Id="rId5" Type="http://schemas.openxmlformats.org/officeDocument/2006/relationships/slideLayout" Target="../slideLayouts/slideLayout1093.xml"/><Relationship Id="rId10" Type="http://schemas.openxmlformats.org/officeDocument/2006/relationships/theme" Target="../theme/theme155.xml"/><Relationship Id="rId4" Type="http://schemas.openxmlformats.org/officeDocument/2006/relationships/slideLayout" Target="../slideLayouts/slideLayout1092.xml"/><Relationship Id="rId9" Type="http://schemas.openxmlformats.org/officeDocument/2006/relationships/slideLayout" Target="../slideLayouts/slideLayout1097.xml"/></Relationships>
</file>

<file path=ppt/slideMasters/_rels/slideMaster15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05.xml"/><Relationship Id="rId13" Type="http://schemas.openxmlformats.org/officeDocument/2006/relationships/tags" Target="../tags/tag188.xml"/><Relationship Id="rId3" Type="http://schemas.openxmlformats.org/officeDocument/2006/relationships/slideLayout" Target="../slideLayouts/slideLayout1100.xml"/><Relationship Id="rId7" Type="http://schemas.openxmlformats.org/officeDocument/2006/relationships/slideLayout" Target="../slideLayouts/slideLayout1104.xml"/><Relationship Id="rId12" Type="http://schemas.openxmlformats.org/officeDocument/2006/relationships/vmlDrawing" Target="../drawings/vmlDrawing187.vml"/><Relationship Id="rId2" Type="http://schemas.openxmlformats.org/officeDocument/2006/relationships/slideLayout" Target="../slideLayouts/slideLayout1099.xml"/><Relationship Id="rId1" Type="http://schemas.openxmlformats.org/officeDocument/2006/relationships/slideLayout" Target="../slideLayouts/slideLayout1098.xml"/><Relationship Id="rId6" Type="http://schemas.openxmlformats.org/officeDocument/2006/relationships/slideLayout" Target="../slideLayouts/slideLayout1103.xml"/><Relationship Id="rId11" Type="http://schemas.openxmlformats.org/officeDocument/2006/relationships/theme" Target="../theme/theme156.xml"/><Relationship Id="rId5" Type="http://schemas.openxmlformats.org/officeDocument/2006/relationships/slideLayout" Target="../slideLayouts/slideLayout1102.xml"/><Relationship Id="rId10" Type="http://schemas.openxmlformats.org/officeDocument/2006/relationships/slideLayout" Target="../slideLayouts/slideLayout1107.xml"/><Relationship Id="rId4" Type="http://schemas.openxmlformats.org/officeDocument/2006/relationships/slideLayout" Target="../slideLayouts/slideLayout1101.xml"/><Relationship Id="rId9" Type="http://schemas.openxmlformats.org/officeDocument/2006/relationships/slideLayout" Target="../slideLayouts/slideLayout1106.xml"/><Relationship Id="rId14" Type="http://schemas.openxmlformats.org/officeDocument/2006/relationships/oleObject" Target="../embeddings/oleObject187.bin"/></Relationships>
</file>

<file path=ppt/slideMasters/_rels/slideMaster15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110.xml"/><Relationship Id="rId2" Type="http://schemas.openxmlformats.org/officeDocument/2006/relationships/slideLayout" Target="../slideLayouts/slideLayout1109.xml"/><Relationship Id="rId1" Type="http://schemas.openxmlformats.org/officeDocument/2006/relationships/slideLayout" Target="../slideLayouts/slideLayout1108.xml"/><Relationship Id="rId4" Type="http://schemas.openxmlformats.org/officeDocument/2006/relationships/theme" Target="../theme/theme157.xml"/></Relationships>
</file>

<file path=ppt/slideMasters/_rels/slideMaster15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18.xml"/><Relationship Id="rId3" Type="http://schemas.openxmlformats.org/officeDocument/2006/relationships/slideLayout" Target="../slideLayouts/slideLayout1113.xml"/><Relationship Id="rId7" Type="http://schemas.openxmlformats.org/officeDocument/2006/relationships/slideLayout" Target="../slideLayouts/slideLayout1117.xml"/><Relationship Id="rId2" Type="http://schemas.openxmlformats.org/officeDocument/2006/relationships/slideLayout" Target="../slideLayouts/slideLayout1112.xml"/><Relationship Id="rId1" Type="http://schemas.openxmlformats.org/officeDocument/2006/relationships/slideLayout" Target="../slideLayouts/slideLayout1111.xml"/><Relationship Id="rId6" Type="http://schemas.openxmlformats.org/officeDocument/2006/relationships/slideLayout" Target="../slideLayouts/slideLayout1116.xml"/><Relationship Id="rId5" Type="http://schemas.openxmlformats.org/officeDocument/2006/relationships/slideLayout" Target="../slideLayouts/slideLayout1115.xml"/><Relationship Id="rId4" Type="http://schemas.openxmlformats.org/officeDocument/2006/relationships/slideLayout" Target="../slideLayouts/slideLayout1114.xml"/><Relationship Id="rId9" Type="http://schemas.openxmlformats.org/officeDocument/2006/relationships/theme" Target="../theme/theme158.xml"/></Relationships>
</file>

<file path=ppt/slideMasters/_rels/slideMaster15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121.xml"/><Relationship Id="rId2" Type="http://schemas.openxmlformats.org/officeDocument/2006/relationships/slideLayout" Target="../slideLayouts/slideLayout1120.xml"/><Relationship Id="rId1" Type="http://schemas.openxmlformats.org/officeDocument/2006/relationships/slideLayout" Target="../slideLayouts/slideLayout1119.xml"/><Relationship Id="rId5" Type="http://schemas.openxmlformats.org/officeDocument/2006/relationships/theme" Target="../theme/theme159.xml"/><Relationship Id="rId4" Type="http://schemas.openxmlformats.org/officeDocument/2006/relationships/slideLayout" Target="../slideLayouts/slideLayout1122.xml"/></Relationships>
</file>

<file path=ppt/slideMasters/_rels/slideMaster1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11.xml"/><Relationship Id="rId2" Type="http://schemas.openxmlformats.org/officeDocument/2006/relationships/slideLayout" Target="../slideLayouts/slideLayout110.xml"/><Relationship Id="rId1" Type="http://schemas.openxmlformats.org/officeDocument/2006/relationships/slideLayout" Target="../slideLayouts/slideLayout109.xml"/><Relationship Id="rId5" Type="http://schemas.openxmlformats.org/officeDocument/2006/relationships/theme" Target="../theme/theme16.xml"/><Relationship Id="rId4" Type="http://schemas.openxmlformats.org/officeDocument/2006/relationships/slideLayout" Target="../slideLayouts/slideLayout112.xml"/></Relationships>
</file>

<file path=ppt/slideMasters/_rels/slideMaster16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125.xml"/><Relationship Id="rId2" Type="http://schemas.openxmlformats.org/officeDocument/2006/relationships/slideLayout" Target="../slideLayouts/slideLayout1124.xml"/><Relationship Id="rId1" Type="http://schemas.openxmlformats.org/officeDocument/2006/relationships/slideLayout" Target="../slideLayouts/slideLayout1123.xml"/><Relationship Id="rId5" Type="http://schemas.openxmlformats.org/officeDocument/2006/relationships/theme" Target="../theme/theme160.xml"/><Relationship Id="rId4" Type="http://schemas.openxmlformats.org/officeDocument/2006/relationships/slideLayout" Target="../slideLayouts/slideLayout1126.xml"/></Relationships>
</file>

<file path=ppt/slideMasters/_rels/slideMaster16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129.xml"/><Relationship Id="rId2" Type="http://schemas.openxmlformats.org/officeDocument/2006/relationships/slideLayout" Target="../slideLayouts/slideLayout1128.xml"/><Relationship Id="rId1" Type="http://schemas.openxmlformats.org/officeDocument/2006/relationships/slideLayout" Target="../slideLayouts/slideLayout1127.xml"/><Relationship Id="rId5" Type="http://schemas.openxmlformats.org/officeDocument/2006/relationships/theme" Target="../theme/theme161.xml"/><Relationship Id="rId4" Type="http://schemas.openxmlformats.org/officeDocument/2006/relationships/slideLayout" Target="../slideLayouts/slideLayout1130.xml"/></Relationships>
</file>

<file path=ppt/slideMasters/_rels/slideMaster16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38.xml"/><Relationship Id="rId13" Type="http://schemas.openxmlformats.org/officeDocument/2006/relationships/tags" Target="../tags/tag192.xml"/><Relationship Id="rId3" Type="http://schemas.openxmlformats.org/officeDocument/2006/relationships/slideLayout" Target="../slideLayouts/slideLayout1133.xml"/><Relationship Id="rId7" Type="http://schemas.openxmlformats.org/officeDocument/2006/relationships/slideLayout" Target="../slideLayouts/slideLayout1137.xml"/><Relationship Id="rId12" Type="http://schemas.openxmlformats.org/officeDocument/2006/relationships/vmlDrawing" Target="../drawings/vmlDrawing191.vml"/><Relationship Id="rId2" Type="http://schemas.openxmlformats.org/officeDocument/2006/relationships/slideLayout" Target="../slideLayouts/slideLayout1132.xml"/><Relationship Id="rId1" Type="http://schemas.openxmlformats.org/officeDocument/2006/relationships/slideLayout" Target="../slideLayouts/slideLayout1131.xml"/><Relationship Id="rId6" Type="http://schemas.openxmlformats.org/officeDocument/2006/relationships/slideLayout" Target="../slideLayouts/slideLayout1136.xml"/><Relationship Id="rId11" Type="http://schemas.openxmlformats.org/officeDocument/2006/relationships/theme" Target="../theme/theme162.xml"/><Relationship Id="rId5" Type="http://schemas.openxmlformats.org/officeDocument/2006/relationships/slideLayout" Target="../slideLayouts/slideLayout1135.xml"/><Relationship Id="rId10" Type="http://schemas.openxmlformats.org/officeDocument/2006/relationships/slideLayout" Target="../slideLayouts/slideLayout1140.xml"/><Relationship Id="rId4" Type="http://schemas.openxmlformats.org/officeDocument/2006/relationships/slideLayout" Target="../slideLayouts/slideLayout1134.xml"/><Relationship Id="rId9" Type="http://schemas.openxmlformats.org/officeDocument/2006/relationships/slideLayout" Target="../slideLayouts/slideLayout1139.xml"/><Relationship Id="rId14" Type="http://schemas.openxmlformats.org/officeDocument/2006/relationships/oleObject" Target="../embeddings/oleObject191.bin"/></Relationships>
</file>

<file path=ppt/slideMasters/_rels/slideMaster16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48.xml"/><Relationship Id="rId13" Type="http://schemas.openxmlformats.org/officeDocument/2006/relationships/tags" Target="../tags/tag196.xml"/><Relationship Id="rId3" Type="http://schemas.openxmlformats.org/officeDocument/2006/relationships/slideLayout" Target="../slideLayouts/slideLayout1143.xml"/><Relationship Id="rId7" Type="http://schemas.openxmlformats.org/officeDocument/2006/relationships/slideLayout" Target="../slideLayouts/slideLayout1147.xml"/><Relationship Id="rId12" Type="http://schemas.openxmlformats.org/officeDocument/2006/relationships/vmlDrawing" Target="../drawings/vmlDrawing195.vml"/><Relationship Id="rId2" Type="http://schemas.openxmlformats.org/officeDocument/2006/relationships/slideLayout" Target="../slideLayouts/slideLayout1142.xml"/><Relationship Id="rId1" Type="http://schemas.openxmlformats.org/officeDocument/2006/relationships/slideLayout" Target="../slideLayouts/slideLayout1141.xml"/><Relationship Id="rId6" Type="http://schemas.openxmlformats.org/officeDocument/2006/relationships/slideLayout" Target="../slideLayouts/slideLayout1146.xml"/><Relationship Id="rId11" Type="http://schemas.openxmlformats.org/officeDocument/2006/relationships/theme" Target="../theme/theme163.xml"/><Relationship Id="rId5" Type="http://schemas.openxmlformats.org/officeDocument/2006/relationships/slideLayout" Target="../slideLayouts/slideLayout1145.xml"/><Relationship Id="rId10" Type="http://schemas.openxmlformats.org/officeDocument/2006/relationships/slideLayout" Target="../slideLayouts/slideLayout1150.xml"/><Relationship Id="rId4" Type="http://schemas.openxmlformats.org/officeDocument/2006/relationships/slideLayout" Target="../slideLayouts/slideLayout1144.xml"/><Relationship Id="rId9" Type="http://schemas.openxmlformats.org/officeDocument/2006/relationships/slideLayout" Target="../slideLayouts/slideLayout1149.xml"/><Relationship Id="rId14" Type="http://schemas.openxmlformats.org/officeDocument/2006/relationships/oleObject" Target="../embeddings/oleObject195.bin"/></Relationships>
</file>

<file path=ppt/slideMasters/_rels/slideMaster16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58.xml"/><Relationship Id="rId3" Type="http://schemas.openxmlformats.org/officeDocument/2006/relationships/slideLayout" Target="../slideLayouts/slideLayout1153.xml"/><Relationship Id="rId7" Type="http://schemas.openxmlformats.org/officeDocument/2006/relationships/slideLayout" Target="../slideLayouts/slideLayout1157.xml"/><Relationship Id="rId2" Type="http://schemas.openxmlformats.org/officeDocument/2006/relationships/slideLayout" Target="../slideLayouts/slideLayout1152.xml"/><Relationship Id="rId1" Type="http://schemas.openxmlformats.org/officeDocument/2006/relationships/slideLayout" Target="../slideLayouts/slideLayout1151.xml"/><Relationship Id="rId6" Type="http://schemas.openxmlformats.org/officeDocument/2006/relationships/slideLayout" Target="../slideLayouts/slideLayout1156.xml"/><Relationship Id="rId5" Type="http://schemas.openxmlformats.org/officeDocument/2006/relationships/slideLayout" Target="../slideLayouts/slideLayout1155.xml"/><Relationship Id="rId4" Type="http://schemas.openxmlformats.org/officeDocument/2006/relationships/slideLayout" Target="../slideLayouts/slideLayout1154.xml"/><Relationship Id="rId9" Type="http://schemas.openxmlformats.org/officeDocument/2006/relationships/theme" Target="../theme/theme164.xml"/></Relationships>
</file>

<file path=ppt/slideMasters/_rels/slideMaster16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161.xml"/><Relationship Id="rId2" Type="http://schemas.openxmlformats.org/officeDocument/2006/relationships/slideLayout" Target="../slideLayouts/slideLayout1160.xml"/><Relationship Id="rId1" Type="http://schemas.openxmlformats.org/officeDocument/2006/relationships/slideLayout" Target="../slideLayouts/slideLayout1159.xml"/><Relationship Id="rId5" Type="http://schemas.openxmlformats.org/officeDocument/2006/relationships/theme" Target="../theme/theme165.xml"/><Relationship Id="rId4" Type="http://schemas.openxmlformats.org/officeDocument/2006/relationships/slideLayout" Target="../slideLayouts/slideLayout1162.xml"/></Relationships>
</file>

<file path=ppt/slideMasters/_rels/slideMaster16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99.bin"/><Relationship Id="rId3" Type="http://schemas.openxmlformats.org/officeDocument/2006/relationships/slideLayout" Target="../slideLayouts/slideLayout1165.xml"/><Relationship Id="rId7" Type="http://schemas.openxmlformats.org/officeDocument/2006/relationships/tags" Target="../tags/tag200.xml"/><Relationship Id="rId2" Type="http://schemas.openxmlformats.org/officeDocument/2006/relationships/slideLayout" Target="../slideLayouts/slideLayout1164.xml"/><Relationship Id="rId1" Type="http://schemas.openxmlformats.org/officeDocument/2006/relationships/slideLayout" Target="../slideLayouts/slideLayout1163.xml"/><Relationship Id="rId6" Type="http://schemas.openxmlformats.org/officeDocument/2006/relationships/vmlDrawing" Target="../drawings/vmlDrawing199.vml"/><Relationship Id="rId5" Type="http://schemas.openxmlformats.org/officeDocument/2006/relationships/theme" Target="../theme/theme166.xml"/><Relationship Id="rId4" Type="http://schemas.openxmlformats.org/officeDocument/2006/relationships/slideLayout" Target="../slideLayouts/slideLayout1166.xml"/></Relationships>
</file>

<file path=ppt/slideMasters/_rels/slideMaster167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00.bin"/><Relationship Id="rId3" Type="http://schemas.openxmlformats.org/officeDocument/2006/relationships/slideLayout" Target="../slideLayouts/slideLayout1169.xml"/><Relationship Id="rId7" Type="http://schemas.openxmlformats.org/officeDocument/2006/relationships/tags" Target="../tags/tag201.xml"/><Relationship Id="rId2" Type="http://schemas.openxmlformats.org/officeDocument/2006/relationships/slideLayout" Target="../slideLayouts/slideLayout1168.xml"/><Relationship Id="rId1" Type="http://schemas.openxmlformats.org/officeDocument/2006/relationships/slideLayout" Target="../slideLayouts/slideLayout1167.xml"/><Relationship Id="rId6" Type="http://schemas.openxmlformats.org/officeDocument/2006/relationships/vmlDrawing" Target="../drawings/vmlDrawing200.vml"/><Relationship Id="rId5" Type="http://schemas.openxmlformats.org/officeDocument/2006/relationships/theme" Target="../theme/theme167.xml"/><Relationship Id="rId4" Type="http://schemas.openxmlformats.org/officeDocument/2006/relationships/slideLayout" Target="../slideLayouts/slideLayout1170.xml"/></Relationships>
</file>

<file path=ppt/slideMasters/_rels/slideMaster16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78.xml"/><Relationship Id="rId13" Type="http://schemas.openxmlformats.org/officeDocument/2006/relationships/vmlDrawing" Target="../drawings/vmlDrawing201.vml"/><Relationship Id="rId3" Type="http://schemas.openxmlformats.org/officeDocument/2006/relationships/slideLayout" Target="../slideLayouts/slideLayout1173.xml"/><Relationship Id="rId7" Type="http://schemas.openxmlformats.org/officeDocument/2006/relationships/slideLayout" Target="../slideLayouts/slideLayout1177.xml"/><Relationship Id="rId12" Type="http://schemas.openxmlformats.org/officeDocument/2006/relationships/theme" Target="../theme/theme168.xml"/><Relationship Id="rId2" Type="http://schemas.openxmlformats.org/officeDocument/2006/relationships/slideLayout" Target="../slideLayouts/slideLayout1172.xml"/><Relationship Id="rId1" Type="http://schemas.openxmlformats.org/officeDocument/2006/relationships/slideLayout" Target="../slideLayouts/slideLayout1171.xml"/><Relationship Id="rId6" Type="http://schemas.openxmlformats.org/officeDocument/2006/relationships/slideLayout" Target="../slideLayouts/slideLayout1176.xml"/><Relationship Id="rId11" Type="http://schemas.openxmlformats.org/officeDocument/2006/relationships/slideLayout" Target="../slideLayouts/slideLayout1181.xml"/><Relationship Id="rId5" Type="http://schemas.openxmlformats.org/officeDocument/2006/relationships/slideLayout" Target="../slideLayouts/slideLayout1175.xml"/><Relationship Id="rId15" Type="http://schemas.openxmlformats.org/officeDocument/2006/relationships/oleObject" Target="../embeddings/oleObject201.bin"/><Relationship Id="rId10" Type="http://schemas.openxmlformats.org/officeDocument/2006/relationships/slideLayout" Target="../slideLayouts/slideLayout1180.xml"/><Relationship Id="rId4" Type="http://schemas.openxmlformats.org/officeDocument/2006/relationships/slideLayout" Target="../slideLayouts/slideLayout1174.xml"/><Relationship Id="rId9" Type="http://schemas.openxmlformats.org/officeDocument/2006/relationships/slideLayout" Target="../slideLayouts/slideLayout1179.xml"/><Relationship Id="rId14" Type="http://schemas.openxmlformats.org/officeDocument/2006/relationships/tags" Target="../tags/tag202.xml"/></Relationships>
</file>

<file path=ppt/slideMasters/_rels/slideMaster16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89.xml"/><Relationship Id="rId3" Type="http://schemas.openxmlformats.org/officeDocument/2006/relationships/slideLayout" Target="../slideLayouts/slideLayout1184.xml"/><Relationship Id="rId7" Type="http://schemas.openxmlformats.org/officeDocument/2006/relationships/slideLayout" Target="../slideLayouts/slideLayout1188.xml"/><Relationship Id="rId2" Type="http://schemas.openxmlformats.org/officeDocument/2006/relationships/slideLayout" Target="../slideLayouts/slideLayout1183.xml"/><Relationship Id="rId1" Type="http://schemas.openxmlformats.org/officeDocument/2006/relationships/slideLayout" Target="../slideLayouts/slideLayout1182.xml"/><Relationship Id="rId6" Type="http://schemas.openxmlformats.org/officeDocument/2006/relationships/slideLayout" Target="../slideLayouts/slideLayout1187.xml"/><Relationship Id="rId5" Type="http://schemas.openxmlformats.org/officeDocument/2006/relationships/slideLayout" Target="../slideLayouts/slideLayout1186.xml"/><Relationship Id="rId4" Type="http://schemas.openxmlformats.org/officeDocument/2006/relationships/slideLayout" Target="../slideLayouts/slideLayout1185.xml"/><Relationship Id="rId9" Type="http://schemas.openxmlformats.org/officeDocument/2006/relationships/theme" Target="../theme/theme169.xml"/></Relationships>
</file>

<file path=ppt/slideMasters/_rels/slideMaster1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0.xml"/><Relationship Id="rId3" Type="http://schemas.openxmlformats.org/officeDocument/2006/relationships/slideLayout" Target="../slideLayouts/slideLayout115.xml"/><Relationship Id="rId7" Type="http://schemas.openxmlformats.org/officeDocument/2006/relationships/slideLayout" Target="../slideLayouts/slideLayout119.xml"/><Relationship Id="rId2" Type="http://schemas.openxmlformats.org/officeDocument/2006/relationships/slideLayout" Target="../slideLayouts/slideLayout114.xml"/><Relationship Id="rId1" Type="http://schemas.openxmlformats.org/officeDocument/2006/relationships/slideLayout" Target="../slideLayouts/slideLayout113.xml"/><Relationship Id="rId6" Type="http://schemas.openxmlformats.org/officeDocument/2006/relationships/slideLayout" Target="../slideLayouts/slideLayout118.xml"/><Relationship Id="rId5" Type="http://schemas.openxmlformats.org/officeDocument/2006/relationships/slideLayout" Target="../slideLayouts/slideLayout117.xml"/><Relationship Id="rId4" Type="http://schemas.openxmlformats.org/officeDocument/2006/relationships/slideLayout" Target="../slideLayouts/slideLayout116.xml"/><Relationship Id="rId9" Type="http://schemas.openxmlformats.org/officeDocument/2006/relationships/theme" Target="../theme/theme17.xml"/></Relationships>
</file>

<file path=ppt/slideMasters/_rels/slideMaster17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192.xml"/><Relationship Id="rId2" Type="http://schemas.openxmlformats.org/officeDocument/2006/relationships/slideLayout" Target="../slideLayouts/slideLayout1191.xml"/><Relationship Id="rId1" Type="http://schemas.openxmlformats.org/officeDocument/2006/relationships/slideLayout" Target="../slideLayouts/slideLayout1190.xml"/><Relationship Id="rId4" Type="http://schemas.openxmlformats.org/officeDocument/2006/relationships/theme" Target="../theme/theme170.xml"/></Relationships>
</file>

<file path=ppt/slideMasters/_rels/slideMaster17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00.xml"/><Relationship Id="rId13" Type="http://schemas.openxmlformats.org/officeDocument/2006/relationships/tags" Target="../tags/tag207.xml"/><Relationship Id="rId3" Type="http://schemas.openxmlformats.org/officeDocument/2006/relationships/slideLayout" Target="../slideLayouts/slideLayout1195.xml"/><Relationship Id="rId7" Type="http://schemas.openxmlformats.org/officeDocument/2006/relationships/slideLayout" Target="../slideLayouts/slideLayout1199.xml"/><Relationship Id="rId12" Type="http://schemas.openxmlformats.org/officeDocument/2006/relationships/vmlDrawing" Target="../drawings/vmlDrawing205.vml"/><Relationship Id="rId2" Type="http://schemas.openxmlformats.org/officeDocument/2006/relationships/slideLayout" Target="../slideLayouts/slideLayout1194.xml"/><Relationship Id="rId1" Type="http://schemas.openxmlformats.org/officeDocument/2006/relationships/slideLayout" Target="../slideLayouts/slideLayout1193.xml"/><Relationship Id="rId6" Type="http://schemas.openxmlformats.org/officeDocument/2006/relationships/slideLayout" Target="../slideLayouts/slideLayout1198.xml"/><Relationship Id="rId11" Type="http://schemas.openxmlformats.org/officeDocument/2006/relationships/theme" Target="../theme/theme171.xml"/><Relationship Id="rId5" Type="http://schemas.openxmlformats.org/officeDocument/2006/relationships/slideLayout" Target="../slideLayouts/slideLayout1197.xml"/><Relationship Id="rId10" Type="http://schemas.openxmlformats.org/officeDocument/2006/relationships/slideLayout" Target="../slideLayouts/slideLayout1202.xml"/><Relationship Id="rId4" Type="http://schemas.openxmlformats.org/officeDocument/2006/relationships/slideLayout" Target="../slideLayouts/slideLayout1196.xml"/><Relationship Id="rId9" Type="http://schemas.openxmlformats.org/officeDocument/2006/relationships/slideLayout" Target="../slideLayouts/slideLayout1201.xml"/><Relationship Id="rId14" Type="http://schemas.openxmlformats.org/officeDocument/2006/relationships/oleObject" Target="../embeddings/oleObject205.bin"/></Relationships>
</file>

<file path=ppt/slideMasters/_rels/slideMaster17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09.bin"/><Relationship Id="rId3" Type="http://schemas.openxmlformats.org/officeDocument/2006/relationships/slideLayout" Target="../slideLayouts/slideLayout1205.xml"/><Relationship Id="rId7" Type="http://schemas.openxmlformats.org/officeDocument/2006/relationships/tags" Target="../tags/tag211.xml"/><Relationship Id="rId2" Type="http://schemas.openxmlformats.org/officeDocument/2006/relationships/slideLayout" Target="../slideLayouts/slideLayout1204.xml"/><Relationship Id="rId1" Type="http://schemas.openxmlformats.org/officeDocument/2006/relationships/slideLayout" Target="../slideLayouts/slideLayout1203.xml"/><Relationship Id="rId6" Type="http://schemas.openxmlformats.org/officeDocument/2006/relationships/vmlDrawing" Target="../drawings/vmlDrawing209.vml"/><Relationship Id="rId5" Type="http://schemas.openxmlformats.org/officeDocument/2006/relationships/theme" Target="../theme/theme172.xml"/><Relationship Id="rId4" Type="http://schemas.openxmlformats.org/officeDocument/2006/relationships/slideLayout" Target="../slideLayouts/slideLayout1206.xml"/></Relationships>
</file>

<file path=ppt/slideMasters/_rels/slideMaster17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10.bin"/><Relationship Id="rId3" Type="http://schemas.openxmlformats.org/officeDocument/2006/relationships/slideLayout" Target="../slideLayouts/slideLayout1209.xml"/><Relationship Id="rId7" Type="http://schemas.openxmlformats.org/officeDocument/2006/relationships/tags" Target="../tags/tag212.xml"/><Relationship Id="rId2" Type="http://schemas.openxmlformats.org/officeDocument/2006/relationships/slideLayout" Target="../slideLayouts/slideLayout1208.xml"/><Relationship Id="rId1" Type="http://schemas.openxmlformats.org/officeDocument/2006/relationships/slideLayout" Target="../slideLayouts/slideLayout1207.xml"/><Relationship Id="rId6" Type="http://schemas.openxmlformats.org/officeDocument/2006/relationships/vmlDrawing" Target="../drawings/vmlDrawing210.vml"/><Relationship Id="rId5" Type="http://schemas.openxmlformats.org/officeDocument/2006/relationships/theme" Target="../theme/theme173.xml"/><Relationship Id="rId4" Type="http://schemas.openxmlformats.org/officeDocument/2006/relationships/slideLayout" Target="../slideLayouts/slideLayout1210.xml"/></Relationships>
</file>

<file path=ppt/slideMasters/_rels/slideMaster17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18.xml"/><Relationship Id="rId3" Type="http://schemas.openxmlformats.org/officeDocument/2006/relationships/slideLayout" Target="../slideLayouts/slideLayout1213.xml"/><Relationship Id="rId7" Type="http://schemas.openxmlformats.org/officeDocument/2006/relationships/slideLayout" Target="../slideLayouts/slideLayout1217.xml"/><Relationship Id="rId12" Type="http://schemas.openxmlformats.org/officeDocument/2006/relationships/oleObject" Target="../embeddings/oleObject211.bin"/><Relationship Id="rId2" Type="http://schemas.openxmlformats.org/officeDocument/2006/relationships/slideLayout" Target="../slideLayouts/slideLayout1212.xml"/><Relationship Id="rId1" Type="http://schemas.openxmlformats.org/officeDocument/2006/relationships/slideLayout" Target="../slideLayouts/slideLayout1211.xml"/><Relationship Id="rId6" Type="http://schemas.openxmlformats.org/officeDocument/2006/relationships/slideLayout" Target="../slideLayouts/slideLayout1216.xml"/><Relationship Id="rId11" Type="http://schemas.openxmlformats.org/officeDocument/2006/relationships/tags" Target="../tags/tag213.xml"/><Relationship Id="rId5" Type="http://schemas.openxmlformats.org/officeDocument/2006/relationships/slideLayout" Target="../slideLayouts/slideLayout1215.xml"/><Relationship Id="rId10" Type="http://schemas.openxmlformats.org/officeDocument/2006/relationships/vmlDrawing" Target="../drawings/vmlDrawing211.vml"/><Relationship Id="rId4" Type="http://schemas.openxmlformats.org/officeDocument/2006/relationships/slideLayout" Target="../slideLayouts/slideLayout1214.xml"/><Relationship Id="rId9" Type="http://schemas.openxmlformats.org/officeDocument/2006/relationships/theme" Target="../theme/theme174.xml"/></Relationships>
</file>

<file path=ppt/slideMasters/_rels/slideMaster17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26.xml"/><Relationship Id="rId3" Type="http://schemas.openxmlformats.org/officeDocument/2006/relationships/slideLayout" Target="../slideLayouts/slideLayout1221.xml"/><Relationship Id="rId7" Type="http://schemas.openxmlformats.org/officeDocument/2006/relationships/slideLayout" Target="../slideLayouts/slideLayout1225.xml"/><Relationship Id="rId12" Type="http://schemas.openxmlformats.org/officeDocument/2006/relationships/oleObject" Target="../embeddings/oleObject212.bin"/><Relationship Id="rId2" Type="http://schemas.openxmlformats.org/officeDocument/2006/relationships/slideLayout" Target="../slideLayouts/slideLayout1220.xml"/><Relationship Id="rId1" Type="http://schemas.openxmlformats.org/officeDocument/2006/relationships/slideLayout" Target="../slideLayouts/slideLayout1219.xml"/><Relationship Id="rId6" Type="http://schemas.openxmlformats.org/officeDocument/2006/relationships/slideLayout" Target="../slideLayouts/slideLayout1224.xml"/><Relationship Id="rId11" Type="http://schemas.openxmlformats.org/officeDocument/2006/relationships/tags" Target="../tags/tag214.xml"/><Relationship Id="rId5" Type="http://schemas.openxmlformats.org/officeDocument/2006/relationships/slideLayout" Target="../slideLayouts/slideLayout1223.xml"/><Relationship Id="rId10" Type="http://schemas.openxmlformats.org/officeDocument/2006/relationships/vmlDrawing" Target="../drawings/vmlDrawing212.vml"/><Relationship Id="rId4" Type="http://schemas.openxmlformats.org/officeDocument/2006/relationships/slideLayout" Target="../slideLayouts/slideLayout1222.xml"/><Relationship Id="rId9" Type="http://schemas.openxmlformats.org/officeDocument/2006/relationships/theme" Target="../theme/theme175.xml"/></Relationships>
</file>

<file path=ppt/slideMasters/_rels/slideMaster17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34.xml"/><Relationship Id="rId3" Type="http://schemas.openxmlformats.org/officeDocument/2006/relationships/slideLayout" Target="../slideLayouts/slideLayout1229.xml"/><Relationship Id="rId7" Type="http://schemas.openxmlformats.org/officeDocument/2006/relationships/slideLayout" Target="../slideLayouts/slideLayout1233.xml"/><Relationship Id="rId12" Type="http://schemas.openxmlformats.org/officeDocument/2006/relationships/oleObject" Target="../embeddings/oleObject213.bin"/><Relationship Id="rId2" Type="http://schemas.openxmlformats.org/officeDocument/2006/relationships/slideLayout" Target="../slideLayouts/slideLayout1228.xml"/><Relationship Id="rId1" Type="http://schemas.openxmlformats.org/officeDocument/2006/relationships/slideLayout" Target="../slideLayouts/slideLayout1227.xml"/><Relationship Id="rId6" Type="http://schemas.openxmlformats.org/officeDocument/2006/relationships/slideLayout" Target="../slideLayouts/slideLayout1232.xml"/><Relationship Id="rId11" Type="http://schemas.openxmlformats.org/officeDocument/2006/relationships/tags" Target="../tags/tag215.xml"/><Relationship Id="rId5" Type="http://schemas.openxmlformats.org/officeDocument/2006/relationships/slideLayout" Target="../slideLayouts/slideLayout1231.xml"/><Relationship Id="rId10" Type="http://schemas.openxmlformats.org/officeDocument/2006/relationships/vmlDrawing" Target="../drawings/vmlDrawing213.vml"/><Relationship Id="rId4" Type="http://schemas.openxmlformats.org/officeDocument/2006/relationships/slideLayout" Target="../slideLayouts/slideLayout1230.xml"/><Relationship Id="rId9" Type="http://schemas.openxmlformats.org/officeDocument/2006/relationships/theme" Target="../theme/theme176.xml"/></Relationships>
</file>

<file path=ppt/slideMasters/_rels/slideMaster17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42.xml"/><Relationship Id="rId13" Type="http://schemas.openxmlformats.org/officeDocument/2006/relationships/tags" Target="../tags/tag216.xml"/><Relationship Id="rId3" Type="http://schemas.openxmlformats.org/officeDocument/2006/relationships/slideLayout" Target="../slideLayouts/slideLayout1237.xml"/><Relationship Id="rId7" Type="http://schemas.openxmlformats.org/officeDocument/2006/relationships/slideLayout" Target="../slideLayouts/slideLayout1241.xml"/><Relationship Id="rId12" Type="http://schemas.openxmlformats.org/officeDocument/2006/relationships/vmlDrawing" Target="../drawings/vmlDrawing214.vml"/><Relationship Id="rId2" Type="http://schemas.openxmlformats.org/officeDocument/2006/relationships/slideLayout" Target="../slideLayouts/slideLayout1236.xml"/><Relationship Id="rId1" Type="http://schemas.openxmlformats.org/officeDocument/2006/relationships/slideLayout" Target="../slideLayouts/slideLayout1235.xml"/><Relationship Id="rId6" Type="http://schemas.openxmlformats.org/officeDocument/2006/relationships/slideLayout" Target="../slideLayouts/slideLayout1240.xml"/><Relationship Id="rId11" Type="http://schemas.openxmlformats.org/officeDocument/2006/relationships/theme" Target="../theme/theme177.xml"/><Relationship Id="rId5" Type="http://schemas.openxmlformats.org/officeDocument/2006/relationships/slideLayout" Target="../slideLayouts/slideLayout1239.xml"/><Relationship Id="rId10" Type="http://schemas.openxmlformats.org/officeDocument/2006/relationships/slideLayout" Target="../slideLayouts/slideLayout1244.xml"/><Relationship Id="rId4" Type="http://schemas.openxmlformats.org/officeDocument/2006/relationships/slideLayout" Target="../slideLayouts/slideLayout1238.xml"/><Relationship Id="rId9" Type="http://schemas.openxmlformats.org/officeDocument/2006/relationships/slideLayout" Target="../slideLayouts/slideLayout1243.xml"/><Relationship Id="rId14" Type="http://schemas.openxmlformats.org/officeDocument/2006/relationships/oleObject" Target="../embeddings/oleObject214.bin"/></Relationships>
</file>

<file path=ppt/slideMasters/_rels/slideMaster17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47.xml"/><Relationship Id="rId7" Type="http://schemas.openxmlformats.org/officeDocument/2006/relationships/theme" Target="../theme/theme178.xml"/><Relationship Id="rId2" Type="http://schemas.openxmlformats.org/officeDocument/2006/relationships/slideLayout" Target="../slideLayouts/slideLayout1246.xml"/><Relationship Id="rId1" Type="http://schemas.openxmlformats.org/officeDocument/2006/relationships/slideLayout" Target="../slideLayouts/slideLayout1245.xml"/><Relationship Id="rId6" Type="http://schemas.openxmlformats.org/officeDocument/2006/relationships/slideLayout" Target="../slideLayouts/slideLayout1250.xml"/><Relationship Id="rId5" Type="http://schemas.openxmlformats.org/officeDocument/2006/relationships/slideLayout" Target="../slideLayouts/slideLayout1249.xml"/><Relationship Id="rId4" Type="http://schemas.openxmlformats.org/officeDocument/2006/relationships/slideLayout" Target="../slideLayouts/slideLayout1248.xml"/></Relationships>
</file>

<file path=ppt/slideMasters/_rels/slideMaster17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58.xml"/><Relationship Id="rId13" Type="http://schemas.openxmlformats.org/officeDocument/2006/relationships/vmlDrawing" Target="../drawings/vmlDrawing218.vml"/><Relationship Id="rId3" Type="http://schemas.openxmlformats.org/officeDocument/2006/relationships/slideLayout" Target="../slideLayouts/slideLayout1253.xml"/><Relationship Id="rId7" Type="http://schemas.openxmlformats.org/officeDocument/2006/relationships/slideLayout" Target="../slideLayouts/slideLayout1257.xml"/><Relationship Id="rId12" Type="http://schemas.openxmlformats.org/officeDocument/2006/relationships/theme" Target="../theme/theme179.xml"/><Relationship Id="rId2" Type="http://schemas.openxmlformats.org/officeDocument/2006/relationships/slideLayout" Target="../slideLayouts/slideLayout1252.xml"/><Relationship Id="rId1" Type="http://schemas.openxmlformats.org/officeDocument/2006/relationships/slideLayout" Target="../slideLayouts/slideLayout1251.xml"/><Relationship Id="rId6" Type="http://schemas.openxmlformats.org/officeDocument/2006/relationships/slideLayout" Target="../slideLayouts/slideLayout1256.xml"/><Relationship Id="rId11" Type="http://schemas.openxmlformats.org/officeDocument/2006/relationships/slideLayout" Target="../slideLayouts/slideLayout1261.xml"/><Relationship Id="rId5" Type="http://schemas.openxmlformats.org/officeDocument/2006/relationships/slideLayout" Target="../slideLayouts/slideLayout1255.xml"/><Relationship Id="rId15" Type="http://schemas.openxmlformats.org/officeDocument/2006/relationships/oleObject" Target="../embeddings/oleObject218.bin"/><Relationship Id="rId10" Type="http://schemas.openxmlformats.org/officeDocument/2006/relationships/slideLayout" Target="../slideLayouts/slideLayout1260.xml"/><Relationship Id="rId4" Type="http://schemas.openxmlformats.org/officeDocument/2006/relationships/slideLayout" Target="../slideLayouts/slideLayout1254.xml"/><Relationship Id="rId9" Type="http://schemas.openxmlformats.org/officeDocument/2006/relationships/slideLayout" Target="../slideLayouts/slideLayout1259.xml"/><Relationship Id="rId14" Type="http://schemas.openxmlformats.org/officeDocument/2006/relationships/tags" Target="../tags/tag220.xml"/></Relationships>
</file>

<file path=ppt/slideMasters/_rels/slideMaster1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3.xml"/><Relationship Id="rId2" Type="http://schemas.openxmlformats.org/officeDocument/2006/relationships/slideLayout" Target="../slideLayouts/slideLayout122.xml"/><Relationship Id="rId1" Type="http://schemas.openxmlformats.org/officeDocument/2006/relationships/slideLayout" Target="../slideLayouts/slideLayout121.xml"/><Relationship Id="rId5" Type="http://schemas.openxmlformats.org/officeDocument/2006/relationships/theme" Target="../theme/theme18.xml"/><Relationship Id="rId4" Type="http://schemas.openxmlformats.org/officeDocument/2006/relationships/slideLayout" Target="../slideLayouts/slideLayout124.xml"/></Relationships>
</file>

<file path=ppt/slideMasters/_rels/slideMaster18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64.xml"/><Relationship Id="rId2" Type="http://schemas.openxmlformats.org/officeDocument/2006/relationships/slideLayout" Target="../slideLayouts/slideLayout1263.xml"/><Relationship Id="rId1" Type="http://schemas.openxmlformats.org/officeDocument/2006/relationships/slideLayout" Target="../slideLayouts/slideLayout1262.xml"/><Relationship Id="rId5" Type="http://schemas.openxmlformats.org/officeDocument/2006/relationships/theme" Target="../theme/theme180.xml"/><Relationship Id="rId4" Type="http://schemas.openxmlformats.org/officeDocument/2006/relationships/slideLayout" Target="../slideLayouts/slideLayout1265.xml"/></Relationships>
</file>

<file path=ppt/slideMasters/_rels/slideMaster18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73.xml"/><Relationship Id="rId3" Type="http://schemas.openxmlformats.org/officeDocument/2006/relationships/slideLayout" Target="../slideLayouts/slideLayout1268.xml"/><Relationship Id="rId7" Type="http://schemas.openxmlformats.org/officeDocument/2006/relationships/slideLayout" Target="../slideLayouts/slideLayout1272.xml"/><Relationship Id="rId2" Type="http://schemas.openxmlformats.org/officeDocument/2006/relationships/slideLayout" Target="../slideLayouts/slideLayout1267.xml"/><Relationship Id="rId1" Type="http://schemas.openxmlformats.org/officeDocument/2006/relationships/slideLayout" Target="../slideLayouts/slideLayout1266.xml"/><Relationship Id="rId6" Type="http://schemas.openxmlformats.org/officeDocument/2006/relationships/slideLayout" Target="../slideLayouts/slideLayout1271.xml"/><Relationship Id="rId5" Type="http://schemas.openxmlformats.org/officeDocument/2006/relationships/slideLayout" Target="../slideLayouts/slideLayout1270.xml"/><Relationship Id="rId4" Type="http://schemas.openxmlformats.org/officeDocument/2006/relationships/slideLayout" Target="../slideLayouts/slideLayout1269.xml"/><Relationship Id="rId9" Type="http://schemas.openxmlformats.org/officeDocument/2006/relationships/theme" Target="../theme/theme181.xml"/></Relationships>
</file>

<file path=ppt/slideMasters/_rels/slideMaster18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81.xml"/><Relationship Id="rId3" Type="http://schemas.openxmlformats.org/officeDocument/2006/relationships/slideLayout" Target="../slideLayouts/slideLayout1276.xml"/><Relationship Id="rId7" Type="http://schemas.openxmlformats.org/officeDocument/2006/relationships/slideLayout" Target="../slideLayouts/slideLayout1280.xml"/><Relationship Id="rId2" Type="http://schemas.openxmlformats.org/officeDocument/2006/relationships/slideLayout" Target="../slideLayouts/slideLayout1275.xml"/><Relationship Id="rId1" Type="http://schemas.openxmlformats.org/officeDocument/2006/relationships/slideLayout" Target="../slideLayouts/slideLayout1274.xml"/><Relationship Id="rId6" Type="http://schemas.openxmlformats.org/officeDocument/2006/relationships/slideLayout" Target="../slideLayouts/slideLayout1279.xml"/><Relationship Id="rId5" Type="http://schemas.openxmlformats.org/officeDocument/2006/relationships/slideLayout" Target="../slideLayouts/slideLayout1278.xml"/><Relationship Id="rId4" Type="http://schemas.openxmlformats.org/officeDocument/2006/relationships/slideLayout" Target="../slideLayouts/slideLayout1277.xml"/><Relationship Id="rId9" Type="http://schemas.openxmlformats.org/officeDocument/2006/relationships/theme" Target="../theme/theme182.xml"/></Relationships>
</file>

<file path=ppt/slideMasters/_rels/slideMaster18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89.xml"/><Relationship Id="rId3" Type="http://schemas.openxmlformats.org/officeDocument/2006/relationships/slideLayout" Target="../slideLayouts/slideLayout1284.xml"/><Relationship Id="rId7" Type="http://schemas.openxmlformats.org/officeDocument/2006/relationships/slideLayout" Target="../slideLayouts/slideLayout1288.xml"/><Relationship Id="rId2" Type="http://schemas.openxmlformats.org/officeDocument/2006/relationships/slideLayout" Target="../slideLayouts/slideLayout1283.xml"/><Relationship Id="rId1" Type="http://schemas.openxmlformats.org/officeDocument/2006/relationships/slideLayout" Target="../slideLayouts/slideLayout1282.xml"/><Relationship Id="rId6" Type="http://schemas.openxmlformats.org/officeDocument/2006/relationships/slideLayout" Target="../slideLayouts/slideLayout1287.xml"/><Relationship Id="rId5" Type="http://schemas.openxmlformats.org/officeDocument/2006/relationships/slideLayout" Target="../slideLayouts/slideLayout1286.xml"/><Relationship Id="rId4" Type="http://schemas.openxmlformats.org/officeDocument/2006/relationships/slideLayout" Target="../slideLayouts/slideLayout1285.xml"/><Relationship Id="rId9" Type="http://schemas.openxmlformats.org/officeDocument/2006/relationships/theme" Target="../theme/theme183.xml"/></Relationships>
</file>

<file path=ppt/slideMasters/_rels/slideMaster18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92.xml"/><Relationship Id="rId2" Type="http://schemas.openxmlformats.org/officeDocument/2006/relationships/slideLayout" Target="../slideLayouts/slideLayout1291.xml"/><Relationship Id="rId1" Type="http://schemas.openxmlformats.org/officeDocument/2006/relationships/slideLayout" Target="../slideLayouts/slideLayout1290.xml"/><Relationship Id="rId5" Type="http://schemas.openxmlformats.org/officeDocument/2006/relationships/theme" Target="../theme/theme184.xml"/><Relationship Id="rId4" Type="http://schemas.openxmlformats.org/officeDocument/2006/relationships/slideLayout" Target="../slideLayouts/slideLayout1293.xml"/></Relationships>
</file>

<file path=ppt/slideMasters/_rels/slideMaster18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01.xml"/><Relationship Id="rId3" Type="http://schemas.openxmlformats.org/officeDocument/2006/relationships/slideLayout" Target="../slideLayouts/slideLayout1296.xml"/><Relationship Id="rId7" Type="http://schemas.openxmlformats.org/officeDocument/2006/relationships/slideLayout" Target="../slideLayouts/slideLayout1300.xml"/><Relationship Id="rId2" Type="http://schemas.openxmlformats.org/officeDocument/2006/relationships/slideLayout" Target="../slideLayouts/slideLayout1295.xml"/><Relationship Id="rId1" Type="http://schemas.openxmlformats.org/officeDocument/2006/relationships/slideLayout" Target="../slideLayouts/slideLayout1294.xml"/><Relationship Id="rId6" Type="http://schemas.openxmlformats.org/officeDocument/2006/relationships/slideLayout" Target="../slideLayouts/slideLayout1299.xml"/><Relationship Id="rId11" Type="http://schemas.openxmlformats.org/officeDocument/2006/relationships/theme" Target="../theme/theme185.xml"/><Relationship Id="rId5" Type="http://schemas.openxmlformats.org/officeDocument/2006/relationships/slideLayout" Target="../slideLayouts/slideLayout1298.xml"/><Relationship Id="rId10" Type="http://schemas.openxmlformats.org/officeDocument/2006/relationships/slideLayout" Target="../slideLayouts/slideLayout1303.xml"/><Relationship Id="rId4" Type="http://schemas.openxmlformats.org/officeDocument/2006/relationships/slideLayout" Target="../slideLayouts/slideLayout1297.xml"/><Relationship Id="rId9" Type="http://schemas.openxmlformats.org/officeDocument/2006/relationships/slideLayout" Target="../slideLayouts/slideLayout1302.xml"/></Relationships>
</file>

<file path=ppt/slideMasters/_rels/slideMaster18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11.xml"/><Relationship Id="rId3" Type="http://schemas.openxmlformats.org/officeDocument/2006/relationships/slideLayout" Target="../slideLayouts/slideLayout1306.xml"/><Relationship Id="rId7" Type="http://schemas.openxmlformats.org/officeDocument/2006/relationships/slideLayout" Target="../slideLayouts/slideLayout1310.xml"/><Relationship Id="rId2" Type="http://schemas.openxmlformats.org/officeDocument/2006/relationships/slideLayout" Target="../slideLayouts/slideLayout1305.xml"/><Relationship Id="rId1" Type="http://schemas.openxmlformats.org/officeDocument/2006/relationships/slideLayout" Target="../slideLayouts/slideLayout1304.xml"/><Relationship Id="rId6" Type="http://schemas.openxmlformats.org/officeDocument/2006/relationships/slideLayout" Target="../slideLayouts/slideLayout1309.xml"/><Relationship Id="rId5" Type="http://schemas.openxmlformats.org/officeDocument/2006/relationships/slideLayout" Target="../slideLayouts/slideLayout1308.xml"/><Relationship Id="rId4" Type="http://schemas.openxmlformats.org/officeDocument/2006/relationships/slideLayout" Target="../slideLayouts/slideLayout1307.xml"/><Relationship Id="rId9" Type="http://schemas.openxmlformats.org/officeDocument/2006/relationships/theme" Target="../theme/theme186.xml"/></Relationships>
</file>

<file path=ppt/slideMasters/_rels/slideMaster18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19.xml"/><Relationship Id="rId3" Type="http://schemas.openxmlformats.org/officeDocument/2006/relationships/slideLayout" Target="../slideLayouts/slideLayout1314.xml"/><Relationship Id="rId7" Type="http://schemas.openxmlformats.org/officeDocument/2006/relationships/slideLayout" Target="../slideLayouts/slideLayout1318.xml"/><Relationship Id="rId2" Type="http://schemas.openxmlformats.org/officeDocument/2006/relationships/slideLayout" Target="../slideLayouts/slideLayout1313.xml"/><Relationship Id="rId1" Type="http://schemas.openxmlformats.org/officeDocument/2006/relationships/slideLayout" Target="../slideLayouts/slideLayout1312.xml"/><Relationship Id="rId6" Type="http://schemas.openxmlformats.org/officeDocument/2006/relationships/slideLayout" Target="../slideLayouts/slideLayout1317.xml"/><Relationship Id="rId11" Type="http://schemas.openxmlformats.org/officeDocument/2006/relationships/theme" Target="../theme/theme187.xml"/><Relationship Id="rId5" Type="http://schemas.openxmlformats.org/officeDocument/2006/relationships/slideLayout" Target="../slideLayouts/slideLayout1316.xml"/><Relationship Id="rId10" Type="http://schemas.openxmlformats.org/officeDocument/2006/relationships/slideLayout" Target="../slideLayouts/slideLayout1321.xml"/><Relationship Id="rId4" Type="http://schemas.openxmlformats.org/officeDocument/2006/relationships/slideLayout" Target="../slideLayouts/slideLayout1315.xml"/><Relationship Id="rId9" Type="http://schemas.openxmlformats.org/officeDocument/2006/relationships/slideLayout" Target="../slideLayouts/slideLayout1320.xml"/></Relationships>
</file>

<file path=ppt/slideMasters/_rels/slideMaster18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24.xml"/><Relationship Id="rId2" Type="http://schemas.openxmlformats.org/officeDocument/2006/relationships/slideLayout" Target="../slideLayouts/slideLayout1323.xml"/><Relationship Id="rId1" Type="http://schemas.openxmlformats.org/officeDocument/2006/relationships/slideLayout" Target="../slideLayouts/slideLayout1322.xml"/><Relationship Id="rId4" Type="http://schemas.openxmlformats.org/officeDocument/2006/relationships/theme" Target="../theme/theme188.xml"/></Relationships>
</file>

<file path=ppt/slideMasters/_rels/slideMaster18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32.xml"/><Relationship Id="rId3" Type="http://schemas.openxmlformats.org/officeDocument/2006/relationships/slideLayout" Target="../slideLayouts/slideLayout1327.xml"/><Relationship Id="rId7" Type="http://schemas.openxmlformats.org/officeDocument/2006/relationships/slideLayout" Target="../slideLayouts/slideLayout1331.xml"/><Relationship Id="rId2" Type="http://schemas.openxmlformats.org/officeDocument/2006/relationships/slideLayout" Target="../slideLayouts/slideLayout1326.xml"/><Relationship Id="rId1" Type="http://schemas.openxmlformats.org/officeDocument/2006/relationships/slideLayout" Target="../slideLayouts/slideLayout1325.xml"/><Relationship Id="rId6" Type="http://schemas.openxmlformats.org/officeDocument/2006/relationships/slideLayout" Target="../slideLayouts/slideLayout1330.xml"/><Relationship Id="rId5" Type="http://schemas.openxmlformats.org/officeDocument/2006/relationships/slideLayout" Target="../slideLayouts/slideLayout1329.xml"/><Relationship Id="rId4" Type="http://schemas.openxmlformats.org/officeDocument/2006/relationships/slideLayout" Target="../slideLayouts/slideLayout1328.xml"/><Relationship Id="rId9" Type="http://schemas.openxmlformats.org/officeDocument/2006/relationships/theme" Target="../theme/theme189.xml"/></Relationships>
</file>

<file path=ppt/slideMasters/_rels/slideMaster1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2.xml"/><Relationship Id="rId3" Type="http://schemas.openxmlformats.org/officeDocument/2006/relationships/slideLayout" Target="../slideLayouts/slideLayout127.xml"/><Relationship Id="rId7" Type="http://schemas.openxmlformats.org/officeDocument/2006/relationships/slideLayout" Target="../slideLayouts/slideLayout131.xml"/><Relationship Id="rId2" Type="http://schemas.openxmlformats.org/officeDocument/2006/relationships/slideLayout" Target="../slideLayouts/slideLayout126.xml"/><Relationship Id="rId1" Type="http://schemas.openxmlformats.org/officeDocument/2006/relationships/slideLayout" Target="../slideLayouts/slideLayout125.xml"/><Relationship Id="rId6" Type="http://schemas.openxmlformats.org/officeDocument/2006/relationships/slideLayout" Target="../slideLayouts/slideLayout130.xml"/><Relationship Id="rId5" Type="http://schemas.openxmlformats.org/officeDocument/2006/relationships/slideLayout" Target="../slideLayouts/slideLayout129.xml"/><Relationship Id="rId4" Type="http://schemas.openxmlformats.org/officeDocument/2006/relationships/slideLayout" Target="../slideLayouts/slideLayout128.xml"/><Relationship Id="rId9" Type="http://schemas.openxmlformats.org/officeDocument/2006/relationships/theme" Target="../theme/theme19.xml"/></Relationships>
</file>

<file path=ppt/slideMasters/_rels/slideMaster19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35.xml"/><Relationship Id="rId2" Type="http://schemas.openxmlformats.org/officeDocument/2006/relationships/slideLayout" Target="../slideLayouts/slideLayout1334.xml"/><Relationship Id="rId1" Type="http://schemas.openxmlformats.org/officeDocument/2006/relationships/slideLayout" Target="../slideLayouts/slideLayout1333.xml"/><Relationship Id="rId5" Type="http://schemas.openxmlformats.org/officeDocument/2006/relationships/theme" Target="../theme/theme190.xml"/><Relationship Id="rId4" Type="http://schemas.openxmlformats.org/officeDocument/2006/relationships/slideLayout" Target="../slideLayouts/slideLayout1336.xml"/></Relationships>
</file>

<file path=ppt/slideMasters/_rels/slideMaster19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44.xml"/><Relationship Id="rId13" Type="http://schemas.openxmlformats.org/officeDocument/2006/relationships/tags" Target="../tags/tag224.xml"/><Relationship Id="rId3" Type="http://schemas.openxmlformats.org/officeDocument/2006/relationships/slideLayout" Target="../slideLayouts/slideLayout1339.xml"/><Relationship Id="rId7" Type="http://schemas.openxmlformats.org/officeDocument/2006/relationships/slideLayout" Target="../slideLayouts/slideLayout1343.xml"/><Relationship Id="rId12" Type="http://schemas.openxmlformats.org/officeDocument/2006/relationships/vmlDrawing" Target="../drawings/vmlDrawing222.vml"/><Relationship Id="rId2" Type="http://schemas.openxmlformats.org/officeDocument/2006/relationships/slideLayout" Target="../slideLayouts/slideLayout1338.xml"/><Relationship Id="rId1" Type="http://schemas.openxmlformats.org/officeDocument/2006/relationships/slideLayout" Target="../slideLayouts/slideLayout1337.xml"/><Relationship Id="rId6" Type="http://schemas.openxmlformats.org/officeDocument/2006/relationships/slideLayout" Target="../slideLayouts/slideLayout1342.xml"/><Relationship Id="rId11" Type="http://schemas.openxmlformats.org/officeDocument/2006/relationships/theme" Target="../theme/theme191.xml"/><Relationship Id="rId5" Type="http://schemas.openxmlformats.org/officeDocument/2006/relationships/slideLayout" Target="../slideLayouts/slideLayout1341.xml"/><Relationship Id="rId10" Type="http://schemas.openxmlformats.org/officeDocument/2006/relationships/slideLayout" Target="../slideLayouts/slideLayout1346.xml"/><Relationship Id="rId4" Type="http://schemas.openxmlformats.org/officeDocument/2006/relationships/slideLayout" Target="../slideLayouts/slideLayout1340.xml"/><Relationship Id="rId9" Type="http://schemas.openxmlformats.org/officeDocument/2006/relationships/slideLayout" Target="../slideLayouts/slideLayout1345.xml"/><Relationship Id="rId14" Type="http://schemas.openxmlformats.org/officeDocument/2006/relationships/oleObject" Target="../embeddings/oleObject222.bin"/></Relationships>
</file>

<file path=ppt/slideMasters/_rels/slideMaster19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54.xml"/><Relationship Id="rId13" Type="http://schemas.openxmlformats.org/officeDocument/2006/relationships/tags" Target="../tags/tag228.xml"/><Relationship Id="rId3" Type="http://schemas.openxmlformats.org/officeDocument/2006/relationships/slideLayout" Target="../slideLayouts/slideLayout1349.xml"/><Relationship Id="rId7" Type="http://schemas.openxmlformats.org/officeDocument/2006/relationships/slideLayout" Target="../slideLayouts/slideLayout1353.xml"/><Relationship Id="rId12" Type="http://schemas.openxmlformats.org/officeDocument/2006/relationships/vmlDrawing" Target="../drawings/vmlDrawing226.vml"/><Relationship Id="rId2" Type="http://schemas.openxmlformats.org/officeDocument/2006/relationships/slideLayout" Target="../slideLayouts/slideLayout1348.xml"/><Relationship Id="rId1" Type="http://schemas.openxmlformats.org/officeDocument/2006/relationships/slideLayout" Target="../slideLayouts/slideLayout1347.xml"/><Relationship Id="rId6" Type="http://schemas.openxmlformats.org/officeDocument/2006/relationships/slideLayout" Target="../slideLayouts/slideLayout1352.xml"/><Relationship Id="rId11" Type="http://schemas.openxmlformats.org/officeDocument/2006/relationships/theme" Target="../theme/theme192.xml"/><Relationship Id="rId5" Type="http://schemas.openxmlformats.org/officeDocument/2006/relationships/slideLayout" Target="../slideLayouts/slideLayout1351.xml"/><Relationship Id="rId10" Type="http://schemas.openxmlformats.org/officeDocument/2006/relationships/slideLayout" Target="../slideLayouts/slideLayout1356.xml"/><Relationship Id="rId4" Type="http://schemas.openxmlformats.org/officeDocument/2006/relationships/slideLayout" Target="../slideLayouts/slideLayout1350.xml"/><Relationship Id="rId9" Type="http://schemas.openxmlformats.org/officeDocument/2006/relationships/slideLayout" Target="../slideLayouts/slideLayout1355.xml"/><Relationship Id="rId14" Type="http://schemas.openxmlformats.org/officeDocument/2006/relationships/oleObject" Target="../embeddings/oleObject226.bin"/></Relationships>
</file>

<file path=ppt/slideMasters/_rels/slideMaster19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64.xml"/><Relationship Id="rId13" Type="http://schemas.openxmlformats.org/officeDocument/2006/relationships/tags" Target="../tags/tag232.xml"/><Relationship Id="rId3" Type="http://schemas.openxmlformats.org/officeDocument/2006/relationships/slideLayout" Target="../slideLayouts/slideLayout1359.xml"/><Relationship Id="rId7" Type="http://schemas.openxmlformats.org/officeDocument/2006/relationships/slideLayout" Target="../slideLayouts/slideLayout1363.xml"/><Relationship Id="rId12" Type="http://schemas.openxmlformats.org/officeDocument/2006/relationships/vmlDrawing" Target="../drawings/vmlDrawing230.vml"/><Relationship Id="rId2" Type="http://schemas.openxmlformats.org/officeDocument/2006/relationships/slideLayout" Target="../slideLayouts/slideLayout1358.xml"/><Relationship Id="rId1" Type="http://schemas.openxmlformats.org/officeDocument/2006/relationships/slideLayout" Target="../slideLayouts/slideLayout1357.xml"/><Relationship Id="rId6" Type="http://schemas.openxmlformats.org/officeDocument/2006/relationships/slideLayout" Target="../slideLayouts/slideLayout1362.xml"/><Relationship Id="rId11" Type="http://schemas.openxmlformats.org/officeDocument/2006/relationships/theme" Target="../theme/theme193.xml"/><Relationship Id="rId5" Type="http://schemas.openxmlformats.org/officeDocument/2006/relationships/slideLayout" Target="../slideLayouts/slideLayout1361.xml"/><Relationship Id="rId10" Type="http://schemas.openxmlformats.org/officeDocument/2006/relationships/slideLayout" Target="../slideLayouts/slideLayout1366.xml"/><Relationship Id="rId4" Type="http://schemas.openxmlformats.org/officeDocument/2006/relationships/slideLayout" Target="../slideLayouts/slideLayout1360.xml"/><Relationship Id="rId9" Type="http://schemas.openxmlformats.org/officeDocument/2006/relationships/slideLayout" Target="../slideLayouts/slideLayout1365.xml"/><Relationship Id="rId14" Type="http://schemas.openxmlformats.org/officeDocument/2006/relationships/oleObject" Target="../embeddings/oleObject230.bin"/></Relationships>
</file>

<file path=ppt/slideMasters/_rels/slideMaster19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74.xml"/><Relationship Id="rId13" Type="http://schemas.openxmlformats.org/officeDocument/2006/relationships/tags" Target="../tags/tag236.xml"/><Relationship Id="rId3" Type="http://schemas.openxmlformats.org/officeDocument/2006/relationships/slideLayout" Target="../slideLayouts/slideLayout1369.xml"/><Relationship Id="rId7" Type="http://schemas.openxmlformats.org/officeDocument/2006/relationships/slideLayout" Target="../slideLayouts/slideLayout1373.xml"/><Relationship Id="rId12" Type="http://schemas.openxmlformats.org/officeDocument/2006/relationships/vmlDrawing" Target="../drawings/vmlDrawing234.vml"/><Relationship Id="rId2" Type="http://schemas.openxmlformats.org/officeDocument/2006/relationships/slideLayout" Target="../slideLayouts/slideLayout1368.xml"/><Relationship Id="rId1" Type="http://schemas.openxmlformats.org/officeDocument/2006/relationships/slideLayout" Target="../slideLayouts/slideLayout1367.xml"/><Relationship Id="rId6" Type="http://schemas.openxmlformats.org/officeDocument/2006/relationships/slideLayout" Target="../slideLayouts/slideLayout1372.xml"/><Relationship Id="rId11" Type="http://schemas.openxmlformats.org/officeDocument/2006/relationships/theme" Target="../theme/theme194.xml"/><Relationship Id="rId5" Type="http://schemas.openxmlformats.org/officeDocument/2006/relationships/slideLayout" Target="../slideLayouts/slideLayout1371.xml"/><Relationship Id="rId10" Type="http://schemas.openxmlformats.org/officeDocument/2006/relationships/slideLayout" Target="../slideLayouts/slideLayout1376.xml"/><Relationship Id="rId4" Type="http://schemas.openxmlformats.org/officeDocument/2006/relationships/slideLayout" Target="../slideLayouts/slideLayout1370.xml"/><Relationship Id="rId9" Type="http://schemas.openxmlformats.org/officeDocument/2006/relationships/slideLayout" Target="../slideLayouts/slideLayout1375.xml"/><Relationship Id="rId14" Type="http://schemas.openxmlformats.org/officeDocument/2006/relationships/oleObject" Target="../embeddings/oleObject234.bin"/></Relationships>
</file>

<file path=ppt/slideMasters/_rels/slideMaster19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84.xml"/><Relationship Id="rId13" Type="http://schemas.openxmlformats.org/officeDocument/2006/relationships/oleObject" Target="../embeddings/oleObject238.bin"/><Relationship Id="rId3" Type="http://schemas.openxmlformats.org/officeDocument/2006/relationships/slideLayout" Target="../slideLayouts/slideLayout1379.xml"/><Relationship Id="rId7" Type="http://schemas.openxmlformats.org/officeDocument/2006/relationships/slideLayout" Target="../slideLayouts/slideLayout1383.xml"/><Relationship Id="rId12" Type="http://schemas.openxmlformats.org/officeDocument/2006/relationships/tags" Target="../tags/tag240.xml"/><Relationship Id="rId2" Type="http://schemas.openxmlformats.org/officeDocument/2006/relationships/slideLayout" Target="../slideLayouts/slideLayout1378.xml"/><Relationship Id="rId1" Type="http://schemas.openxmlformats.org/officeDocument/2006/relationships/slideLayout" Target="../slideLayouts/slideLayout1377.xml"/><Relationship Id="rId6" Type="http://schemas.openxmlformats.org/officeDocument/2006/relationships/slideLayout" Target="../slideLayouts/slideLayout1382.xml"/><Relationship Id="rId11" Type="http://schemas.openxmlformats.org/officeDocument/2006/relationships/vmlDrawing" Target="../drawings/vmlDrawing238.vml"/><Relationship Id="rId5" Type="http://schemas.openxmlformats.org/officeDocument/2006/relationships/slideLayout" Target="../slideLayouts/slideLayout1381.xml"/><Relationship Id="rId10" Type="http://schemas.openxmlformats.org/officeDocument/2006/relationships/theme" Target="../theme/theme195.xml"/><Relationship Id="rId4" Type="http://schemas.openxmlformats.org/officeDocument/2006/relationships/slideLayout" Target="../slideLayouts/slideLayout1380.xml"/><Relationship Id="rId9" Type="http://schemas.openxmlformats.org/officeDocument/2006/relationships/slideLayout" Target="../slideLayouts/slideLayout1385.xml"/></Relationships>
</file>

<file path=ppt/slideMasters/_rels/slideMaster19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93.xml"/><Relationship Id="rId13" Type="http://schemas.openxmlformats.org/officeDocument/2006/relationships/oleObject" Target="../embeddings/oleObject242.bin"/><Relationship Id="rId3" Type="http://schemas.openxmlformats.org/officeDocument/2006/relationships/slideLayout" Target="../slideLayouts/slideLayout1388.xml"/><Relationship Id="rId7" Type="http://schemas.openxmlformats.org/officeDocument/2006/relationships/slideLayout" Target="../slideLayouts/slideLayout1392.xml"/><Relationship Id="rId12" Type="http://schemas.openxmlformats.org/officeDocument/2006/relationships/tags" Target="../tags/tag244.xml"/><Relationship Id="rId2" Type="http://schemas.openxmlformats.org/officeDocument/2006/relationships/slideLayout" Target="../slideLayouts/slideLayout1387.xml"/><Relationship Id="rId1" Type="http://schemas.openxmlformats.org/officeDocument/2006/relationships/slideLayout" Target="../slideLayouts/slideLayout1386.xml"/><Relationship Id="rId6" Type="http://schemas.openxmlformats.org/officeDocument/2006/relationships/slideLayout" Target="../slideLayouts/slideLayout1391.xml"/><Relationship Id="rId11" Type="http://schemas.openxmlformats.org/officeDocument/2006/relationships/vmlDrawing" Target="../drawings/vmlDrawing242.vml"/><Relationship Id="rId5" Type="http://schemas.openxmlformats.org/officeDocument/2006/relationships/slideLayout" Target="../slideLayouts/slideLayout1390.xml"/><Relationship Id="rId10" Type="http://schemas.openxmlformats.org/officeDocument/2006/relationships/theme" Target="../theme/theme196.xml"/><Relationship Id="rId4" Type="http://schemas.openxmlformats.org/officeDocument/2006/relationships/slideLayout" Target="../slideLayouts/slideLayout1389.xml"/><Relationship Id="rId9" Type="http://schemas.openxmlformats.org/officeDocument/2006/relationships/slideLayout" Target="../slideLayouts/slideLayout1394.xml"/></Relationships>
</file>

<file path=ppt/slideMasters/_rels/slideMaster19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97.xml"/><Relationship Id="rId2" Type="http://schemas.openxmlformats.org/officeDocument/2006/relationships/slideLayout" Target="../slideLayouts/slideLayout1396.xml"/><Relationship Id="rId1" Type="http://schemas.openxmlformats.org/officeDocument/2006/relationships/slideLayout" Target="../slideLayouts/slideLayout1395.xml"/><Relationship Id="rId5" Type="http://schemas.openxmlformats.org/officeDocument/2006/relationships/theme" Target="../theme/theme197.xml"/><Relationship Id="rId4" Type="http://schemas.openxmlformats.org/officeDocument/2006/relationships/slideLayout" Target="../slideLayouts/slideLayout1398.xml"/></Relationships>
</file>

<file path=ppt/slideMasters/_rels/slideMaster19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06.xml"/><Relationship Id="rId3" Type="http://schemas.openxmlformats.org/officeDocument/2006/relationships/slideLayout" Target="../slideLayouts/slideLayout1401.xml"/><Relationship Id="rId7" Type="http://schemas.openxmlformats.org/officeDocument/2006/relationships/slideLayout" Target="../slideLayouts/slideLayout1405.xml"/><Relationship Id="rId2" Type="http://schemas.openxmlformats.org/officeDocument/2006/relationships/slideLayout" Target="../slideLayouts/slideLayout1400.xml"/><Relationship Id="rId1" Type="http://schemas.openxmlformats.org/officeDocument/2006/relationships/slideLayout" Target="../slideLayouts/slideLayout1399.xml"/><Relationship Id="rId6" Type="http://schemas.openxmlformats.org/officeDocument/2006/relationships/slideLayout" Target="../slideLayouts/slideLayout1404.xml"/><Relationship Id="rId5" Type="http://schemas.openxmlformats.org/officeDocument/2006/relationships/slideLayout" Target="../slideLayouts/slideLayout1403.xml"/><Relationship Id="rId4" Type="http://schemas.openxmlformats.org/officeDocument/2006/relationships/slideLayout" Target="../slideLayouts/slideLayout1402.xml"/><Relationship Id="rId9" Type="http://schemas.openxmlformats.org/officeDocument/2006/relationships/theme" Target="../theme/theme198.xml"/></Relationships>
</file>

<file path=ppt/slideMasters/_rels/slideMaster19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14.xml"/><Relationship Id="rId13" Type="http://schemas.openxmlformats.org/officeDocument/2006/relationships/tags" Target="../tags/tag248.xml"/><Relationship Id="rId3" Type="http://schemas.openxmlformats.org/officeDocument/2006/relationships/slideLayout" Target="../slideLayouts/slideLayout1409.xml"/><Relationship Id="rId7" Type="http://schemas.openxmlformats.org/officeDocument/2006/relationships/slideLayout" Target="../slideLayouts/slideLayout1413.xml"/><Relationship Id="rId12" Type="http://schemas.openxmlformats.org/officeDocument/2006/relationships/vmlDrawing" Target="../drawings/vmlDrawing246.vml"/><Relationship Id="rId2" Type="http://schemas.openxmlformats.org/officeDocument/2006/relationships/slideLayout" Target="../slideLayouts/slideLayout1408.xml"/><Relationship Id="rId1" Type="http://schemas.openxmlformats.org/officeDocument/2006/relationships/slideLayout" Target="../slideLayouts/slideLayout1407.xml"/><Relationship Id="rId6" Type="http://schemas.openxmlformats.org/officeDocument/2006/relationships/slideLayout" Target="../slideLayouts/slideLayout1412.xml"/><Relationship Id="rId11" Type="http://schemas.openxmlformats.org/officeDocument/2006/relationships/theme" Target="../theme/theme199.xml"/><Relationship Id="rId5" Type="http://schemas.openxmlformats.org/officeDocument/2006/relationships/slideLayout" Target="../slideLayouts/slideLayout1411.xml"/><Relationship Id="rId10" Type="http://schemas.openxmlformats.org/officeDocument/2006/relationships/slideLayout" Target="../slideLayouts/slideLayout1416.xml"/><Relationship Id="rId4" Type="http://schemas.openxmlformats.org/officeDocument/2006/relationships/slideLayout" Target="../slideLayouts/slideLayout1410.xml"/><Relationship Id="rId9" Type="http://schemas.openxmlformats.org/officeDocument/2006/relationships/slideLayout" Target="../slideLayouts/slideLayout1415.xml"/><Relationship Id="rId14" Type="http://schemas.openxmlformats.org/officeDocument/2006/relationships/oleObject" Target="../embeddings/oleObject246.bin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1.xml"/><Relationship Id="rId2" Type="http://schemas.openxmlformats.org/officeDocument/2006/relationships/slideLayout" Target="../slideLayouts/slideLayout10.xml"/><Relationship Id="rId1" Type="http://schemas.openxmlformats.org/officeDocument/2006/relationships/slideLayout" Target="../slideLayouts/slideLayout9.xml"/><Relationship Id="rId5" Type="http://schemas.openxmlformats.org/officeDocument/2006/relationships/theme" Target="../theme/theme2.xml"/><Relationship Id="rId4" Type="http://schemas.openxmlformats.org/officeDocument/2006/relationships/slideLayout" Target="../slideLayouts/slideLayout12.xml"/></Relationships>
</file>

<file path=ppt/slideMasters/_rels/slideMaster2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5.xml"/><Relationship Id="rId2" Type="http://schemas.openxmlformats.org/officeDocument/2006/relationships/slideLayout" Target="../slideLayouts/slideLayout134.xml"/><Relationship Id="rId1" Type="http://schemas.openxmlformats.org/officeDocument/2006/relationships/slideLayout" Target="../slideLayouts/slideLayout133.xml"/><Relationship Id="rId6" Type="http://schemas.openxmlformats.org/officeDocument/2006/relationships/theme" Target="../theme/theme20.xml"/><Relationship Id="rId5" Type="http://schemas.openxmlformats.org/officeDocument/2006/relationships/slideLayout" Target="../slideLayouts/slideLayout137.xml"/><Relationship Id="rId4" Type="http://schemas.openxmlformats.org/officeDocument/2006/relationships/slideLayout" Target="../slideLayouts/slideLayout136.xml"/></Relationships>
</file>

<file path=ppt/slideMasters/_rels/slideMaster20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419.xml"/><Relationship Id="rId2" Type="http://schemas.openxmlformats.org/officeDocument/2006/relationships/slideLayout" Target="../slideLayouts/slideLayout1418.xml"/><Relationship Id="rId1" Type="http://schemas.openxmlformats.org/officeDocument/2006/relationships/slideLayout" Target="../slideLayouts/slideLayout1417.xml"/><Relationship Id="rId5" Type="http://schemas.openxmlformats.org/officeDocument/2006/relationships/theme" Target="../theme/theme200.xml"/><Relationship Id="rId4" Type="http://schemas.openxmlformats.org/officeDocument/2006/relationships/slideLayout" Target="../slideLayouts/slideLayout1420.xml"/></Relationships>
</file>

<file path=ppt/slideMasters/_rels/slideMaster20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28.xml"/><Relationship Id="rId3" Type="http://schemas.openxmlformats.org/officeDocument/2006/relationships/slideLayout" Target="../slideLayouts/slideLayout1423.xml"/><Relationship Id="rId7" Type="http://schemas.openxmlformats.org/officeDocument/2006/relationships/slideLayout" Target="../slideLayouts/slideLayout1427.xml"/><Relationship Id="rId2" Type="http://schemas.openxmlformats.org/officeDocument/2006/relationships/slideLayout" Target="../slideLayouts/slideLayout1422.xml"/><Relationship Id="rId1" Type="http://schemas.openxmlformats.org/officeDocument/2006/relationships/slideLayout" Target="../slideLayouts/slideLayout1421.xml"/><Relationship Id="rId6" Type="http://schemas.openxmlformats.org/officeDocument/2006/relationships/slideLayout" Target="../slideLayouts/slideLayout1426.xml"/><Relationship Id="rId5" Type="http://schemas.openxmlformats.org/officeDocument/2006/relationships/slideLayout" Target="../slideLayouts/slideLayout1425.xml"/><Relationship Id="rId4" Type="http://schemas.openxmlformats.org/officeDocument/2006/relationships/slideLayout" Target="../slideLayouts/slideLayout1424.xml"/><Relationship Id="rId9" Type="http://schemas.openxmlformats.org/officeDocument/2006/relationships/theme" Target="../theme/theme201.xml"/></Relationships>
</file>

<file path=ppt/slideMasters/_rels/slideMaster20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36.xml"/><Relationship Id="rId3" Type="http://schemas.openxmlformats.org/officeDocument/2006/relationships/slideLayout" Target="../slideLayouts/slideLayout1431.xml"/><Relationship Id="rId7" Type="http://schemas.openxmlformats.org/officeDocument/2006/relationships/slideLayout" Target="../slideLayouts/slideLayout1435.xml"/><Relationship Id="rId2" Type="http://schemas.openxmlformats.org/officeDocument/2006/relationships/slideLayout" Target="../slideLayouts/slideLayout1430.xml"/><Relationship Id="rId1" Type="http://schemas.openxmlformats.org/officeDocument/2006/relationships/slideLayout" Target="../slideLayouts/slideLayout1429.xml"/><Relationship Id="rId6" Type="http://schemas.openxmlformats.org/officeDocument/2006/relationships/slideLayout" Target="../slideLayouts/slideLayout1434.xml"/><Relationship Id="rId5" Type="http://schemas.openxmlformats.org/officeDocument/2006/relationships/slideLayout" Target="../slideLayouts/slideLayout1433.xml"/><Relationship Id="rId4" Type="http://schemas.openxmlformats.org/officeDocument/2006/relationships/slideLayout" Target="../slideLayouts/slideLayout1432.xml"/><Relationship Id="rId9" Type="http://schemas.openxmlformats.org/officeDocument/2006/relationships/theme" Target="../theme/theme202.xml"/></Relationships>
</file>

<file path=ppt/slideMasters/_rels/slideMaster20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50.bin"/><Relationship Id="rId3" Type="http://schemas.openxmlformats.org/officeDocument/2006/relationships/slideLayout" Target="../slideLayouts/slideLayout1439.xml"/><Relationship Id="rId7" Type="http://schemas.openxmlformats.org/officeDocument/2006/relationships/tags" Target="../tags/tag252.xml"/><Relationship Id="rId2" Type="http://schemas.openxmlformats.org/officeDocument/2006/relationships/slideLayout" Target="../slideLayouts/slideLayout1438.xml"/><Relationship Id="rId1" Type="http://schemas.openxmlformats.org/officeDocument/2006/relationships/slideLayout" Target="../slideLayouts/slideLayout1437.xml"/><Relationship Id="rId6" Type="http://schemas.openxmlformats.org/officeDocument/2006/relationships/vmlDrawing" Target="../drawings/vmlDrawing250.vml"/><Relationship Id="rId5" Type="http://schemas.openxmlformats.org/officeDocument/2006/relationships/theme" Target="../theme/theme203.xml"/><Relationship Id="rId4" Type="http://schemas.openxmlformats.org/officeDocument/2006/relationships/slideLayout" Target="../slideLayouts/slideLayout1440.xml"/></Relationships>
</file>

<file path=ppt/slideMasters/_rels/slideMaster204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51.bin"/><Relationship Id="rId3" Type="http://schemas.openxmlformats.org/officeDocument/2006/relationships/slideLayout" Target="../slideLayouts/slideLayout1443.xml"/><Relationship Id="rId7" Type="http://schemas.openxmlformats.org/officeDocument/2006/relationships/tags" Target="../tags/tag253.xml"/><Relationship Id="rId2" Type="http://schemas.openxmlformats.org/officeDocument/2006/relationships/slideLayout" Target="../slideLayouts/slideLayout1442.xml"/><Relationship Id="rId1" Type="http://schemas.openxmlformats.org/officeDocument/2006/relationships/slideLayout" Target="../slideLayouts/slideLayout1441.xml"/><Relationship Id="rId6" Type="http://schemas.openxmlformats.org/officeDocument/2006/relationships/vmlDrawing" Target="../drawings/vmlDrawing251.vml"/><Relationship Id="rId5" Type="http://schemas.openxmlformats.org/officeDocument/2006/relationships/theme" Target="../theme/theme204.xml"/><Relationship Id="rId4" Type="http://schemas.openxmlformats.org/officeDocument/2006/relationships/slideLayout" Target="../slideLayouts/slideLayout1444.xml"/></Relationships>
</file>

<file path=ppt/slideMasters/_rels/slideMaster20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52.xml"/><Relationship Id="rId3" Type="http://schemas.openxmlformats.org/officeDocument/2006/relationships/slideLayout" Target="../slideLayouts/slideLayout1447.xml"/><Relationship Id="rId7" Type="http://schemas.openxmlformats.org/officeDocument/2006/relationships/slideLayout" Target="../slideLayouts/slideLayout1451.xml"/><Relationship Id="rId2" Type="http://schemas.openxmlformats.org/officeDocument/2006/relationships/slideLayout" Target="../slideLayouts/slideLayout1446.xml"/><Relationship Id="rId1" Type="http://schemas.openxmlformats.org/officeDocument/2006/relationships/slideLayout" Target="../slideLayouts/slideLayout1445.xml"/><Relationship Id="rId6" Type="http://schemas.openxmlformats.org/officeDocument/2006/relationships/slideLayout" Target="../slideLayouts/slideLayout1450.xml"/><Relationship Id="rId5" Type="http://schemas.openxmlformats.org/officeDocument/2006/relationships/slideLayout" Target="../slideLayouts/slideLayout1449.xml"/><Relationship Id="rId4" Type="http://schemas.openxmlformats.org/officeDocument/2006/relationships/slideLayout" Target="../slideLayouts/slideLayout1448.xml"/><Relationship Id="rId9" Type="http://schemas.openxmlformats.org/officeDocument/2006/relationships/theme" Target="../theme/theme205.xml"/></Relationships>
</file>

<file path=ppt/slideMasters/_rels/slideMaster20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455.xml"/><Relationship Id="rId2" Type="http://schemas.openxmlformats.org/officeDocument/2006/relationships/slideLayout" Target="../slideLayouts/slideLayout1454.xml"/><Relationship Id="rId1" Type="http://schemas.openxmlformats.org/officeDocument/2006/relationships/slideLayout" Target="../slideLayouts/slideLayout1453.xml"/><Relationship Id="rId4" Type="http://schemas.openxmlformats.org/officeDocument/2006/relationships/theme" Target="../theme/theme206.xml"/></Relationships>
</file>

<file path=ppt/slideMasters/_rels/slideMaster20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63.xml"/><Relationship Id="rId13" Type="http://schemas.openxmlformats.org/officeDocument/2006/relationships/tags" Target="../tags/tag254.xml"/><Relationship Id="rId3" Type="http://schemas.openxmlformats.org/officeDocument/2006/relationships/slideLayout" Target="../slideLayouts/slideLayout1458.xml"/><Relationship Id="rId7" Type="http://schemas.openxmlformats.org/officeDocument/2006/relationships/slideLayout" Target="../slideLayouts/slideLayout1462.xml"/><Relationship Id="rId12" Type="http://schemas.openxmlformats.org/officeDocument/2006/relationships/vmlDrawing" Target="../drawings/vmlDrawing252.vml"/><Relationship Id="rId2" Type="http://schemas.openxmlformats.org/officeDocument/2006/relationships/slideLayout" Target="../slideLayouts/slideLayout1457.xml"/><Relationship Id="rId1" Type="http://schemas.openxmlformats.org/officeDocument/2006/relationships/slideLayout" Target="../slideLayouts/slideLayout1456.xml"/><Relationship Id="rId6" Type="http://schemas.openxmlformats.org/officeDocument/2006/relationships/slideLayout" Target="../slideLayouts/slideLayout1461.xml"/><Relationship Id="rId11" Type="http://schemas.openxmlformats.org/officeDocument/2006/relationships/theme" Target="../theme/theme207.xml"/><Relationship Id="rId5" Type="http://schemas.openxmlformats.org/officeDocument/2006/relationships/slideLayout" Target="../slideLayouts/slideLayout1460.xml"/><Relationship Id="rId10" Type="http://schemas.openxmlformats.org/officeDocument/2006/relationships/slideLayout" Target="../slideLayouts/slideLayout1465.xml"/><Relationship Id="rId4" Type="http://schemas.openxmlformats.org/officeDocument/2006/relationships/slideLayout" Target="../slideLayouts/slideLayout1459.xml"/><Relationship Id="rId9" Type="http://schemas.openxmlformats.org/officeDocument/2006/relationships/slideLayout" Target="../slideLayouts/slideLayout1464.xml"/><Relationship Id="rId14" Type="http://schemas.openxmlformats.org/officeDocument/2006/relationships/oleObject" Target="../embeddings/oleObject252.bin"/></Relationships>
</file>

<file path=ppt/slideMasters/_rels/slideMaster20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73.xml"/><Relationship Id="rId3" Type="http://schemas.openxmlformats.org/officeDocument/2006/relationships/slideLayout" Target="../slideLayouts/slideLayout1468.xml"/><Relationship Id="rId7" Type="http://schemas.openxmlformats.org/officeDocument/2006/relationships/slideLayout" Target="../slideLayouts/slideLayout1472.xml"/><Relationship Id="rId2" Type="http://schemas.openxmlformats.org/officeDocument/2006/relationships/slideLayout" Target="../slideLayouts/slideLayout1467.xml"/><Relationship Id="rId1" Type="http://schemas.openxmlformats.org/officeDocument/2006/relationships/slideLayout" Target="../slideLayouts/slideLayout1466.xml"/><Relationship Id="rId6" Type="http://schemas.openxmlformats.org/officeDocument/2006/relationships/slideLayout" Target="../slideLayouts/slideLayout1471.xml"/><Relationship Id="rId5" Type="http://schemas.openxmlformats.org/officeDocument/2006/relationships/slideLayout" Target="../slideLayouts/slideLayout1470.xml"/><Relationship Id="rId4" Type="http://schemas.openxmlformats.org/officeDocument/2006/relationships/slideLayout" Target="../slideLayouts/slideLayout1469.xml"/><Relationship Id="rId9" Type="http://schemas.openxmlformats.org/officeDocument/2006/relationships/theme" Target="../theme/theme208.xml"/></Relationships>
</file>

<file path=ppt/slideMasters/_rels/slideMaster20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81.xml"/><Relationship Id="rId3" Type="http://schemas.openxmlformats.org/officeDocument/2006/relationships/slideLayout" Target="../slideLayouts/slideLayout1476.xml"/><Relationship Id="rId7" Type="http://schemas.openxmlformats.org/officeDocument/2006/relationships/slideLayout" Target="../slideLayouts/slideLayout1480.xml"/><Relationship Id="rId2" Type="http://schemas.openxmlformats.org/officeDocument/2006/relationships/slideLayout" Target="../slideLayouts/slideLayout1475.xml"/><Relationship Id="rId1" Type="http://schemas.openxmlformats.org/officeDocument/2006/relationships/slideLayout" Target="../slideLayouts/slideLayout1474.xml"/><Relationship Id="rId6" Type="http://schemas.openxmlformats.org/officeDocument/2006/relationships/slideLayout" Target="../slideLayouts/slideLayout1479.xml"/><Relationship Id="rId5" Type="http://schemas.openxmlformats.org/officeDocument/2006/relationships/slideLayout" Target="../slideLayouts/slideLayout1478.xml"/><Relationship Id="rId4" Type="http://schemas.openxmlformats.org/officeDocument/2006/relationships/slideLayout" Target="../slideLayouts/slideLayout1477.xml"/><Relationship Id="rId9" Type="http://schemas.openxmlformats.org/officeDocument/2006/relationships/theme" Target="../theme/theme209.xml"/></Relationships>
</file>

<file path=ppt/slideMasters/_rels/slideMaster2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5.xml"/><Relationship Id="rId3" Type="http://schemas.openxmlformats.org/officeDocument/2006/relationships/slideLayout" Target="../slideLayouts/slideLayout140.xml"/><Relationship Id="rId7" Type="http://schemas.openxmlformats.org/officeDocument/2006/relationships/slideLayout" Target="../slideLayouts/slideLayout144.xml"/><Relationship Id="rId2" Type="http://schemas.openxmlformats.org/officeDocument/2006/relationships/slideLayout" Target="../slideLayouts/slideLayout139.xml"/><Relationship Id="rId1" Type="http://schemas.openxmlformats.org/officeDocument/2006/relationships/slideLayout" Target="../slideLayouts/slideLayout138.xml"/><Relationship Id="rId6" Type="http://schemas.openxmlformats.org/officeDocument/2006/relationships/slideLayout" Target="../slideLayouts/slideLayout143.xml"/><Relationship Id="rId5" Type="http://schemas.openxmlformats.org/officeDocument/2006/relationships/slideLayout" Target="../slideLayouts/slideLayout142.xml"/><Relationship Id="rId4" Type="http://schemas.openxmlformats.org/officeDocument/2006/relationships/slideLayout" Target="../slideLayouts/slideLayout141.xml"/><Relationship Id="rId9" Type="http://schemas.openxmlformats.org/officeDocument/2006/relationships/theme" Target="../theme/theme21.xml"/></Relationships>
</file>

<file path=ppt/slideMasters/_rels/slideMaster2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484.xml"/><Relationship Id="rId2" Type="http://schemas.openxmlformats.org/officeDocument/2006/relationships/slideLayout" Target="../slideLayouts/slideLayout1483.xml"/><Relationship Id="rId1" Type="http://schemas.openxmlformats.org/officeDocument/2006/relationships/slideLayout" Target="../slideLayouts/slideLayout1482.xml"/><Relationship Id="rId5" Type="http://schemas.openxmlformats.org/officeDocument/2006/relationships/theme" Target="../theme/theme210.xml"/><Relationship Id="rId4" Type="http://schemas.openxmlformats.org/officeDocument/2006/relationships/slideLayout" Target="../slideLayouts/slideLayout1485.xml"/></Relationships>
</file>

<file path=ppt/slideMasters/_rels/slideMaster2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488.xml"/><Relationship Id="rId2" Type="http://schemas.openxmlformats.org/officeDocument/2006/relationships/slideLayout" Target="../slideLayouts/slideLayout1487.xml"/><Relationship Id="rId1" Type="http://schemas.openxmlformats.org/officeDocument/2006/relationships/slideLayout" Target="../slideLayouts/slideLayout1486.xml"/><Relationship Id="rId5" Type="http://schemas.openxmlformats.org/officeDocument/2006/relationships/theme" Target="../theme/theme211.xml"/><Relationship Id="rId4" Type="http://schemas.openxmlformats.org/officeDocument/2006/relationships/slideLayout" Target="../slideLayouts/slideLayout1489.xml"/></Relationships>
</file>

<file path=ppt/slideMasters/_rels/slideMaster2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492.xml"/><Relationship Id="rId2" Type="http://schemas.openxmlformats.org/officeDocument/2006/relationships/slideLayout" Target="../slideLayouts/slideLayout1491.xml"/><Relationship Id="rId1" Type="http://schemas.openxmlformats.org/officeDocument/2006/relationships/slideLayout" Target="../slideLayouts/slideLayout1490.xml"/><Relationship Id="rId6" Type="http://schemas.openxmlformats.org/officeDocument/2006/relationships/theme" Target="../theme/theme212.xml"/><Relationship Id="rId5" Type="http://schemas.openxmlformats.org/officeDocument/2006/relationships/slideLayout" Target="../slideLayouts/slideLayout1494.xml"/><Relationship Id="rId4" Type="http://schemas.openxmlformats.org/officeDocument/2006/relationships/slideLayout" Target="../slideLayouts/slideLayout1493.xml"/></Relationships>
</file>

<file path=ppt/slideMasters/_rels/slideMaster2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497.xml"/><Relationship Id="rId2" Type="http://schemas.openxmlformats.org/officeDocument/2006/relationships/slideLayout" Target="../slideLayouts/slideLayout1496.xml"/><Relationship Id="rId1" Type="http://schemas.openxmlformats.org/officeDocument/2006/relationships/slideLayout" Target="../slideLayouts/slideLayout1495.xml"/><Relationship Id="rId5" Type="http://schemas.openxmlformats.org/officeDocument/2006/relationships/theme" Target="../theme/theme213.xml"/><Relationship Id="rId4" Type="http://schemas.openxmlformats.org/officeDocument/2006/relationships/slideLayout" Target="../slideLayouts/slideLayout1498.xml"/></Relationships>
</file>

<file path=ppt/slideMasters/_rels/slideMaster21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06.xml"/><Relationship Id="rId3" Type="http://schemas.openxmlformats.org/officeDocument/2006/relationships/slideLayout" Target="../slideLayouts/slideLayout1501.xml"/><Relationship Id="rId7" Type="http://schemas.openxmlformats.org/officeDocument/2006/relationships/slideLayout" Target="../slideLayouts/slideLayout1505.xml"/><Relationship Id="rId2" Type="http://schemas.openxmlformats.org/officeDocument/2006/relationships/slideLayout" Target="../slideLayouts/slideLayout1500.xml"/><Relationship Id="rId1" Type="http://schemas.openxmlformats.org/officeDocument/2006/relationships/slideLayout" Target="../slideLayouts/slideLayout1499.xml"/><Relationship Id="rId6" Type="http://schemas.openxmlformats.org/officeDocument/2006/relationships/slideLayout" Target="../slideLayouts/slideLayout1504.xml"/><Relationship Id="rId11" Type="http://schemas.openxmlformats.org/officeDocument/2006/relationships/theme" Target="../theme/theme214.xml"/><Relationship Id="rId5" Type="http://schemas.openxmlformats.org/officeDocument/2006/relationships/slideLayout" Target="../slideLayouts/slideLayout1503.xml"/><Relationship Id="rId10" Type="http://schemas.openxmlformats.org/officeDocument/2006/relationships/slideLayout" Target="../slideLayouts/slideLayout1508.xml"/><Relationship Id="rId4" Type="http://schemas.openxmlformats.org/officeDocument/2006/relationships/slideLayout" Target="../slideLayouts/slideLayout1502.xml"/><Relationship Id="rId9" Type="http://schemas.openxmlformats.org/officeDocument/2006/relationships/slideLayout" Target="../slideLayouts/slideLayout1507.xml"/></Relationships>
</file>

<file path=ppt/slideMasters/_rels/slideMaster21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16.xml"/><Relationship Id="rId3" Type="http://schemas.openxmlformats.org/officeDocument/2006/relationships/slideLayout" Target="../slideLayouts/slideLayout1511.xml"/><Relationship Id="rId7" Type="http://schemas.openxmlformats.org/officeDocument/2006/relationships/slideLayout" Target="../slideLayouts/slideLayout1515.xml"/><Relationship Id="rId2" Type="http://schemas.openxmlformats.org/officeDocument/2006/relationships/slideLayout" Target="../slideLayouts/slideLayout1510.xml"/><Relationship Id="rId1" Type="http://schemas.openxmlformats.org/officeDocument/2006/relationships/slideLayout" Target="../slideLayouts/slideLayout1509.xml"/><Relationship Id="rId6" Type="http://schemas.openxmlformats.org/officeDocument/2006/relationships/slideLayout" Target="../slideLayouts/slideLayout1514.xml"/><Relationship Id="rId5" Type="http://schemas.openxmlformats.org/officeDocument/2006/relationships/slideLayout" Target="../slideLayouts/slideLayout1513.xml"/><Relationship Id="rId4" Type="http://schemas.openxmlformats.org/officeDocument/2006/relationships/slideLayout" Target="../slideLayouts/slideLayout1512.xml"/><Relationship Id="rId9" Type="http://schemas.openxmlformats.org/officeDocument/2006/relationships/theme" Target="../theme/theme215.xml"/></Relationships>
</file>

<file path=ppt/slideMasters/_rels/slideMaster21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24.xml"/><Relationship Id="rId3" Type="http://schemas.openxmlformats.org/officeDocument/2006/relationships/slideLayout" Target="../slideLayouts/slideLayout1519.xml"/><Relationship Id="rId7" Type="http://schemas.openxmlformats.org/officeDocument/2006/relationships/slideLayout" Target="../slideLayouts/slideLayout1523.xml"/><Relationship Id="rId2" Type="http://schemas.openxmlformats.org/officeDocument/2006/relationships/slideLayout" Target="../slideLayouts/slideLayout1518.xml"/><Relationship Id="rId1" Type="http://schemas.openxmlformats.org/officeDocument/2006/relationships/slideLayout" Target="../slideLayouts/slideLayout1517.xml"/><Relationship Id="rId6" Type="http://schemas.openxmlformats.org/officeDocument/2006/relationships/slideLayout" Target="../slideLayouts/slideLayout1522.xml"/><Relationship Id="rId11" Type="http://schemas.openxmlformats.org/officeDocument/2006/relationships/theme" Target="../theme/theme216.xml"/><Relationship Id="rId5" Type="http://schemas.openxmlformats.org/officeDocument/2006/relationships/slideLayout" Target="../slideLayouts/slideLayout1521.xml"/><Relationship Id="rId10" Type="http://schemas.openxmlformats.org/officeDocument/2006/relationships/slideLayout" Target="../slideLayouts/slideLayout1526.xml"/><Relationship Id="rId4" Type="http://schemas.openxmlformats.org/officeDocument/2006/relationships/slideLayout" Target="../slideLayouts/slideLayout1520.xml"/><Relationship Id="rId9" Type="http://schemas.openxmlformats.org/officeDocument/2006/relationships/slideLayout" Target="../slideLayouts/slideLayout1525.xml"/></Relationships>
</file>

<file path=ppt/slideMasters/_rels/slideMaster21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529.xml"/><Relationship Id="rId2" Type="http://schemas.openxmlformats.org/officeDocument/2006/relationships/slideLayout" Target="../slideLayouts/slideLayout1528.xml"/><Relationship Id="rId1" Type="http://schemas.openxmlformats.org/officeDocument/2006/relationships/slideLayout" Target="../slideLayouts/slideLayout1527.xml"/><Relationship Id="rId5" Type="http://schemas.openxmlformats.org/officeDocument/2006/relationships/theme" Target="../theme/theme217.xml"/><Relationship Id="rId4" Type="http://schemas.openxmlformats.org/officeDocument/2006/relationships/slideLayout" Target="../slideLayouts/slideLayout1530.xml"/></Relationships>
</file>

<file path=ppt/slideMasters/_rels/slideMaster218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256.vml"/><Relationship Id="rId3" Type="http://schemas.openxmlformats.org/officeDocument/2006/relationships/slideLayout" Target="../slideLayouts/slideLayout1533.xml"/><Relationship Id="rId7" Type="http://schemas.openxmlformats.org/officeDocument/2006/relationships/theme" Target="../theme/theme218.xml"/><Relationship Id="rId2" Type="http://schemas.openxmlformats.org/officeDocument/2006/relationships/slideLayout" Target="../slideLayouts/slideLayout1532.xml"/><Relationship Id="rId1" Type="http://schemas.openxmlformats.org/officeDocument/2006/relationships/slideLayout" Target="../slideLayouts/slideLayout1531.xml"/><Relationship Id="rId6" Type="http://schemas.openxmlformats.org/officeDocument/2006/relationships/slideLayout" Target="../slideLayouts/slideLayout1536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1535.xml"/><Relationship Id="rId10" Type="http://schemas.openxmlformats.org/officeDocument/2006/relationships/oleObject" Target="../embeddings/oleObject256.bin"/><Relationship Id="rId4" Type="http://schemas.openxmlformats.org/officeDocument/2006/relationships/slideLayout" Target="../slideLayouts/slideLayout1534.xml"/><Relationship Id="rId9" Type="http://schemas.openxmlformats.org/officeDocument/2006/relationships/tags" Target="../tags/tag258.xml"/></Relationships>
</file>

<file path=ppt/slideMasters/_rels/slideMaster21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539.xml"/><Relationship Id="rId7" Type="http://schemas.openxmlformats.org/officeDocument/2006/relationships/theme" Target="../theme/theme219.xml"/><Relationship Id="rId2" Type="http://schemas.openxmlformats.org/officeDocument/2006/relationships/slideLayout" Target="../slideLayouts/slideLayout1538.xml"/><Relationship Id="rId1" Type="http://schemas.openxmlformats.org/officeDocument/2006/relationships/slideLayout" Target="../slideLayouts/slideLayout1537.xml"/><Relationship Id="rId6" Type="http://schemas.openxmlformats.org/officeDocument/2006/relationships/slideLayout" Target="../slideLayouts/slideLayout1542.xml"/><Relationship Id="rId5" Type="http://schemas.openxmlformats.org/officeDocument/2006/relationships/slideLayout" Target="../slideLayouts/slideLayout1541.xml"/><Relationship Id="rId4" Type="http://schemas.openxmlformats.org/officeDocument/2006/relationships/slideLayout" Target="../slideLayouts/slideLayout1540.xml"/></Relationships>
</file>

<file path=ppt/slideMasters/_rels/slideMaster2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48.xml"/><Relationship Id="rId2" Type="http://schemas.openxmlformats.org/officeDocument/2006/relationships/slideLayout" Target="../slideLayouts/slideLayout147.xml"/><Relationship Id="rId1" Type="http://schemas.openxmlformats.org/officeDocument/2006/relationships/slideLayout" Target="../slideLayouts/slideLayout146.xml"/><Relationship Id="rId5" Type="http://schemas.openxmlformats.org/officeDocument/2006/relationships/theme" Target="../theme/theme22.xml"/><Relationship Id="rId4" Type="http://schemas.openxmlformats.org/officeDocument/2006/relationships/slideLayout" Target="../slideLayouts/slideLayout149.xml"/></Relationships>
</file>

<file path=ppt/slideMasters/_rels/slideMaster22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50.xml"/><Relationship Id="rId13" Type="http://schemas.openxmlformats.org/officeDocument/2006/relationships/oleObject" Target="../embeddings/oleObject258.bin"/><Relationship Id="rId3" Type="http://schemas.openxmlformats.org/officeDocument/2006/relationships/slideLayout" Target="../slideLayouts/slideLayout1545.xml"/><Relationship Id="rId7" Type="http://schemas.openxmlformats.org/officeDocument/2006/relationships/slideLayout" Target="../slideLayouts/slideLayout1549.xml"/><Relationship Id="rId12" Type="http://schemas.openxmlformats.org/officeDocument/2006/relationships/tags" Target="../tags/tag260.xml"/><Relationship Id="rId2" Type="http://schemas.openxmlformats.org/officeDocument/2006/relationships/slideLayout" Target="../slideLayouts/slideLayout1544.xml"/><Relationship Id="rId1" Type="http://schemas.openxmlformats.org/officeDocument/2006/relationships/slideLayout" Target="../slideLayouts/slideLayout1543.xml"/><Relationship Id="rId6" Type="http://schemas.openxmlformats.org/officeDocument/2006/relationships/slideLayout" Target="../slideLayouts/slideLayout1548.xml"/><Relationship Id="rId11" Type="http://schemas.openxmlformats.org/officeDocument/2006/relationships/vmlDrawing" Target="../drawings/vmlDrawing258.vml"/><Relationship Id="rId5" Type="http://schemas.openxmlformats.org/officeDocument/2006/relationships/slideLayout" Target="../slideLayouts/slideLayout1547.xml"/><Relationship Id="rId10" Type="http://schemas.openxmlformats.org/officeDocument/2006/relationships/theme" Target="../theme/theme220.xml"/><Relationship Id="rId4" Type="http://schemas.openxmlformats.org/officeDocument/2006/relationships/slideLayout" Target="../slideLayouts/slideLayout1546.xml"/><Relationship Id="rId9" Type="http://schemas.openxmlformats.org/officeDocument/2006/relationships/slideLayout" Target="../slideLayouts/slideLayout1551.xml"/></Relationships>
</file>

<file path=ppt/slideMasters/_rels/slideMaster22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59.xml"/><Relationship Id="rId13" Type="http://schemas.openxmlformats.org/officeDocument/2006/relationships/vmlDrawing" Target="../drawings/vmlDrawing262.vml"/><Relationship Id="rId3" Type="http://schemas.openxmlformats.org/officeDocument/2006/relationships/slideLayout" Target="../slideLayouts/slideLayout1554.xml"/><Relationship Id="rId7" Type="http://schemas.openxmlformats.org/officeDocument/2006/relationships/slideLayout" Target="../slideLayouts/slideLayout1558.xml"/><Relationship Id="rId12" Type="http://schemas.openxmlformats.org/officeDocument/2006/relationships/theme" Target="../theme/theme221.xml"/><Relationship Id="rId2" Type="http://schemas.openxmlformats.org/officeDocument/2006/relationships/slideLayout" Target="../slideLayouts/slideLayout1553.xml"/><Relationship Id="rId1" Type="http://schemas.openxmlformats.org/officeDocument/2006/relationships/slideLayout" Target="../slideLayouts/slideLayout1552.xml"/><Relationship Id="rId6" Type="http://schemas.openxmlformats.org/officeDocument/2006/relationships/slideLayout" Target="../slideLayouts/slideLayout1557.xml"/><Relationship Id="rId11" Type="http://schemas.openxmlformats.org/officeDocument/2006/relationships/slideLayout" Target="../slideLayouts/slideLayout1562.xml"/><Relationship Id="rId5" Type="http://schemas.openxmlformats.org/officeDocument/2006/relationships/slideLayout" Target="../slideLayouts/slideLayout1556.xml"/><Relationship Id="rId15" Type="http://schemas.openxmlformats.org/officeDocument/2006/relationships/oleObject" Target="../embeddings/oleObject262.bin"/><Relationship Id="rId10" Type="http://schemas.openxmlformats.org/officeDocument/2006/relationships/slideLayout" Target="../slideLayouts/slideLayout1561.xml"/><Relationship Id="rId4" Type="http://schemas.openxmlformats.org/officeDocument/2006/relationships/slideLayout" Target="../slideLayouts/slideLayout1555.xml"/><Relationship Id="rId9" Type="http://schemas.openxmlformats.org/officeDocument/2006/relationships/slideLayout" Target="../slideLayouts/slideLayout1560.xml"/><Relationship Id="rId14" Type="http://schemas.openxmlformats.org/officeDocument/2006/relationships/tags" Target="../tags/tag264.xml"/></Relationships>
</file>

<file path=ppt/slideMasters/_rels/slideMaster22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70.xml"/><Relationship Id="rId13" Type="http://schemas.openxmlformats.org/officeDocument/2006/relationships/theme" Target="../theme/theme222.xml"/><Relationship Id="rId3" Type="http://schemas.openxmlformats.org/officeDocument/2006/relationships/slideLayout" Target="../slideLayouts/slideLayout1565.xml"/><Relationship Id="rId7" Type="http://schemas.openxmlformats.org/officeDocument/2006/relationships/slideLayout" Target="../slideLayouts/slideLayout1569.xml"/><Relationship Id="rId12" Type="http://schemas.openxmlformats.org/officeDocument/2006/relationships/slideLayout" Target="../slideLayouts/slideLayout1574.xml"/><Relationship Id="rId2" Type="http://schemas.openxmlformats.org/officeDocument/2006/relationships/slideLayout" Target="../slideLayouts/slideLayout1564.xml"/><Relationship Id="rId16" Type="http://schemas.openxmlformats.org/officeDocument/2006/relationships/oleObject" Target="../embeddings/oleObject266.bin"/><Relationship Id="rId1" Type="http://schemas.openxmlformats.org/officeDocument/2006/relationships/slideLayout" Target="../slideLayouts/slideLayout1563.xml"/><Relationship Id="rId6" Type="http://schemas.openxmlformats.org/officeDocument/2006/relationships/slideLayout" Target="../slideLayouts/slideLayout1568.xml"/><Relationship Id="rId11" Type="http://schemas.openxmlformats.org/officeDocument/2006/relationships/slideLayout" Target="../slideLayouts/slideLayout1573.xml"/><Relationship Id="rId5" Type="http://schemas.openxmlformats.org/officeDocument/2006/relationships/slideLayout" Target="../slideLayouts/slideLayout1567.xml"/><Relationship Id="rId15" Type="http://schemas.openxmlformats.org/officeDocument/2006/relationships/tags" Target="../tags/tag268.xml"/><Relationship Id="rId10" Type="http://schemas.openxmlformats.org/officeDocument/2006/relationships/slideLayout" Target="../slideLayouts/slideLayout1572.xml"/><Relationship Id="rId4" Type="http://schemas.openxmlformats.org/officeDocument/2006/relationships/slideLayout" Target="../slideLayouts/slideLayout1566.xml"/><Relationship Id="rId9" Type="http://schemas.openxmlformats.org/officeDocument/2006/relationships/slideLayout" Target="../slideLayouts/slideLayout1571.xml"/><Relationship Id="rId14" Type="http://schemas.openxmlformats.org/officeDocument/2006/relationships/vmlDrawing" Target="../drawings/vmlDrawing266.vml"/></Relationships>
</file>

<file path=ppt/slideMasters/_rels/slideMaster22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82.xml"/><Relationship Id="rId3" Type="http://schemas.openxmlformats.org/officeDocument/2006/relationships/slideLayout" Target="../slideLayouts/slideLayout1577.xml"/><Relationship Id="rId7" Type="http://schemas.openxmlformats.org/officeDocument/2006/relationships/slideLayout" Target="../slideLayouts/slideLayout1581.xml"/><Relationship Id="rId2" Type="http://schemas.openxmlformats.org/officeDocument/2006/relationships/slideLayout" Target="../slideLayouts/slideLayout1576.xml"/><Relationship Id="rId1" Type="http://schemas.openxmlformats.org/officeDocument/2006/relationships/slideLayout" Target="../slideLayouts/slideLayout1575.xml"/><Relationship Id="rId6" Type="http://schemas.openxmlformats.org/officeDocument/2006/relationships/slideLayout" Target="../slideLayouts/slideLayout1580.xml"/><Relationship Id="rId11" Type="http://schemas.openxmlformats.org/officeDocument/2006/relationships/theme" Target="../theme/theme223.xml"/><Relationship Id="rId5" Type="http://schemas.openxmlformats.org/officeDocument/2006/relationships/slideLayout" Target="../slideLayouts/slideLayout1579.xml"/><Relationship Id="rId10" Type="http://schemas.openxmlformats.org/officeDocument/2006/relationships/slideLayout" Target="../slideLayouts/slideLayout1584.xml"/><Relationship Id="rId4" Type="http://schemas.openxmlformats.org/officeDocument/2006/relationships/slideLayout" Target="../slideLayouts/slideLayout1578.xml"/><Relationship Id="rId9" Type="http://schemas.openxmlformats.org/officeDocument/2006/relationships/slideLayout" Target="../slideLayouts/slideLayout1583.xml"/></Relationships>
</file>

<file path=ppt/slideMasters/_rels/slideMaster22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92.xml"/><Relationship Id="rId13" Type="http://schemas.openxmlformats.org/officeDocument/2006/relationships/slideLayout" Target="../slideLayouts/slideLayout1597.xml"/><Relationship Id="rId18" Type="http://schemas.openxmlformats.org/officeDocument/2006/relationships/oleObject" Target="../embeddings/oleObject270.bin"/><Relationship Id="rId3" Type="http://schemas.openxmlformats.org/officeDocument/2006/relationships/slideLayout" Target="../slideLayouts/slideLayout1587.xml"/><Relationship Id="rId7" Type="http://schemas.openxmlformats.org/officeDocument/2006/relationships/slideLayout" Target="../slideLayouts/slideLayout1591.xml"/><Relationship Id="rId12" Type="http://schemas.openxmlformats.org/officeDocument/2006/relationships/slideLayout" Target="../slideLayouts/slideLayout1596.xml"/><Relationship Id="rId17" Type="http://schemas.openxmlformats.org/officeDocument/2006/relationships/tags" Target="../tags/tag273.xml"/><Relationship Id="rId2" Type="http://schemas.openxmlformats.org/officeDocument/2006/relationships/slideLayout" Target="../slideLayouts/slideLayout1586.xml"/><Relationship Id="rId16" Type="http://schemas.openxmlformats.org/officeDocument/2006/relationships/vmlDrawing" Target="../drawings/vmlDrawing270.vml"/><Relationship Id="rId1" Type="http://schemas.openxmlformats.org/officeDocument/2006/relationships/slideLayout" Target="../slideLayouts/slideLayout1585.xml"/><Relationship Id="rId6" Type="http://schemas.openxmlformats.org/officeDocument/2006/relationships/slideLayout" Target="../slideLayouts/slideLayout1590.xml"/><Relationship Id="rId11" Type="http://schemas.openxmlformats.org/officeDocument/2006/relationships/slideLayout" Target="../slideLayouts/slideLayout1595.xml"/><Relationship Id="rId5" Type="http://schemas.openxmlformats.org/officeDocument/2006/relationships/slideLayout" Target="../slideLayouts/slideLayout1589.xml"/><Relationship Id="rId15" Type="http://schemas.openxmlformats.org/officeDocument/2006/relationships/theme" Target="../theme/theme224.xml"/><Relationship Id="rId10" Type="http://schemas.openxmlformats.org/officeDocument/2006/relationships/slideLayout" Target="../slideLayouts/slideLayout1594.xml"/><Relationship Id="rId4" Type="http://schemas.openxmlformats.org/officeDocument/2006/relationships/slideLayout" Target="../slideLayouts/slideLayout1588.xml"/><Relationship Id="rId9" Type="http://schemas.openxmlformats.org/officeDocument/2006/relationships/slideLayout" Target="../slideLayouts/slideLayout1593.xml"/><Relationship Id="rId14" Type="http://schemas.openxmlformats.org/officeDocument/2006/relationships/slideLayout" Target="../slideLayouts/slideLayout1598.xml"/></Relationships>
</file>

<file path=ppt/slideMasters/_rels/slideMaster22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06.xml"/><Relationship Id="rId3" Type="http://schemas.openxmlformats.org/officeDocument/2006/relationships/slideLayout" Target="../slideLayouts/slideLayout1601.xml"/><Relationship Id="rId7" Type="http://schemas.openxmlformats.org/officeDocument/2006/relationships/slideLayout" Target="../slideLayouts/slideLayout1605.xml"/><Relationship Id="rId2" Type="http://schemas.openxmlformats.org/officeDocument/2006/relationships/slideLayout" Target="../slideLayouts/slideLayout1600.xml"/><Relationship Id="rId1" Type="http://schemas.openxmlformats.org/officeDocument/2006/relationships/slideLayout" Target="../slideLayouts/slideLayout1599.xml"/><Relationship Id="rId6" Type="http://schemas.openxmlformats.org/officeDocument/2006/relationships/slideLayout" Target="../slideLayouts/slideLayout1604.xml"/><Relationship Id="rId11" Type="http://schemas.openxmlformats.org/officeDocument/2006/relationships/theme" Target="../theme/theme225.xml"/><Relationship Id="rId5" Type="http://schemas.openxmlformats.org/officeDocument/2006/relationships/slideLayout" Target="../slideLayouts/slideLayout1603.xml"/><Relationship Id="rId10" Type="http://schemas.openxmlformats.org/officeDocument/2006/relationships/slideLayout" Target="../slideLayouts/slideLayout1608.xml"/><Relationship Id="rId4" Type="http://schemas.openxmlformats.org/officeDocument/2006/relationships/slideLayout" Target="../slideLayouts/slideLayout1602.xml"/><Relationship Id="rId9" Type="http://schemas.openxmlformats.org/officeDocument/2006/relationships/slideLayout" Target="../slideLayouts/slideLayout1607.xml"/></Relationships>
</file>

<file path=ppt/slideMasters/_rels/slideMaster22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16.xml"/><Relationship Id="rId13" Type="http://schemas.openxmlformats.org/officeDocument/2006/relationships/slideLayout" Target="../slideLayouts/slideLayout1621.xml"/><Relationship Id="rId18" Type="http://schemas.openxmlformats.org/officeDocument/2006/relationships/oleObject" Target="../embeddings/oleObject275.bin"/><Relationship Id="rId3" Type="http://schemas.openxmlformats.org/officeDocument/2006/relationships/slideLayout" Target="../slideLayouts/slideLayout1611.xml"/><Relationship Id="rId7" Type="http://schemas.openxmlformats.org/officeDocument/2006/relationships/slideLayout" Target="../slideLayouts/slideLayout1615.xml"/><Relationship Id="rId12" Type="http://schemas.openxmlformats.org/officeDocument/2006/relationships/slideLayout" Target="../slideLayouts/slideLayout1620.xml"/><Relationship Id="rId17" Type="http://schemas.openxmlformats.org/officeDocument/2006/relationships/tags" Target="../tags/tag278.xml"/><Relationship Id="rId2" Type="http://schemas.openxmlformats.org/officeDocument/2006/relationships/slideLayout" Target="../slideLayouts/slideLayout1610.xml"/><Relationship Id="rId16" Type="http://schemas.openxmlformats.org/officeDocument/2006/relationships/vmlDrawing" Target="../drawings/vmlDrawing275.vml"/><Relationship Id="rId1" Type="http://schemas.openxmlformats.org/officeDocument/2006/relationships/slideLayout" Target="../slideLayouts/slideLayout1609.xml"/><Relationship Id="rId6" Type="http://schemas.openxmlformats.org/officeDocument/2006/relationships/slideLayout" Target="../slideLayouts/slideLayout1614.xml"/><Relationship Id="rId11" Type="http://schemas.openxmlformats.org/officeDocument/2006/relationships/slideLayout" Target="../slideLayouts/slideLayout1619.xml"/><Relationship Id="rId5" Type="http://schemas.openxmlformats.org/officeDocument/2006/relationships/slideLayout" Target="../slideLayouts/slideLayout1613.xml"/><Relationship Id="rId15" Type="http://schemas.openxmlformats.org/officeDocument/2006/relationships/theme" Target="../theme/theme226.xml"/><Relationship Id="rId10" Type="http://schemas.openxmlformats.org/officeDocument/2006/relationships/slideLayout" Target="../slideLayouts/slideLayout1618.xml"/><Relationship Id="rId4" Type="http://schemas.openxmlformats.org/officeDocument/2006/relationships/slideLayout" Target="../slideLayouts/slideLayout1612.xml"/><Relationship Id="rId9" Type="http://schemas.openxmlformats.org/officeDocument/2006/relationships/slideLayout" Target="../slideLayouts/slideLayout1617.xml"/><Relationship Id="rId14" Type="http://schemas.openxmlformats.org/officeDocument/2006/relationships/slideLayout" Target="../slideLayouts/slideLayout1622.xml"/></Relationships>
</file>

<file path=ppt/slideMasters/_rels/slideMaster22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30.xml"/><Relationship Id="rId3" Type="http://schemas.openxmlformats.org/officeDocument/2006/relationships/slideLayout" Target="../slideLayouts/slideLayout1625.xml"/><Relationship Id="rId7" Type="http://schemas.openxmlformats.org/officeDocument/2006/relationships/slideLayout" Target="../slideLayouts/slideLayout1629.xml"/><Relationship Id="rId2" Type="http://schemas.openxmlformats.org/officeDocument/2006/relationships/slideLayout" Target="../slideLayouts/slideLayout1624.xml"/><Relationship Id="rId1" Type="http://schemas.openxmlformats.org/officeDocument/2006/relationships/slideLayout" Target="../slideLayouts/slideLayout1623.xml"/><Relationship Id="rId6" Type="http://schemas.openxmlformats.org/officeDocument/2006/relationships/slideLayout" Target="../slideLayouts/slideLayout1628.xml"/><Relationship Id="rId11" Type="http://schemas.openxmlformats.org/officeDocument/2006/relationships/theme" Target="../theme/theme227.xml"/><Relationship Id="rId5" Type="http://schemas.openxmlformats.org/officeDocument/2006/relationships/slideLayout" Target="../slideLayouts/slideLayout1627.xml"/><Relationship Id="rId10" Type="http://schemas.openxmlformats.org/officeDocument/2006/relationships/slideLayout" Target="../slideLayouts/slideLayout1632.xml"/><Relationship Id="rId4" Type="http://schemas.openxmlformats.org/officeDocument/2006/relationships/slideLayout" Target="../slideLayouts/slideLayout1626.xml"/><Relationship Id="rId9" Type="http://schemas.openxmlformats.org/officeDocument/2006/relationships/slideLayout" Target="../slideLayouts/slideLayout1631.xml"/></Relationships>
</file>

<file path=ppt/slideMasters/_rels/slideMaster22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40.xml"/><Relationship Id="rId13" Type="http://schemas.openxmlformats.org/officeDocument/2006/relationships/slideLayout" Target="../slideLayouts/slideLayout1645.xml"/><Relationship Id="rId18" Type="http://schemas.openxmlformats.org/officeDocument/2006/relationships/oleObject" Target="../embeddings/oleObject280.bin"/><Relationship Id="rId3" Type="http://schemas.openxmlformats.org/officeDocument/2006/relationships/slideLayout" Target="../slideLayouts/slideLayout1635.xml"/><Relationship Id="rId7" Type="http://schemas.openxmlformats.org/officeDocument/2006/relationships/slideLayout" Target="../slideLayouts/slideLayout1639.xml"/><Relationship Id="rId12" Type="http://schemas.openxmlformats.org/officeDocument/2006/relationships/slideLayout" Target="../slideLayouts/slideLayout1644.xml"/><Relationship Id="rId17" Type="http://schemas.openxmlformats.org/officeDocument/2006/relationships/tags" Target="../tags/tag283.xml"/><Relationship Id="rId2" Type="http://schemas.openxmlformats.org/officeDocument/2006/relationships/slideLayout" Target="../slideLayouts/slideLayout1634.xml"/><Relationship Id="rId16" Type="http://schemas.openxmlformats.org/officeDocument/2006/relationships/vmlDrawing" Target="../drawings/vmlDrawing280.vml"/><Relationship Id="rId1" Type="http://schemas.openxmlformats.org/officeDocument/2006/relationships/slideLayout" Target="../slideLayouts/slideLayout1633.xml"/><Relationship Id="rId6" Type="http://schemas.openxmlformats.org/officeDocument/2006/relationships/slideLayout" Target="../slideLayouts/slideLayout1638.xml"/><Relationship Id="rId11" Type="http://schemas.openxmlformats.org/officeDocument/2006/relationships/slideLayout" Target="../slideLayouts/slideLayout1643.xml"/><Relationship Id="rId5" Type="http://schemas.openxmlformats.org/officeDocument/2006/relationships/slideLayout" Target="../slideLayouts/slideLayout1637.xml"/><Relationship Id="rId15" Type="http://schemas.openxmlformats.org/officeDocument/2006/relationships/theme" Target="../theme/theme228.xml"/><Relationship Id="rId10" Type="http://schemas.openxmlformats.org/officeDocument/2006/relationships/slideLayout" Target="../slideLayouts/slideLayout1642.xml"/><Relationship Id="rId4" Type="http://schemas.openxmlformats.org/officeDocument/2006/relationships/slideLayout" Target="../slideLayouts/slideLayout1636.xml"/><Relationship Id="rId9" Type="http://schemas.openxmlformats.org/officeDocument/2006/relationships/slideLayout" Target="../slideLayouts/slideLayout1641.xml"/><Relationship Id="rId14" Type="http://schemas.openxmlformats.org/officeDocument/2006/relationships/slideLayout" Target="../slideLayouts/slideLayout1646.xml"/></Relationships>
</file>

<file path=ppt/slideMasters/_rels/slideMaster22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54.xml"/><Relationship Id="rId13" Type="http://schemas.openxmlformats.org/officeDocument/2006/relationships/tags" Target="../tags/tag288.xml"/><Relationship Id="rId3" Type="http://schemas.openxmlformats.org/officeDocument/2006/relationships/slideLayout" Target="../slideLayouts/slideLayout1649.xml"/><Relationship Id="rId7" Type="http://schemas.openxmlformats.org/officeDocument/2006/relationships/slideLayout" Target="../slideLayouts/slideLayout1653.xml"/><Relationship Id="rId12" Type="http://schemas.openxmlformats.org/officeDocument/2006/relationships/vmlDrawing" Target="../drawings/vmlDrawing285.vml"/><Relationship Id="rId2" Type="http://schemas.openxmlformats.org/officeDocument/2006/relationships/slideLayout" Target="../slideLayouts/slideLayout1648.xml"/><Relationship Id="rId1" Type="http://schemas.openxmlformats.org/officeDocument/2006/relationships/slideLayout" Target="../slideLayouts/slideLayout1647.xml"/><Relationship Id="rId6" Type="http://schemas.openxmlformats.org/officeDocument/2006/relationships/slideLayout" Target="../slideLayouts/slideLayout1652.xml"/><Relationship Id="rId11" Type="http://schemas.openxmlformats.org/officeDocument/2006/relationships/theme" Target="../theme/theme229.xml"/><Relationship Id="rId5" Type="http://schemas.openxmlformats.org/officeDocument/2006/relationships/slideLayout" Target="../slideLayouts/slideLayout1651.xml"/><Relationship Id="rId10" Type="http://schemas.openxmlformats.org/officeDocument/2006/relationships/slideLayout" Target="../slideLayouts/slideLayout1656.xml"/><Relationship Id="rId4" Type="http://schemas.openxmlformats.org/officeDocument/2006/relationships/slideLayout" Target="../slideLayouts/slideLayout1650.xml"/><Relationship Id="rId9" Type="http://schemas.openxmlformats.org/officeDocument/2006/relationships/slideLayout" Target="../slideLayouts/slideLayout1655.xml"/><Relationship Id="rId14" Type="http://schemas.openxmlformats.org/officeDocument/2006/relationships/oleObject" Target="../embeddings/oleObject285.bin"/></Relationships>
</file>

<file path=ppt/slideMasters/_rels/slideMaster2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7.xml"/><Relationship Id="rId13" Type="http://schemas.openxmlformats.org/officeDocument/2006/relationships/vmlDrawing" Target="../drawings/vmlDrawing32.vml"/><Relationship Id="rId3" Type="http://schemas.openxmlformats.org/officeDocument/2006/relationships/slideLayout" Target="../slideLayouts/slideLayout152.xml"/><Relationship Id="rId7" Type="http://schemas.openxmlformats.org/officeDocument/2006/relationships/slideLayout" Target="../slideLayouts/slideLayout156.xml"/><Relationship Id="rId12" Type="http://schemas.openxmlformats.org/officeDocument/2006/relationships/theme" Target="../theme/theme23.xml"/><Relationship Id="rId2" Type="http://schemas.openxmlformats.org/officeDocument/2006/relationships/slideLayout" Target="../slideLayouts/slideLayout151.xml"/><Relationship Id="rId1" Type="http://schemas.openxmlformats.org/officeDocument/2006/relationships/slideLayout" Target="../slideLayouts/slideLayout150.xml"/><Relationship Id="rId6" Type="http://schemas.openxmlformats.org/officeDocument/2006/relationships/slideLayout" Target="../slideLayouts/slideLayout155.xml"/><Relationship Id="rId11" Type="http://schemas.openxmlformats.org/officeDocument/2006/relationships/slideLayout" Target="../slideLayouts/slideLayout160.xml"/><Relationship Id="rId5" Type="http://schemas.openxmlformats.org/officeDocument/2006/relationships/slideLayout" Target="../slideLayouts/slideLayout154.xml"/><Relationship Id="rId15" Type="http://schemas.openxmlformats.org/officeDocument/2006/relationships/oleObject" Target="../embeddings/oleObject32.bin"/><Relationship Id="rId10" Type="http://schemas.openxmlformats.org/officeDocument/2006/relationships/slideLayout" Target="../slideLayouts/slideLayout159.xml"/><Relationship Id="rId4" Type="http://schemas.openxmlformats.org/officeDocument/2006/relationships/slideLayout" Target="../slideLayouts/slideLayout153.xml"/><Relationship Id="rId9" Type="http://schemas.openxmlformats.org/officeDocument/2006/relationships/slideLayout" Target="../slideLayouts/slideLayout158.xml"/><Relationship Id="rId14" Type="http://schemas.openxmlformats.org/officeDocument/2006/relationships/tags" Target="../tags/tag33.xml"/></Relationships>
</file>

<file path=ppt/slideMasters/_rels/slideMaster23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64.xml"/><Relationship Id="rId13" Type="http://schemas.openxmlformats.org/officeDocument/2006/relationships/tags" Target="../tags/tag293.xml"/><Relationship Id="rId3" Type="http://schemas.openxmlformats.org/officeDocument/2006/relationships/slideLayout" Target="../slideLayouts/slideLayout1659.xml"/><Relationship Id="rId7" Type="http://schemas.openxmlformats.org/officeDocument/2006/relationships/slideLayout" Target="../slideLayouts/slideLayout1663.xml"/><Relationship Id="rId12" Type="http://schemas.openxmlformats.org/officeDocument/2006/relationships/vmlDrawing" Target="../drawings/vmlDrawing289.vml"/><Relationship Id="rId2" Type="http://schemas.openxmlformats.org/officeDocument/2006/relationships/slideLayout" Target="../slideLayouts/slideLayout1658.xml"/><Relationship Id="rId1" Type="http://schemas.openxmlformats.org/officeDocument/2006/relationships/slideLayout" Target="../slideLayouts/slideLayout1657.xml"/><Relationship Id="rId6" Type="http://schemas.openxmlformats.org/officeDocument/2006/relationships/slideLayout" Target="../slideLayouts/slideLayout1662.xml"/><Relationship Id="rId11" Type="http://schemas.openxmlformats.org/officeDocument/2006/relationships/theme" Target="../theme/theme230.xml"/><Relationship Id="rId5" Type="http://schemas.openxmlformats.org/officeDocument/2006/relationships/slideLayout" Target="../slideLayouts/slideLayout1661.xml"/><Relationship Id="rId15" Type="http://schemas.openxmlformats.org/officeDocument/2006/relationships/image" Target="../media/image3.emf"/><Relationship Id="rId10" Type="http://schemas.openxmlformats.org/officeDocument/2006/relationships/slideLayout" Target="../slideLayouts/slideLayout1666.xml"/><Relationship Id="rId4" Type="http://schemas.openxmlformats.org/officeDocument/2006/relationships/slideLayout" Target="../slideLayouts/slideLayout1660.xml"/><Relationship Id="rId9" Type="http://schemas.openxmlformats.org/officeDocument/2006/relationships/slideLayout" Target="../slideLayouts/slideLayout1665.xml"/><Relationship Id="rId14" Type="http://schemas.openxmlformats.org/officeDocument/2006/relationships/oleObject" Target="../embeddings/oleObject289.bin"/></Relationships>
</file>

<file path=ppt/slideMasters/_rels/slideMaster23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74.xml"/><Relationship Id="rId3" Type="http://schemas.openxmlformats.org/officeDocument/2006/relationships/slideLayout" Target="../slideLayouts/slideLayout1669.xml"/><Relationship Id="rId7" Type="http://schemas.openxmlformats.org/officeDocument/2006/relationships/slideLayout" Target="../slideLayouts/slideLayout1673.xml"/><Relationship Id="rId2" Type="http://schemas.openxmlformats.org/officeDocument/2006/relationships/slideLayout" Target="../slideLayouts/slideLayout1668.xml"/><Relationship Id="rId1" Type="http://schemas.openxmlformats.org/officeDocument/2006/relationships/slideLayout" Target="../slideLayouts/slideLayout1667.xml"/><Relationship Id="rId6" Type="http://schemas.openxmlformats.org/officeDocument/2006/relationships/slideLayout" Target="../slideLayouts/slideLayout1672.xml"/><Relationship Id="rId5" Type="http://schemas.openxmlformats.org/officeDocument/2006/relationships/slideLayout" Target="../slideLayouts/slideLayout1671.xml"/><Relationship Id="rId4" Type="http://schemas.openxmlformats.org/officeDocument/2006/relationships/slideLayout" Target="../slideLayouts/slideLayout1670.xml"/><Relationship Id="rId9" Type="http://schemas.openxmlformats.org/officeDocument/2006/relationships/theme" Target="../theme/theme231.xml"/></Relationships>
</file>

<file path=ppt/slideMasters/_rels/slideMaster23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1677.xml"/><Relationship Id="rId7" Type="http://schemas.openxmlformats.org/officeDocument/2006/relationships/oleObject" Target="../embeddings/oleObject293.bin"/><Relationship Id="rId2" Type="http://schemas.openxmlformats.org/officeDocument/2006/relationships/slideLayout" Target="../slideLayouts/slideLayout1676.xml"/><Relationship Id="rId1" Type="http://schemas.openxmlformats.org/officeDocument/2006/relationships/slideLayout" Target="../slideLayouts/slideLayout1675.xml"/><Relationship Id="rId6" Type="http://schemas.openxmlformats.org/officeDocument/2006/relationships/tags" Target="../tags/tag298.xml"/><Relationship Id="rId5" Type="http://schemas.openxmlformats.org/officeDocument/2006/relationships/vmlDrawing" Target="../drawings/vmlDrawing293.vml"/><Relationship Id="rId4" Type="http://schemas.openxmlformats.org/officeDocument/2006/relationships/theme" Target="../theme/theme232.xml"/></Relationships>
</file>

<file path=ppt/slideMasters/_rels/slideMaster233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294.vml"/><Relationship Id="rId3" Type="http://schemas.openxmlformats.org/officeDocument/2006/relationships/slideLayout" Target="../slideLayouts/slideLayout1680.xml"/><Relationship Id="rId7" Type="http://schemas.openxmlformats.org/officeDocument/2006/relationships/theme" Target="../theme/theme233.xml"/><Relationship Id="rId2" Type="http://schemas.openxmlformats.org/officeDocument/2006/relationships/slideLayout" Target="../slideLayouts/slideLayout1679.xml"/><Relationship Id="rId1" Type="http://schemas.openxmlformats.org/officeDocument/2006/relationships/slideLayout" Target="../slideLayouts/slideLayout1678.xml"/><Relationship Id="rId6" Type="http://schemas.openxmlformats.org/officeDocument/2006/relationships/slideLayout" Target="../slideLayouts/slideLayout1683.xml"/><Relationship Id="rId11" Type="http://schemas.openxmlformats.org/officeDocument/2006/relationships/image" Target="../media/image9.emf"/><Relationship Id="rId5" Type="http://schemas.openxmlformats.org/officeDocument/2006/relationships/slideLayout" Target="../slideLayouts/slideLayout1682.xml"/><Relationship Id="rId10" Type="http://schemas.openxmlformats.org/officeDocument/2006/relationships/oleObject" Target="../embeddings/oleObject294.bin"/><Relationship Id="rId4" Type="http://schemas.openxmlformats.org/officeDocument/2006/relationships/slideLayout" Target="../slideLayouts/slideLayout1681.xml"/><Relationship Id="rId9" Type="http://schemas.openxmlformats.org/officeDocument/2006/relationships/tags" Target="../tags/tag299.xml"/></Relationships>
</file>

<file path=ppt/slideMasters/_rels/slideMaster23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91.xml"/><Relationship Id="rId13" Type="http://schemas.openxmlformats.org/officeDocument/2006/relationships/slideLayout" Target="../slideLayouts/slideLayout1696.xml"/><Relationship Id="rId18" Type="http://schemas.openxmlformats.org/officeDocument/2006/relationships/tags" Target="../tags/tag300.xml"/><Relationship Id="rId3" Type="http://schemas.openxmlformats.org/officeDocument/2006/relationships/slideLayout" Target="../slideLayouts/slideLayout1686.xml"/><Relationship Id="rId7" Type="http://schemas.openxmlformats.org/officeDocument/2006/relationships/slideLayout" Target="../slideLayouts/slideLayout1690.xml"/><Relationship Id="rId12" Type="http://schemas.openxmlformats.org/officeDocument/2006/relationships/slideLayout" Target="../slideLayouts/slideLayout1695.xml"/><Relationship Id="rId17" Type="http://schemas.openxmlformats.org/officeDocument/2006/relationships/vmlDrawing" Target="../drawings/vmlDrawing295.vml"/><Relationship Id="rId2" Type="http://schemas.openxmlformats.org/officeDocument/2006/relationships/slideLayout" Target="../slideLayouts/slideLayout1685.xml"/><Relationship Id="rId16" Type="http://schemas.openxmlformats.org/officeDocument/2006/relationships/theme" Target="../theme/theme234.xml"/><Relationship Id="rId20" Type="http://schemas.openxmlformats.org/officeDocument/2006/relationships/image" Target="../media/image10.emf"/><Relationship Id="rId1" Type="http://schemas.openxmlformats.org/officeDocument/2006/relationships/slideLayout" Target="../slideLayouts/slideLayout1684.xml"/><Relationship Id="rId6" Type="http://schemas.openxmlformats.org/officeDocument/2006/relationships/slideLayout" Target="../slideLayouts/slideLayout1689.xml"/><Relationship Id="rId11" Type="http://schemas.openxmlformats.org/officeDocument/2006/relationships/slideLayout" Target="../slideLayouts/slideLayout1694.xml"/><Relationship Id="rId5" Type="http://schemas.openxmlformats.org/officeDocument/2006/relationships/slideLayout" Target="../slideLayouts/slideLayout1688.xml"/><Relationship Id="rId15" Type="http://schemas.openxmlformats.org/officeDocument/2006/relationships/slideLayout" Target="../slideLayouts/slideLayout1698.xml"/><Relationship Id="rId10" Type="http://schemas.openxmlformats.org/officeDocument/2006/relationships/slideLayout" Target="../slideLayouts/slideLayout1693.xml"/><Relationship Id="rId19" Type="http://schemas.openxmlformats.org/officeDocument/2006/relationships/oleObject" Target="../embeddings/oleObject295.bin"/><Relationship Id="rId4" Type="http://schemas.openxmlformats.org/officeDocument/2006/relationships/slideLayout" Target="../slideLayouts/slideLayout1687.xml"/><Relationship Id="rId9" Type="http://schemas.openxmlformats.org/officeDocument/2006/relationships/slideLayout" Target="../slideLayouts/slideLayout1692.xml"/><Relationship Id="rId14" Type="http://schemas.openxmlformats.org/officeDocument/2006/relationships/slideLayout" Target="../slideLayouts/slideLayout1697.xml"/></Relationships>
</file>

<file path=ppt/slideMasters/_rels/slideMaster23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06.xml"/><Relationship Id="rId13" Type="http://schemas.openxmlformats.org/officeDocument/2006/relationships/slideLayout" Target="../slideLayouts/slideLayout1711.xml"/><Relationship Id="rId18" Type="http://schemas.openxmlformats.org/officeDocument/2006/relationships/oleObject" Target="../embeddings/oleObject302.bin"/><Relationship Id="rId3" Type="http://schemas.openxmlformats.org/officeDocument/2006/relationships/slideLayout" Target="../slideLayouts/slideLayout1701.xml"/><Relationship Id="rId7" Type="http://schemas.openxmlformats.org/officeDocument/2006/relationships/slideLayout" Target="../slideLayouts/slideLayout1705.xml"/><Relationship Id="rId12" Type="http://schemas.openxmlformats.org/officeDocument/2006/relationships/slideLayout" Target="../slideLayouts/slideLayout1710.xml"/><Relationship Id="rId17" Type="http://schemas.openxmlformats.org/officeDocument/2006/relationships/tags" Target="../tags/tag307.xml"/><Relationship Id="rId2" Type="http://schemas.openxmlformats.org/officeDocument/2006/relationships/slideLayout" Target="../slideLayouts/slideLayout1700.xml"/><Relationship Id="rId16" Type="http://schemas.openxmlformats.org/officeDocument/2006/relationships/vmlDrawing" Target="../drawings/vmlDrawing302.vml"/><Relationship Id="rId1" Type="http://schemas.openxmlformats.org/officeDocument/2006/relationships/slideLayout" Target="../slideLayouts/slideLayout1699.xml"/><Relationship Id="rId6" Type="http://schemas.openxmlformats.org/officeDocument/2006/relationships/slideLayout" Target="../slideLayouts/slideLayout1704.xml"/><Relationship Id="rId11" Type="http://schemas.openxmlformats.org/officeDocument/2006/relationships/slideLayout" Target="../slideLayouts/slideLayout1709.xml"/><Relationship Id="rId5" Type="http://schemas.openxmlformats.org/officeDocument/2006/relationships/slideLayout" Target="../slideLayouts/slideLayout1703.xml"/><Relationship Id="rId15" Type="http://schemas.openxmlformats.org/officeDocument/2006/relationships/theme" Target="../theme/theme235.xml"/><Relationship Id="rId10" Type="http://schemas.openxmlformats.org/officeDocument/2006/relationships/slideLayout" Target="../slideLayouts/slideLayout1708.xml"/><Relationship Id="rId19" Type="http://schemas.openxmlformats.org/officeDocument/2006/relationships/image" Target="../media/image10.emf"/><Relationship Id="rId4" Type="http://schemas.openxmlformats.org/officeDocument/2006/relationships/slideLayout" Target="../slideLayouts/slideLayout1702.xml"/><Relationship Id="rId9" Type="http://schemas.openxmlformats.org/officeDocument/2006/relationships/slideLayout" Target="../slideLayouts/slideLayout1707.xml"/><Relationship Id="rId14" Type="http://schemas.openxmlformats.org/officeDocument/2006/relationships/slideLayout" Target="../slideLayouts/slideLayout1712.xml"/></Relationships>
</file>

<file path=ppt/slideMasters/_rels/slideMaster236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308.vml"/><Relationship Id="rId3" Type="http://schemas.openxmlformats.org/officeDocument/2006/relationships/slideLayout" Target="../slideLayouts/slideLayout1715.xml"/><Relationship Id="rId7" Type="http://schemas.openxmlformats.org/officeDocument/2006/relationships/theme" Target="../theme/theme236.xml"/><Relationship Id="rId2" Type="http://schemas.openxmlformats.org/officeDocument/2006/relationships/slideLayout" Target="../slideLayouts/slideLayout1714.xml"/><Relationship Id="rId1" Type="http://schemas.openxmlformats.org/officeDocument/2006/relationships/slideLayout" Target="../slideLayouts/slideLayout1713.xml"/><Relationship Id="rId6" Type="http://schemas.openxmlformats.org/officeDocument/2006/relationships/slideLayout" Target="../slideLayouts/slideLayout1718.xml"/><Relationship Id="rId11" Type="http://schemas.openxmlformats.org/officeDocument/2006/relationships/image" Target="../media/image9.emf"/><Relationship Id="rId5" Type="http://schemas.openxmlformats.org/officeDocument/2006/relationships/slideLayout" Target="../slideLayouts/slideLayout1717.xml"/><Relationship Id="rId10" Type="http://schemas.openxmlformats.org/officeDocument/2006/relationships/oleObject" Target="../embeddings/oleObject308.bin"/><Relationship Id="rId4" Type="http://schemas.openxmlformats.org/officeDocument/2006/relationships/slideLayout" Target="../slideLayouts/slideLayout1716.xml"/><Relationship Id="rId9" Type="http://schemas.openxmlformats.org/officeDocument/2006/relationships/tags" Target="../tags/tag313.xml"/></Relationships>
</file>

<file path=ppt/slideMasters/_rels/slideMaster23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26.xml"/><Relationship Id="rId13" Type="http://schemas.openxmlformats.org/officeDocument/2006/relationships/oleObject" Target="../embeddings/oleObject309.bin"/><Relationship Id="rId3" Type="http://schemas.openxmlformats.org/officeDocument/2006/relationships/slideLayout" Target="../slideLayouts/slideLayout1721.xml"/><Relationship Id="rId7" Type="http://schemas.openxmlformats.org/officeDocument/2006/relationships/slideLayout" Target="../slideLayouts/slideLayout1725.xml"/><Relationship Id="rId12" Type="http://schemas.openxmlformats.org/officeDocument/2006/relationships/tags" Target="../tags/tag314.xml"/><Relationship Id="rId2" Type="http://schemas.openxmlformats.org/officeDocument/2006/relationships/slideLayout" Target="../slideLayouts/slideLayout1720.xml"/><Relationship Id="rId1" Type="http://schemas.openxmlformats.org/officeDocument/2006/relationships/slideLayout" Target="../slideLayouts/slideLayout1719.xml"/><Relationship Id="rId6" Type="http://schemas.openxmlformats.org/officeDocument/2006/relationships/slideLayout" Target="../slideLayouts/slideLayout1724.xml"/><Relationship Id="rId11" Type="http://schemas.openxmlformats.org/officeDocument/2006/relationships/vmlDrawing" Target="../drawings/vmlDrawing309.vml"/><Relationship Id="rId5" Type="http://schemas.openxmlformats.org/officeDocument/2006/relationships/slideLayout" Target="../slideLayouts/slideLayout1723.xml"/><Relationship Id="rId10" Type="http://schemas.openxmlformats.org/officeDocument/2006/relationships/theme" Target="../theme/theme237.xml"/><Relationship Id="rId4" Type="http://schemas.openxmlformats.org/officeDocument/2006/relationships/slideLayout" Target="../slideLayouts/slideLayout1722.xml"/><Relationship Id="rId9" Type="http://schemas.openxmlformats.org/officeDocument/2006/relationships/slideLayout" Target="../slideLayouts/slideLayout1727.xml"/><Relationship Id="rId14" Type="http://schemas.openxmlformats.org/officeDocument/2006/relationships/image" Target="../media/image1.emf"/></Relationships>
</file>

<file path=ppt/slideMasters/_rels/slideMaster23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35.xml"/><Relationship Id="rId13" Type="http://schemas.openxmlformats.org/officeDocument/2006/relationships/slideLayout" Target="../slideLayouts/slideLayout1740.xml"/><Relationship Id="rId18" Type="http://schemas.openxmlformats.org/officeDocument/2006/relationships/oleObject" Target="../embeddings/oleObject310.bin"/><Relationship Id="rId3" Type="http://schemas.openxmlformats.org/officeDocument/2006/relationships/slideLayout" Target="../slideLayouts/slideLayout1730.xml"/><Relationship Id="rId7" Type="http://schemas.openxmlformats.org/officeDocument/2006/relationships/slideLayout" Target="../slideLayouts/slideLayout1734.xml"/><Relationship Id="rId12" Type="http://schemas.openxmlformats.org/officeDocument/2006/relationships/slideLayout" Target="../slideLayouts/slideLayout1739.xml"/><Relationship Id="rId17" Type="http://schemas.openxmlformats.org/officeDocument/2006/relationships/tags" Target="../tags/tag315.xml"/><Relationship Id="rId2" Type="http://schemas.openxmlformats.org/officeDocument/2006/relationships/slideLayout" Target="../slideLayouts/slideLayout1729.xml"/><Relationship Id="rId16" Type="http://schemas.openxmlformats.org/officeDocument/2006/relationships/vmlDrawing" Target="../drawings/vmlDrawing310.vml"/><Relationship Id="rId1" Type="http://schemas.openxmlformats.org/officeDocument/2006/relationships/slideLayout" Target="../slideLayouts/slideLayout1728.xml"/><Relationship Id="rId6" Type="http://schemas.openxmlformats.org/officeDocument/2006/relationships/slideLayout" Target="../slideLayouts/slideLayout1733.xml"/><Relationship Id="rId11" Type="http://schemas.openxmlformats.org/officeDocument/2006/relationships/slideLayout" Target="../slideLayouts/slideLayout1738.xml"/><Relationship Id="rId5" Type="http://schemas.openxmlformats.org/officeDocument/2006/relationships/slideLayout" Target="../slideLayouts/slideLayout1732.xml"/><Relationship Id="rId15" Type="http://schemas.openxmlformats.org/officeDocument/2006/relationships/theme" Target="../theme/theme238.xml"/><Relationship Id="rId10" Type="http://schemas.openxmlformats.org/officeDocument/2006/relationships/slideLayout" Target="../slideLayouts/slideLayout1737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1731.xml"/><Relationship Id="rId9" Type="http://schemas.openxmlformats.org/officeDocument/2006/relationships/slideLayout" Target="../slideLayouts/slideLayout1736.xml"/><Relationship Id="rId14" Type="http://schemas.openxmlformats.org/officeDocument/2006/relationships/slideLayout" Target="../slideLayouts/slideLayout1741.xml"/></Relationships>
</file>

<file path=ppt/slideMasters/_rels/slideMaster23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49.xml"/><Relationship Id="rId13" Type="http://schemas.openxmlformats.org/officeDocument/2006/relationships/tags" Target="../tags/tag329.xml"/><Relationship Id="rId3" Type="http://schemas.openxmlformats.org/officeDocument/2006/relationships/slideLayout" Target="../slideLayouts/slideLayout1744.xml"/><Relationship Id="rId7" Type="http://schemas.openxmlformats.org/officeDocument/2006/relationships/slideLayout" Target="../slideLayouts/slideLayout1748.xml"/><Relationship Id="rId12" Type="http://schemas.openxmlformats.org/officeDocument/2006/relationships/vmlDrawing" Target="../drawings/vmlDrawing324.vml"/><Relationship Id="rId2" Type="http://schemas.openxmlformats.org/officeDocument/2006/relationships/slideLayout" Target="../slideLayouts/slideLayout1743.xml"/><Relationship Id="rId1" Type="http://schemas.openxmlformats.org/officeDocument/2006/relationships/slideLayout" Target="../slideLayouts/slideLayout1742.xml"/><Relationship Id="rId6" Type="http://schemas.openxmlformats.org/officeDocument/2006/relationships/slideLayout" Target="../slideLayouts/slideLayout1747.xml"/><Relationship Id="rId11" Type="http://schemas.openxmlformats.org/officeDocument/2006/relationships/theme" Target="../theme/theme239.xml"/><Relationship Id="rId5" Type="http://schemas.openxmlformats.org/officeDocument/2006/relationships/slideLayout" Target="../slideLayouts/slideLayout1746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751.xml"/><Relationship Id="rId4" Type="http://schemas.openxmlformats.org/officeDocument/2006/relationships/slideLayout" Target="../slideLayouts/slideLayout1745.xml"/><Relationship Id="rId9" Type="http://schemas.openxmlformats.org/officeDocument/2006/relationships/slideLayout" Target="../slideLayouts/slideLayout1750.xml"/><Relationship Id="rId14" Type="http://schemas.openxmlformats.org/officeDocument/2006/relationships/oleObject" Target="../embeddings/oleObject324.bin"/></Relationships>
</file>

<file path=ppt/slideMasters/_rels/slideMaster2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8.xml"/><Relationship Id="rId3" Type="http://schemas.openxmlformats.org/officeDocument/2006/relationships/slideLayout" Target="../slideLayouts/slideLayout163.xml"/><Relationship Id="rId7" Type="http://schemas.openxmlformats.org/officeDocument/2006/relationships/slideLayout" Target="../slideLayouts/slideLayout167.xml"/><Relationship Id="rId2" Type="http://schemas.openxmlformats.org/officeDocument/2006/relationships/slideLayout" Target="../slideLayouts/slideLayout162.xml"/><Relationship Id="rId1" Type="http://schemas.openxmlformats.org/officeDocument/2006/relationships/slideLayout" Target="../slideLayouts/slideLayout161.xml"/><Relationship Id="rId6" Type="http://schemas.openxmlformats.org/officeDocument/2006/relationships/slideLayout" Target="../slideLayouts/slideLayout166.xml"/><Relationship Id="rId5" Type="http://schemas.openxmlformats.org/officeDocument/2006/relationships/slideLayout" Target="../slideLayouts/slideLayout165.xml"/><Relationship Id="rId4" Type="http://schemas.openxmlformats.org/officeDocument/2006/relationships/slideLayout" Target="../slideLayouts/slideLayout164.xml"/><Relationship Id="rId9" Type="http://schemas.openxmlformats.org/officeDocument/2006/relationships/theme" Target="../theme/theme24.xml"/></Relationships>
</file>

<file path=ppt/slideMasters/_rels/slideMaster24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754.xml"/><Relationship Id="rId7" Type="http://schemas.openxmlformats.org/officeDocument/2006/relationships/theme" Target="../theme/theme240.xml"/><Relationship Id="rId2" Type="http://schemas.openxmlformats.org/officeDocument/2006/relationships/slideLayout" Target="../slideLayouts/slideLayout1753.xml"/><Relationship Id="rId1" Type="http://schemas.openxmlformats.org/officeDocument/2006/relationships/slideLayout" Target="../slideLayouts/slideLayout1752.xml"/><Relationship Id="rId6" Type="http://schemas.openxmlformats.org/officeDocument/2006/relationships/slideLayout" Target="../slideLayouts/slideLayout1757.xml"/><Relationship Id="rId5" Type="http://schemas.openxmlformats.org/officeDocument/2006/relationships/slideLayout" Target="../slideLayouts/slideLayout1756.xml"/><Relationship Id="rId4" Type="http://schemas.openxmlformats.org/officeDocument/2006/relationships/slideLayout" Target="../slideLayouts/slideLayout1755.xml"/></Relationships>
</file>

<file path=ppt/slideMasters/_rels/slideMaster24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65.xml"/><Relationship Id="rId13" Type="http://schemas.openxmlformats.org/officeDocument/2006/relationships/slideLayout" Target="../slideLayouts/slideLayout1770.xml"/><Relationship Id="rId18" Type="http://schemas.openxmlformats.org/officeDocument/2006/relationships/tags" Target="../tags/tag332.xml"/><Relationship Id="rId3" Type="http://schemas.openxmlformats.org/officeDocument/2006/relationships/slideLayout" Target="../slideLayouts/slideLayout1760.xml"/><Relationship Id="rId7" Type="http://schemas.openxmlformats.org/officeDocument/2006/relationships/slideLayout" Target="../slideLayouts/slideLayout1764.xml"/><Relationship Id="rId12" Type="http://schemas.openxmlformats.org/officeDocument/2006/relationships/slideLayout" Target="../slideLayouts/slideLayout1769.xml"/><Relationship Id="rId17" Type="http://schemas.openxmlformats.org/officeDocument/2006/relationships/vmlDrawing" Target="../drawings/vmlDrawing327.vml"/><Relationship Id="rId2" Type="http://schemas.openxmlformats.org/officeDocument/2006/relationships/slideLayout" Target="../slideLayouts/slideLayout1759.xml"/><Relationship Id="rId16" Type="http://schemas.openxmlformats.org/officeDocument/2006/relationships/theme" Target="../theme/theme241.xml"/><Relationship Id="rId20" Type="http://schemas.openxmlformats.org/officeDocument/2006/relationships/image" Target="../media/image1.emf"/><Relationship Id="rId1" Type="http://schemas.openxmlformats.org/officeDocument/2006/relationships/slideLayout" Target="../slideLayouts/slideLayout1758.xml"/><Relationship Id="rId6" Type="http://schemas.openxmlformats.org/officeDocument/2006/relationships/slideLayout" Target="../slideLayouts/slideLayout1763.xml"/><Relationship Id="rId11" Type="http://schemas.openxmlformats.org/officeDocument/2006/relationships/slideLayout" Target="../slideLayouts/slideLayout1768.xml"/><Relationship Id="rId5" Type="http://schemas.openxmlformats.org/officeDocument/2006/relationships/slideLayout" Target="../slideLayouts/slideLayout1762.xml"/><Relationship Id="rId15" Type="http://schemas.openxmlformats.org/officeDocument/2006/relationships/slideLayout" Target="../slideLayouts/slideLayout1772.xml"/><Relationship Id="rId10" Type="http://schemas.openxmlformats.org/officeDocument/2006/relationships/slideLayout" Target="../slideLayouts/slideLayout1767.xml"/><Relationship Id="rId19" Type="http://schemas.openxmlformats.org/officeDocument/2006/relationships/oleObject" Target="../embeddings/oleObject327.bin"/><Relationship Id="rId4" Type="http://schemas.openxmlformats.org/officeDocument/2006/relationships/slideLayout" Target="../slideLayouts/slideLayout1761.xml"/><Relationship Id="rId9" Type="http://schemas.openxmlformats.org/officeDocument/2006/relationships/slideLayout" Target="../slideLayouts/slideLayout1766.xml"/><Relationship Id="rId14" Type="http://schemas.openxmlformats.org/officeDocument/2006/relationships/slideLayout" Target="../slideLayouts/slideLayout1771.xml"/></Relationships>
</file>

<file path=ppt/slideMasters/_rels/slideMaster24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775.xml"/><Relationship Id="rId7" Type="http://schemas.openxmlformats.org/officeDocument/2006/relationships/theme" Target="../theme/theme242.xml"/><Relationship Id="rId2" Type="http://schemas.openxmlformats.org/officeDocument/2006/relationships/slideLayout" Target="../slideLayouts/slideLayout1774.xml"/><Relationship Id="rId1" Type="http://schemas.openxmlformats.org/officeDocument/2006/relationships/slideLayout" Target="../slideLayouts/slideLayout1773.xml"/><Relationship Id="rId6" Type="http://schemas.openxmlformats.org/officeDocument/2006/relationships/slideLayout" Target="../slideLayouts/slideLayout1778.xml"/><Relationship Id="rId5" Type="http://schemas.openxmlformats.org/officeDocument/2006/relationships/slideLayout" Target="../slideLayouts/slideLayout1777.xml"/><Relationship Id="rId4" Type="http://schemas.openxmlformats.org/officeDocument/2006/relationships/slideLayout" Target="../slideLayouts/slideLayout1776.xml"/></Relationships>
</file>

<file path=ppt/slideMasters/_rels/slideMaster24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86.xml"/><Relationship Id="rId3" Type="http://schemas.openxmlformats.org/officeDocument/2006/relationships/slideLayout" Target="../slideLayouts/slideLayout1781.xml"/><Relationship Id="rId7" Type="http://schemas.openxmlformats.org/officeDocument/2006/relationships/slideLayout" Target="../slideLayouts/slideLayout1785.xml"/><Relationship Id="rId2" Type="http://schemas.openxmlformats.org/officeDocument/2006/relationships/slideLayout" Target="../slideLayouts/slideLayout1780.xml"/><Relationship Id="rId1" Type="http://schemas.openxmlformats.org/officeDocument/2006/relationships/slideLayout" Target="../slideLayouts/slideLayout1779.xml"/><Relationship Id="rId6" Type="http://schemas.openxmlformats.org/officeDocument/2006/relationships/slideLayout" Target="../slideLayouts/slideLayout1784.xml"/><Relationship Id="rId5" Type="http://schemas.openxmlformats.org/officeDocument/2006/relationships/slideLayout" Target="../slideLayouts/slideLayout1783.xml"/><Relationship Id="rId10" Type="http://schemas.openxmlformats.org/officeDocument/2006/relationships/theme" Target="../theme/theme243.xml"/><Relationship Id="rId4" Type="http://schemas.openxmlformats.org/officeDocument/2006/relationships/slideLayout" Target="../slideLayouts/slideLayout1782.xml"/><Relationship Id="rId9" Type="http://schemas.openxmlformats.org/officeDocument/2006/relationships/slideLayout" Target="../slideLayouts/slideLayout1787.xml"/></Relationships>
</file>

<file path=ppt/slideMasters/_rels/slideMaster24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95.xml"/><Relationship Id="rId3" Type="http://schemas.openxmlformats.org/officeDocument/2006/relationships/slideLayout" Target="../slideLayouts/slideLayout1790.xml"/><Relationship Id="rId7" Type="http://schemas.openxmlformats.org/officeDocument/2006/relationships/slideLayout" Target="../slideLayouts/slideLayout1794.xml"/><Relationship Id="rId2" Type="http://schemas.openxmlformats.org/officeDocument/2006/relationships/slideLayout" Target="../slideLayouts/slideLayout1789.xml"/><Relationship Id="rId1" Type="http://schemas.openxmlformats.org/officeDocument/2006/relationships/slideLayout" Target="../slideLayouts/slideLayout1788.xml"/><Relationship Id="rId6" Type="http://schemas.openxmlformats.org/officeDocument/2006/relationships/slideLayout" Target="../slideLayouts/slideLayout1793.xml"/><Relationship Id="rId5" Type="http://schemas.openxmlformats.org/officeDocument/2006/relationships/slideLayout" Target="../slideLayouts/slideLayout1792.xml"/><Relationship Id="rId10" Type="http://schemas.openxmlformats.org/officeDocument/2006/relationships/theme" Target="../theme/theme244.xml"/><Relationship Id="rId4" Type="http://schemas.openxmlformats.org/officeDocument/2006/relationships/slideLayout" Target="../slideLayouts/slideLayout1791.xml"/><Relationship Id="rId9" Type="http://schemas.openxmlformats.org/officeDocument/2006/relationships/slideLayout" Target="../slideLayouts/slideLayout1796.xml"/></Relationships>
</file>

<file path=ppt/slideMasters/_rels/slideMaster24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804.xml"/><Relationship Id="rId3" Type="http://schemas.openxmlformats.org/officeDocument/2006/relationships/slideLayout" Target="../slideLayouts/slideLayout1799.xml"/><Relationship Id="rId7" Type="http://schemas.openxmlformats.org/officeDocument/2006/relationships/slideLayout" Target="../slideLayouts/slideLayout1803.xml"/><Relationship Id="rId2" Type="http://schemas.openxmlformats.org/officeDocument/2006/relationships/slideLayout" Target="../slideLayouts/slideLayout1798.xml"/><Relationship Id="rId1" Type="http://schemas.openxmlformats.org/officeDocument/2006/relationships/slideLayout" Target="../slideLayouts/slideLayout1797.xml"/><Relationship Id="rId6" Type="http://schemas.openxmlformats.org/officeDocument/2006/relationships/slideLayout" Target="../slideLayouts/slideLayout1802.xml"/><Relationship Id="rId11" Type="http://schemas.openxmlformats.org/officeDocument/2006/relationships/theme" Target="../theme/theme245.xml"/><Relationship Id="rId5" Type="http://schemas.openxmlformats.org/officeDocument/2006/relationships/slideLayout" Target="../slideLayouts/slideLayout1801.xml"/><Relationship Id="rId10" Type="http://schemas.openxmlformats.org/officeDocument/2006/relationships/slideLayout" Target="../slideLayouts/slideLayout1806.xml"/><Relationship Id="rId4" Type="http://schemas.openxmlformats.org/officeDocument/2006/relationships/slideLayout" Target="../slideLayouts/slideLayout1800.xml"/><Relationship Id="rId9" Type="http://schemas.openxmlformats.org/officeDocument/2006/relationships/slideLayout" Target="../slideLayouts/slideLayout1805.xml"/></Relationships>
</file>

<file path=ppt/slideMasters/_rels/slideMaster2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71.xml"/><Relationship Id="rId2" Type="http://schemas.openxmlformats.org/officeDocument/2006/relationships/slideLayout" Target="../slideLayouts/slideLayout170.xml"/><Relationship Id="rId1" Type="http://schemas.openxmlformats.org/officeDocument/2006/relationships/slideLayout" Target="../slideLayouts/slideLayout169.xml"/><Relationship Id="rId5" Type="http://schemas.openxmlformats.org/officeDocument/2006/relationships/theme" Target="../theme/theme25.xml"/><Relationship Id="rId4" Type="http://schemas.openxmlformats.org/officeDocument/2006/relationships/slideLayout" Target="../slideLayouts/slideLayout172.xml"/></Relationships>
</file>

<file path=ppt/slideMasters/_rels/slideMaster2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75.xml"/><Relationship Id="rId2" Type="http://schemas.openxmlformats.org/officeDocument/2006/relationships/slideLayout" Target="../slideLayouts/slideLayout174.xml"/><Relationship Id="rId1" Type="http://schemas.openxmlformats.org/officeDocument/2006/relationships/slideLayout" Target="../slideLayouts/slideLayout173.xml"/><Relationship Id="rId5" Type="http://schemas.openxmlformats.org/officeDocument/2006/relationships/theme" Target="../theme/theme26.xml"/><Relationship Id="rId4" Type="http://schemas.openxmlformats.org/officeDocument/2006/relationships/slideLayout" Target="../slideLayouts/slideLayout176.xml"/></Relationships>
</file>

<file path=ppt/slideMasters/_rels/slideMaster2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84.xml"/><Relationship Id="rId3" Type="http://schemas.openxmlformats.org/officeDocument/2006/relationships/slideLayout" Target="../slideLayouts/slideLayout179.xml"/><Relationship Id="rId7" Type="http://schemas.openxmlformats.org/officeDocument/2006/relationships/slideLayout" Target="../slideLayouts/slideLayout183.xml"/><Relationship Id="rId2" Type="http://schemas.openxmlformats.org/officeDocument/2006/relationships/slideLayout" Target="../slideLayouts/slideLayout178.xml"/><Relationship Id="rId1" Type="http://schemas.openxmlformats.org/officeDocument/2006/relationships/slideLayout" Target="../slideLayouts/slideLayout177.xml"/><Relationship Id="rId6" Type="http://schemas.openxmlformats.org/officeDocument/2006/relationships/slideLayout" Target="../slideLayouts/slideLayout182.xml"/><Relationship Id="rId5" Type="http://schemas.openxmlformats.org/officeDocument/2006/relationships/slideLayout" Target="../slideLayouts/slideLayout181.xml"/><Relationship Id="rId4" Type="http://schemas.openxmlformats.org/officeDocument/2006/relationships/slideLayout" Target="../slideLayouts/slideLayout180.xml"/><Relationship Id="rId9" Type="http://schemas.openxmlformats.org/officeDocument/2006/relationships/theme" Target="../theme/theme27.xml"/></Relationships>
</file>

<file path=ppt/slideMasters/_rels/slideMaster2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87.xml"/><Relationship Id="rId2" Type="http://schemas.openxmlformats.org/officeDocument/2006/relationships/slideLayout" Target="../slideLayouts/slideLayout186.xml"/><Relationship Id="rId1" Type="http://schemas.openxmlformats.org/officeDocument/2006/relationships/slideLayout" Target="../slideLayouts/slideLayout185.xml"/><Relationship Id="rId5" Type="http://schemas.openxmlformats.org/officeDocument/2006/relationships/theme" Target="../theme/theme28.xml"/><Relationship Id="rId4" Type="http://schemas.openxmlformats.org/officeDocument/2006/relationships/slideLayout" Target="../slideLayouts/slideLayout188.xml"/></Relationships>
</file>

<file path=ppt/slideMasters/_rels/slideMaster29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4.bin"/><Relationship Id="rId3" Type="http://schemas.openxmlformats.org/officeDocument/2006/relationships/slideLayout" Target="../slideLayouts/slideLayout191.xml"/><Relationship Id="rId7" Type="http://schemas.openxmlformats.org/officeDocument/2006/relationships/tags" Target="../tags/tag35.xml"/><Relationship Id="rId2" Type="http://schemas.openxmlformats.org/officeDocument/2006/relationships/slideLayout" Target="../slideLayouts/slideLayout190.xml"/><Relationship Id="rId1" Type="http://schemas.openxmlformats.org/officeDocument/2006/relationships/slideLayout" Target="../slideLayouts/slideLayout189.xml"/><Relationship Id="rId6" Type="http://schemas.openxmlformats.org/officeDocument/2006/relationships/vmlDrawing" Target="../drawings/vmlDrawing34.vml"/><Relationship Id="rId5" Type="http://schemas.openxmlformats.org/officeDocument/2006/relationships/theme" Target="../theme/theme29.xml"/><Relationship Id="rId4" Type="http://schemas.openxmlformats.org/officeDocument/2006/relationships/slideLayout" Target="../slideLayouts/slideLayout19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oleObject" Target="../embeddings/oleObject5.bin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tags" Target="../tags/tag6.xml"/><Relationship Id="rId5" Type="http://schemas.openxmlformats.org/officeDocument/2006/relationships/slideLayout" Target="../slideLayouts/slideLayout17.xml"/><Relationship Id="rId10" Type="http://schemas.openxmlformats.org/officeDocument/2006/relationships/vmlDrawing" Target="../drawings/vmlDrawing5.vml"/><Relationship Id="rId4" Type="http://schemas.openxmlformats.org/officeDocument/2006/relationships/slideLayout" Target="../slideLayouts/slideLayout16.xml"/><Relationship Id="rId9" Type="http://schemas.openxmlformats.org/officeDocument/2006/relationships/theme" Target="../theme/theme3.xml"/></Relationships>
</file>

<file path=ppt/slideMasters/_rels/slideMaster3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0.xml"/><Relationship Id="rId13" Type="http://schemas.openxmlformats.org/officeDocument/2006/relationships/oleObject" Target="../embeddings/oleObject36.bin"/><Relationship Id="rId3" Type="http://schemas.openxmlformats.org/officeDocument/2006/relationships/slideLayout" Target="../slideLayouts/slideLayout195.xml"/><Relationship Id="rId7" Type="http://schemas.openxmlformats.org/officeDocument/2006/relationships/slideLayout" Target="../slideLayouts/slideLayout199.xml"/><Relationship Id="rId12" Type="http://schemas.openxmlformats.org/officeDocument/2006/relationships/tags" Target="../tags/tag37.xml"/><Relationship Id="rId2" Type="http://schemas.openxmlformats.org/officeDocument/2006/relationships/slideLayout" Target="../slideLayouts/slideLayout194.xml"/><Relationship Id="rId1" Type="http://schemas.openxmlformats.org/officeDocument/2006/relationships/slideLayout" Target="../slideLayouts/slideLayout193.xml"/><Relationship Id="rId6" Type="http://schemas.openxmlformats.org/officeDocument/2006/relationships/slideLayout" Target="../slideLayouts/slideLayout198.xml"/><Relationship Id="rId11" Type="http://schemas.openxmlformats.org/officeDocument/2006/relationships/vmlDrawing" Target="../drawings/vmlDrawing36.vml"/><Relationship Id="rId5" Type="http://schemas.openxmlformats.org/officeDocument/2006/relationships/slideLayout" Target="../slideLayouts/slideLayout197.xml"/><Relationship Id="rId10" Type="http://schemas.openxmlformats.org/officeDocument/2006/relationships/theme" Target="../theme/theme30.xml"/><Relationship Id="rId4" Type="http://schemas.openxmlformats.org/officeDocument/2006/relationships/slideLayout" Target="../slideLayouts/slideLayout196.xml"/><Relationship Id="rId9" Type="http://schemas.openxmlformats.org/officeDocument/2006/relationships/slideLayout" Target="../slideLayouts/slideLayout201.xml"/></Relationships>
</file>

<file path=ppt/slideMasters/_rels/slideMaster3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04.xml"/><Relationship Id="rId2" Type="http://schemas.openxmlformats.org/officeDocument/2006/relationships/slideLayout" Target="../slideLayouts/slideLayout203.xml"/><Relationship Id="rId1" Type="http://schemas.openxmlformats.org/officeDocument/2006/relationships/slideLayout" Target="../slideLayouts/slideLayout202.xml"/><Relationship Id="rId5" Type="http://schemas.openxmlformats.org/officeDocument/2006/relationships/theme" Target="../theme/theme31.xml"/><Relationship Id="rId4" Type="http://schemas.openxmlformats.org/officeDocument/2006/relationships/slideLayout" Target="../slideLayouts/slideLayout205.xml"/></Relationships>
</file>

<file path=ppt/slideMasters/_rels/slideMaster3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08.xml"/><Relationship Id="rId2" Type="http://schemas.openxmlformats.org/officeDocument/2006/relationships/slideLayout" Target="../slideLayouts/slideLayout207.xml"/><Relationship Id="rId1" Type="http://schemas.openxmlformats.org/officeDocument/2006/relationships/slideLayout" Target="../slideLayouts/slideLayout206.xml"/><Relationship Id="rId5" Type="http://schemas.openxmlformats.org/officeDocument/2006/relationships/theme" Target="../theme/theme32.xml"/><Relationship Id="rId4" Type="http://schemas.openxmlformats.org/officeDocument/2006/relationships/slideLayout" Target="../slideLayouts/slideLayout209.xml"/></Relationships>
</file>

<file path=ppt/slideMasters/_rels/slideMaster3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7.xml"/><Relationship Id="rId3" Type="http://schemas.openxmlformats.org/officeDocument/2006/relationships/slideLayout" Target="../slideLayouts/slideLayout212.xml"/><Relationship Id="rId7" Type="http://schemas.openxmlformats.org/officeDocument/2006/relationships/slideLayout" Target="../slideLayouts/slideLayout216.xml"/><Relationship Id="rId2" Type="http://schemas.openxmlformats.org/officeDocument/2006/relationships/slideLayout" Target="../slideLayouts/slideLayout211.xml"/><Relationship Id="rId1" Type="http://schemas.openxmlformats.org/officeDocument/2006/relationships/slideLayout" Target="../slideLayouts/slideLayout210.xml"/><Relationship Id="rId6" Type="http://schemas.openxmlformats.org/officeDocument/2006/relationships/slideLayout" Target="../slideLayouts/slideLayout215.xml"/><Relationship Id="rId5" Type="http://schemas.openxmlformats.org/officeDocument/2006/relationships/slideLayout" Target="../slideLayouts/slideLayout214.xml"/><Relationship Id="rId4" Type="http://schemas.openxmlformats.org/officeDocument/2006/relationships/slideLayout" Target="../slideLayouts/slideLayout213.xml"/><Relationship Id="rId9" Type="http://schemas.openxmlformats.org/officeDocument/2006/relationships/theme" Target="../theme/theme33.xml"/></Relationships>
</file>

<file path=ppt/slideMasters/_rels/slideMaster3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25.xml"/><Relationship Id="rId3" Type="http://schemas.openxmlformats.org/officeDocument/2006/relationships/slideLayout" Target="../slideLayouts/slideLayout220.xml"/><Relationship Id="rId7" Type="http://schemas.openxmlformats.org/officeDocument/2006/relationships/slideLayout" Target="../slideLayouts/slideLayout224.xml"/><Relationship Id="rId2" Type="http://schemas.openxmlformats.org/officeDocument/2006/relationships/slideLayout" Target="../slideLayouts/slideLayout219.xml"/><Relationship Id="rId1" Type="http://schemas.openxmlformats.org/officeDocument/2006/relationships/slideLayout" Target="../slideLayouts/slideLayout218.xml"/><Relationship Id="rId6" Type="http://schemas.openxmlformats.org/officeDocument/2006/relationships/slideLayout" Target="../slideLayouts/slideLayout223.xml"/><Relationship Id="rId5" Type="http://schemas.openxmlformats.org/officeDocument/2006/relationships/slideLayout" Target="../slideLayouts/slideLayout222.xml"/><Relationship Id="rId4" Type="http://schemas.openxmlformats.org/officeDocument/2006/relationships/slideLayout" Target="../slideLayouts/slideLayout221.xml"/><Relationship Id="rId9" Type="http://schemas.openxmlformats.org/officeDocument/2006/relationships/theme" Target="../theme/theme34.xml"/></Relationships>
</file>

<file path=ppt/slideMasters/_rels/slideMaster3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28.xml"/><Relationship Id="rId2" Type="http://schemas.openxmlformats.org/officeDocument/2006/relationships/slideLayout" Target="../slideLayouts/slideLayout227.xml"/><Relationship Id="rId1" Type="http://schemas.openxmlformats.org/officeDocument/2006/relationships/slideLayout" Target="../slideLayouts/slideLayout226.xml"/><Relationship Id="rId5" Type="http://schemas.openxmlformats.org/officeDocument/2006/relationships/theme" Target="../theme/theme35.xml"/><Relationship Id="rId4" Type="http://schemas.openxmlformats.org/officeDocument/2006/relationships/slideLayout" Target="../slideLayouts/slideLayout229.xml"/></Relationships>
</file>

<file path=ppt/slideMasters/_rels/slideMaster3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7.xml"/><Relationship Id="rId3" Type="http://schemas.openxmlformats.org/officeDocument/2006/relationships/slideLayout" Target="../slideLayouts/slideLayout232.xml"/><Relationship Id="rId7" Type="http://schemas.openxmlformats.org/officeDocument/2006/relationships/slideLayout" Target="../slideLayouts/slideLayout236.xml"/><Relationship Id="rId2" Type="http://schemas.openxmlformats.org/officeDocument/2006/relationships/slideLayout" Target="../slideLayouts/slideLayout231.xml"/><Relationship Id="rId1" Type="http://schemas.openxmlformats.org/officeDocument/2006/relationships/slideLayout" Target="../slideLayouts/slideLayout230.xml"/><Relationship Id="rId6" Type="http://schemas.openxmlformats.org/officeDocument/2006/relationships/slideLayout" Target="../slideLayouts/slideLayout235.xml"/><Relationship Id="rId5" Type="http://schemas.openxmlformats.org/officeDocument/2006/relationships/slideLayout" Target="../slideLayouts/slideLayout234.xml"/><Relationship Id="rId4" Type="http://schemas.openxmlformats.org/officeDocument/2006/relationships/slideLayout" Target="../slideLayouts/slideLayout233.xml"/><Relationship Id="rId9" Type="http://schemas.openxmlformats.org/officeDocument/2006/relationships/theme" Target="../theme/theme36.xml"/></Relationships>
</file>

<file path=ppt/slideMasters/_rels/slideMaster3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40.xml"/><Relationship Id="rId2" Type="http://schemas.openxmlformats.org/officeDocument/2006/relationships/slideLayout" Target="../slideLayouts/slideLayout239.xml"/><Relationship Id="rId1" Type="http://schemas.openxmlformats.org/officeDocument/2006/relationships/slideLayout" Target="../slideLayouts/slideLayout238.xml"/><Relationship Id="rId5" Type="http://schemas.openxmlformats.org/officeDocument/2006/relationships/theme" Target="../theme/theme37.xml"/><Relationship Id="rId4" Type="http://schemas.openxmlformats.org/officeDocument/2006/relationships/slideLayout" Target="../slideLayouts/slideLayout241.xml"/></Relationships>
</file>

<file path=ppt/slideMasters/_rels/slideMaster3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44.xml"/><Relationship Id="rId2" Type="http://schemas.openxmlformats.org/officeDocument/2006/relationships/slideLayout" Target="../slideLayouts/slideLayout243.xml"/><Relationship Id="rId1" Type="http://schemas.openxmlformats.org/officeDocument/2006/relationships/slideLayout" Target="../slideLayouts/slideLayout242.xml"/><Relationship Id="rId5" Type="http://schemas.openxmlformats.org/officeDocument/2006/relationships/theme" Target="../theme/theme38.xml"/><Relationship Id="rId4" Type="http://schemas.openxmlformats.org/officeDocument/2006/relationships/slideLayout" Target="../slideLayouts/slideLayout245.xml"/></Relationships>
</file>

<file path=ppt/slideMasters/_rels/slideMaster3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53.xml"/><Relationship Id="rId13" Type="http://schemas.openxmlformats.org/officeDocument/2006/relationships/vmlDrawing" Target="../drawings/vmlDrawing38.vml"/><Relationship Id="rId3" Type="http://schemas.openxmlformats.org/officeDocument/2006/relationships/slideLayout" Target="../slideLayouts/slideLayout248.xml"/><Relationship Id="rId7" Type="http://schemas.openxmlformats.org/officeDocument/2006/relationships/slideLayout" Target="../slideLayouts/slideLayout252.xml"/><Relationship Id="rId12" Type="http://schemas.openxmlformats.org/officeDocument/2006/relationships/theme" Target="../theme/theme39.xml"/><Relationship Id="rId2" Type="http://schemas.openxmlformats.org/officeDocument/2006/relationships/slideLayout" Target="../slideLayouts/slideLayout247.xml"/><Relationship Id="rId1" Type="http://schemas.openxmlformats.org/officeDocument/2006/relationships/slideLayout" Target="../slideLayouts/slideLayout246.xml"/><Relationship Id="rId6" Type="http://schemas.openxmlformats.org/officeDocument/2006/relationships/slideLayout" Target="../slideLayouts/slideLayout251.xml"/><Relationship Id="rId11" Type="http://schemas.openxmlformats.org/officeDocument/2006/relationships/slideLayout" Target="../slideLayouts/slideLayout256.xml"/><Relationship Id="rId5" Type="http://schemas.openxmlformats.org/officeDocument/2006/relationships/slideLayout" Target="../slideLayouts/slideLayout250.xml"/><Relationship Id="rId15" Type="http://schemas.openxmlformats.org/officeDocument/2006/relationships/oleObject" Target="../embeddings/oleObject38.bin"/><Relationship Id="rId10" Type="http://schemas.openxmlformats.org/officeDocument/2006/relationships/slideLayout" Target="../slideLayouts/slideLayout255.xml"/><Relationship Id="rId4" Type="http://schemas.openxmlformats.org/officeDocument/2006/relationships/slideLayout" Target="../slideLayouts/slideLayout249.xml"/><Relationship Id="rId9" Type="http://schemas.openxmlformats.org/officeDocument/2006/relationships/slideLayout" Target="../slideLayouts/slideLayout254.xml"/><Relationship Id="rId14" Type="http://schemas.openxmlformats.org/officeDocument/2006/relationships/tags" Target="../tags/tag39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8.xml"/><Relationship Id="rId3" Type="http://schemas.openxmlformats.org/officeDocument/2006/relationships/slideLayout" Target="../slideLayouts/slideLayout23.xml"/><Relationship Id="rId7" Type="http://schemas.openxmlformats.org/officeDocument/2006/relationships/slideLayout" Target="../slideLayouts/slideLayout27.xml"/><Relationship Id="rId12" Type="http://schemas.openxmlformats.org/officeDocument/2006/relationships/oleObject" Target="../embeddings/oleObject9.bin"/><Relationship Id="rId2" Type="http://schemas.openxmlformats.org/officeDocument/2006/relationships/slideLayout" Target="../slideLayouts/slideLayout22.xml"/><Relationship Id="rId1" Type="http://schemas.openxmlformats.org/officeDocument/2006/relationships/slideLayout" Target="../slideLayouts/slideLayout21.xml"/><Relationship Id="rId6" Type="http://schemas.openxmlformats.org/officeDocument/2006/relationships/slideLayout" Target="../slideLayouts/slideLayout26.xml"/><Relationship Id="rId11" Type="http://schemas.openxmlformats.org/officeDocument/2006/relationships/tags" Target="../tags/tag10.xml"/><Relationship Id="rId5" Type="http://schemas.openxmlformats.org/officeDocument/2006/relationships/slideLayout" Target="../slideLayouts/slideLayout25.xml"/><Relationship Id="rId10" Type="http://schemas.openxmlformats.org/officeDocument/2006/relationships/vmlDrawing" Target="../drawings/vmlDrawing9.vml"/><Relationship Id="rId4" Type="http://schemas.openxmlformats.org/officeDocument/2006/relationships/slideLayout" Target="../slideLayouts/slideLayout24.xml"/><Relationship Id="rId9" Type="http://schemas.openxmlformats.org/officeDocument/2006/relationships/theme" Target="../theme/theme4.xml"/></Relationships>
</file>

<file path=ppt/slideMasters/_rels/slideMaster4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59.xml"/><Relationship Id="rId2" Type="http://schemas.openxmlformats.org/officeDocument/2006/relationships/slideLayout" Target="../slideLayouts/slideLayout258.xml"/><Relationship Id="rId1" Type="http://schemas.openxmlformats.org/officeDocument/2006/relationships/slideLayout" Target="../slideLayouts/slideLayout257.xml"/><Relationship Id="rId5" Type="http://schemas.openxmlformats.org/officeDocument/2006/relationships/theme" Target="../theme/theme40.xml"/><Relationship Id="rId4" Type="http://schemas.openxmlformats.org/officeDocument/2006/relationships/slideLayout" Target="../slideLayouts/slideLayout260.xml"/></Relationships>
</file>

<file path=ppt/slideMasters/_rels/slideMaster4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68.xml"/><Relationship Id="rId3" Type="http://schemas.openxmlformats.org/officeDocument/2006/relationships/slideLayout" Target="../slideLayouts/slideLayout263.xml"/><Relationship Id="rId7" Type="http://schemas.openxmlformats.org/officeDocument/2006/relationships/slideLayout" Target="../slideLayouts/slideLayout267.xml"/><Relationship Id="rId2" Type="http://schemas.openxmlformats.org/officeDocument/2006/relationships/slideLayout" Target="../slideLayouts/slideLayout262.xml"/><Relationship Id="rId1" Type="http://schemas.openxmlformats.org/officeDocument/2006/relationships/slideLayout" Target="../slideLayouts/slideLayout261.xml"/><Relationship Id="rId6" Type="http://schemas.openxmlformats.org/officeDocument/2006/relationships/slideLayout" Target="../slideLayouts/slideLayout266.xml"/><Relationship Id="rId5" Type="http://schemas.openxmlformats.org/officeDocument/2006/relationships/slideLayout" Target="../slideLayouts/slideLayout265.xml"/><Relationship Id="rId4" Type="http://schemas.openxmlformats.org/officeDocument/2006/relationships/slideLayout" Target="../slideLayouts/slideLayout264.xml"/><Relationship Id="rId9" Type="http://schemas.openxmlformats.org/officeDocument/2006/relationships/theme" Target="../theme/theme41.xml"/></Relationships>
</file>

<file path=ppt/slideMasters/_rels/slideMaster4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71.xml"/><Relationship Id="rId2" Type="http://schemas.openxmlformats.org/officeDocument/2006/relationships/slideLayout" Target="../slideLayouts/slideLayout270.xml"/><Relationship Id="rId1" Type="http://schemas.openxmlformats.org/officeDocument/2006/relationships/slideLayout" Target="../slideLayouts/slideLayout269.xml"/><Relationship Id="rId5" Type="http://schemas.openxmlformats.org/officeDocument/2006/relationships/theme" Target="../theme/theme42.xml"/><Relationship Id="rId4" Type="http://schemas.openxmlformats.org/officeDocument/2006/relationships/slideLayout" Target="../slideLayouts/slideLayout272.xml"/></Relationships>
</file>

<file path=ppt/slideMasters/_rels/slideMaster4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80.xml"/><Relationship Id="rId13" Type="http://schemas.openxmlformats.org/officeDocument/2006/relationships/vmlDrawing" Target="../drawings/vmlDrawing40.vml"/><Relationship Id="rId3" Type="http://schemas.openxmlformats.org/officeDocument/2006/relationships/slideLayout" Target="../slideLayouts/slideLayout275.xml"/><Relationship Id="rId7" Type="http://schemas.openxmlformats.org/officeDocument/2006/relationships/slideLayout" Target="../slideLayouts/slideLayout279.xml"/><Relationship Id="rId12" Type="http://schemas.openxmlformats.org/officeDocument/2006/relationships/theme" Target="../theme/theme43.xml"/><Relationship Id="rId2" Type="http://schemas.openxmlformats.org/officeDocument/2006/relationships/slideLayout" Target="../slideLayouts/slideLayout274.xml"/><Relationship Id="rId1" Type="http://schemas.openxmlformats.org/officeDocument/2006/relationships/slideLayout" Target="../slideLayouts/slideLayout273.xml"/><Relationship Id="rId6" Type="http://schemas.openxmlformats.org/officeDocument/2006/relationships/slideLayout" Target="../slideLayouts/slideLayout278.xml"/><Relationship Id="rId11" Type="http://schemas.openxmlformats.org/officeDocument/2006/relationships/slideLayout" Target="../slideLayouts/slideLayout283.xml"/><Relationship Id="rId5" Type="http://schemas.openxmlformats.org/officeDocument/2006/relationships/slideLayout" Target="../slideLayouts/slideLayout277.xml"/><Relationship Id="rId15" Type="http://schemas.openxmlformats.org/officeDocument/2006/relationships/oleObject" Target="../embeddings/oleObject40.bin"/><Relationship Id="rId10" Type="http://schemas.openxmlformats.org/officeDocument/2006/relationships/slideLayout" Target="../slideLayouts/slideLayout282.xml"/><Relationship Id="rId4" Type="http://schemas.openxmlformats.org/officeDocument/2006/relationships/slideLayout" Target="../slideLayouts/slideLayout276.xml"/><Relationship Id="rId9" Type="http://schemas.openxmlformats.org/officeDocument/2006/relationships/slideLayout" Target="../slideLayouts/slideLayout281.xml"/><Relationship Id="rId14" Type="http://schemas.openxmlformats.org/officeDocument/2006/relationships/tags" Target="../tags/tag41.xml"/></Relationships>
</file>

<file path=ppt/slideMasters/_rels/slideMaster4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86.xml"/><Relationship Id="rId2" Type="http://schemas.openxmlformats.org/officeDocument/2006/relationships/slideLayout" Target="../slideLayouts/slideLayout285.xml"/><Relationship Id="rId1" Type="http://schemas.openxmlformats.org/officeDocument/2006/relationships/slideLayout" Target="../slideLayouts/slideLayout284.xml"/><Relationship Id="rId5" Type="http://schemas.openxmlformats.org/officeDocument/2006/relationships/theme" Target="../theme/theme44.xml"/><Relationship Id="rId4" Type="http://schemas.openxmlformats.org/officeDocument/2006/relationships/slideLayout" Target="../slideLayouts/slideLayout287.xml"/></Relationships>
</file>

<file path=ppt/slideMasters/_rels/slideMaster4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90.xml"/><Relationship Id="rId2" Type="http://schemas.openxmlformats.org/officeDocument/2006/relationships/slideLayout" Target="../slideLayouts/slideLayout289.xml"/><Relationship Id="rId1" Type="http://schemas.openxmlformats.org/officeDocument/2006/relationships/slideLayout" Target="../slideLayouts/slideLayout288.xml"/><Relationship Id="rId5" Type="http://schemas.openxmlformats.org/officeDocument/2006/relationships/theme" Target="../theme/theme45.xml"/><Relationship Id="rId4" Type="http://schemas.openxmlformats.org/officeDocument/2006/relationships/slideLayout" Target="../slideLayouts/slideLayout291.xml"/></Relationships>
</file>

<file path=ppt/slideMasters/_rels/slideMaster4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99.xml"/><Relationship Id="rId13" Type="http://schemas.openxmlformats.org/officeDocument/2006/relationships/theme" Target="../theme/theme46.xml"/><Relationship Id="rId3" Type="http://schemas.openxmlformats.org/officeDocument/2006/relationships/slideLayout" Target="../slideLayouts/slideLayout294.xml"/><Relationship Id="rId7" Type="http://schemas.openxmlformats.org/officeDocument/2006/relationships/slideLayout" Target="../slideLayouts/slideLayout298.xml"/><Relationship Id="rId12" Type="http://schemas.openxmlformats.org/officeDocument/2006/relationships/slideLayout" Target="../slideLayouts/slideLayout303.xml"/><Relationship Id="rId2" Type="http://schemas.openxmlformats.org/officeDocument/2006/relationships/slideLayout" Target="../slideLayouts/slideLayout293.xml"/><Relationship Id="rId16" Type="http://schemas.openxmlformats.org/officeDocument/2006/relationships/oleObject" Target="../embeddings/oleObject42.bin"/><Relationship Id="rId1" Type="http://schemas.openxmlformats.org/officeDocument/2006/relationships/slideLayout" Target="../slideLayouts/slideLayout292.xml"/><Relationship Id="rId6" Type="http://schemas.openxmlformats.org/officeDocument/2006/relationships/slideLayout" Target="../slideLayouts/slideLayout297.xml"/><Relationship Id="rId11" Type="http://schemas.openxmlformats.org/officeDocument/2006/relationships/slideLayout" Target="../slideLayouts/slideLayout302.xml"/><Relationship Id="rId5" Type="http://schemas.openxmlformats.org/officeDocument/2006/relationships/slideLayout" Target="../slideLayouts/slideLayout296.xml"/><Relationship Id="rId15" Type="http://schemas.openxmlformats.org/officeDocument/2006/relationships/tags" Target="../tags/tag43.xml"/><Relationship Id="rId10" Type="http://schemas.openxmlformats.org/officeDocument/2006/relationships/slideLayout" Target="../slideLayouts/slideLayout301.xml"/><Relationship Id="rId4" Type="http://schemas.openxmlformats.org/officeDocument/2006/relationships/slideLayout" Target="../slideLayouts/slideLayout295.xml"/><Relationship Id="rId9" Type="http://schemas.openxmlformats.org/officeDocument/2006/relationships/slideLayout" Target="../slideLayouts/slideLayout300.xml"/><Relationship Id="rId14" Type="http://schemas.openxmlformats.org/officeDocument/2006/relationships/vmlDrawing" Target="../drawings/vmlDrawing42.vml"/></Relationships>
</file>

<file path=ppt/slideMasters/_rels/slideMaster4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11.xml"/><Relationship Id="rId13" Type="http://schemas.openxmlformats.org/officeDocument/2006/relationships/theme" Target="../theme/theme47.xml"/><Relationship Id="rId3" Type="http://schemas.openxmlformats.org/officeDocument/2006/relationships/slideLayout" Target="../slideLayouts/slideLayout306.xml"/><Relationship Id="rId7" Type="http://schemas.openxmlformats.org/officeDocument/2006/relationships/slideLayout" Target="../slideLayouts/slideLayout310.xml"/><Relationship Id="rId12" Type="http://schemas.openxmlformats.org/officeDocument/2006/relationships/slideLayout" Target="../slideLayouts/slideLayout315.xml"/><Relationship Id="rId2" Type="http://schemas.openxmlformats.org/officeDocument/2006/relationships/slideLayout" Target="../slideLayouts/slideLayout305.xml"/><Relationship Id="rId16" Type="http://schemas.openxmlformats.org/officeDocument/2006/relationships/oleObject" Target="../embeddings/oleObject48.bin"/><Relationship Id="rId1" Type="http://schemas.openxmlformats.org/officeDocument/2006/relationships/slideLayout" Target="../slideLayouts/slideLayout304.xml"/><Relationship Id="rId6" Type="http://schemas.openxmlformats.org/officeDocument/2006/relationships/slideLayout" Target="../slideLayouts/slideLayout309.xml"/><Relationship Id="rId11" Type="http://schemas.openxmlformats.org/officeDocument/2006/relationships/slideLayout" Target="../slideLayouts/slideLayout314.xml"/><Relationship Id="rId5" Type="http://schemas.openxmlformats.org/officeDocument/2006/relationships/slideLayout" Target="../slideLayouts/slideLayout308.xml"/><Relationship Id="rId15" Type="http://schemas.openxmlformats.org/officeDocument/2006/relationships/tags" Target="../tags/tag49.xml"/><Relationship Id="rId10" Type="http://schemas.openxmlformats.org/officeDocument/2006/relationships/slideLayout" Target="../slideLayouts/slideLayout313.xml"/><Relationship Id="rId4" Type="http://schemas.openxmlformats.org/officeDocument/2006/relationships/slideLayout" Target="../slideLayouts/slideLayout307.xml"/><Relationship Id="rId9" Type="http://schemas.openxmlformats.org/officeDocument/2006/relationships/slideLayout" Target="../slideLayouts/slideLayout312.xml"/><Relationship Id="rId14" Type="http://schemas.openxmlformats.org/officeDocument/2006/relationships/vmlDrawing" Target="../drawings/vmlDrawing48.vml"/></Relationships>
</file>

<file path=ppt/slideMasters/_rels/slideMaster4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23.xml"/><Relationship Id="rId3" Type="http://schemas.openxmlformats.org/officeDocument/2006/relationships/slideLayout" Target="../slideLayouts/slideLayout318.xml"/><Relationship Id="rId7" Type="http://schemas.openxmlformats.org/officeDocument/2006/relationships/slideLayout" Target="../slideLayouts/slideLayout322.xml"/><Relationship Id="rId2" Type="http://schemas.openxmlformats.org/officeDocument/2006/relationships/slideLayout" Target="../slideLayouts/slideLayout317.xml"/><Relationship Id="rId1" Type="http://schemas.openxmlformats.org/officeDocument/2006/relationships/slideLayout" Target="../slideLayouts/slideLayout316.xml"/><Relationship Id="rId6" Type="http://schemas.openxmlformats.org/officeDocument/2006/relationships/slideLayout" Target="../slideLayouts/slideLayout321.xml"/><Relationship Id="rId5" Type="http://schemas.openxmlformats.org/officeDocument/2006/relationships/slideLayout" Target="../slideLayouts/slideLayout320.xml"/><Relationship Id="rId4" Type="http://schemas.openxmlformats.org/officeDocument/2006/relationships/slideLayout" Target="../slideLayouts/slideLayout319.xml"/><Relationship Id="rId9" Type="http://schemas.openxmlformats.org/officeDocument/2006/relationships/theme" Target="../theme/theme48.xml"/></Relationships>
</file>

<file path=ppt/slideMasters/_rels/slideMaster4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26.xml"/><Relationship Id="rId2" Type="http://schemas.openxmlformats.org/officeDocument/2006/relationships/slideLayout" Target="../slideLayouts/slideLayout325.xml"/><Relationship Id="rId1" Type="http://schemas.openxmlformats.org/officeDocument/2006/relationships/slideLayout" Target="../slideLayouts/slideLayout324.xml"/><Relationship Id="rId5" Type="http://schemas.openxmlformats.org/officeDocument/2006/relationships/theme" Target="../theme/theme49.xml"/><Relationship Id="rId4" Type="http://schemas.openxmlformats.org/officeDocument/2006/relationships/slideLayout" Target="../slideLayouts/slideLayout327.xml"/></Relationships>
</file>

<file path=ppt/slideMasters/_rels/slideMaster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1.xml"/><Relationship Id="rId2" Type="http://schemas.openxmlformats.org/officeDocument/2006/relationships/slideLayout" Target="../slideLayouts/slideLayout30.xml"/><Relationship Id="rId1" Type="http://schemas.openxmlformats.org/officeDocument/2006/relationships/slideLayout" Target="../slideLayouts/slideLayout29.xml"/><Relationship Id="rId6" Type="http://schemas.openxmlformats.org/officeDocument/2006/relationships/theme" Target="../theme/theme5.xml"/><Relationship Id="rId5" Type="http://schemas.openxmlformats.org/officeDocument/2006/relationships/slideLayout" Target="../slideLayouts/slideLayout33.xml"/><Relationship Id="rId4" Type="http://schemas.openxmlformats.org/officeDocument/2006/relationships/slideLayout" Target="../slideLayouts/slideLayout32.xml"/></Relationships>
</file>

<file path=ppt/slideMasters/_rels/slideMaster5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30.xml"/><Relationship Id="rId2" Type="http://schemas.openxmlformats.org/officeDocument/2006/relationships/slideLayout" Target="../slideLayouts/slideLayout329.xml"/><Relationship Id="rId1" Type="http://schemas.openxmlformats.org/officeDocument/2006/relationships/slideLayout" Target="../slideLayouts/slideLayout328.xml"/><Relationship Id="rId5" Type="http://schemas.openxmlformats.org/officeDocument/2006/relationships/theme" Target="../theme/theme50.xml"/><Relationship Id="rId4" Type="http://schemas.openxmlformats.org/officeDocument/2006/relationships/slideLayout" Target="../slideLayouts/slideLayout331.xml"/></Relationships>
</file>

<file path=ppt/slideMasters/_rels/slideMaster5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39.xml"/><Relationship Id="rId3" Type="http://schemas.openxmlformats.org/officeDocument/2006/relationships/slideLayout" Target="../slideLayouts/slideLayout334.xml"/><Relationship Id="rId7" Type="http://schemas.openxmlformats.org/officeDocument/2006/relationships/slideLayout" Target="../slideLayouts/slideLayout338.xml"/><Relationship Id="rId2" Type="http://schemas.openxmlformats.org/officeDocument/2006/relationships/slideLayout" Target="../slideLayouts/slideLayout333.xml"/><Relationship Id="rId1" Type="http://schemas.openxmlformats.org/officeDocument/2006/relationships/slideLayout" Target="../slideLayouts/slideLayout332.xml"/><Relationship Id="rId6" Type="http://schemas.openxmlformats.org/officeDocument/2006/relationships/slideLayout" Target="../slideLayouts/slideLayout337.xml"/><Relationship Id="rId5" Type="http://schemas.openxmlformats.org/officeDocument/2006/relationships/slideLayout" Target="../slideLayouts/slideLayout336.xml"/><Relationship Id="rId4" Type="http://schemas.openxmlformats.org/officeDocument/2006/relationships/slideLayout" Target="../slideLayouts/slideLayout335.xml"/><Relationship Id="rId9" Type="http://schemas.openxmlformats.org/officeDocument/2006/relationships/theme" Target="../theme/theme51.xml"/></Relationships>
</file>

<file path=ppt/slideMasters/_rels/slideMaster5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47.xml"/><Relationship Id="rId13" Type="http://schemas.openxmlformats.org/officeDocument/2006/relationships/oleObject" Target="../embeddings/oleObject54.bin"/><Relationship Id="rId3" Type="http://schemas.openxmlformats.org/officeDocument/2006/relationships/slideLayout" Target="../slideLayouts/slideLayout342.xml"/><Relationship Id="rId7" Type="http://schemas.openxmlformats.org/officeDocument/2006/relationships/slideLayout" Target="../slideLayouts/slideLayout346.xml"/><Relationship Id="rId12" Type="http://schemas.openxmlformats.org/officeDocument/2006/relationships/tags" Target="../tags/tag55.xml"/><Relationship Id="rId2" Type="http://schemas.openxmlformats.org/officeDocument/2006/relationships/slideLayout" Target="../slideLayouts/slideLayout341.xml"/><Relationship Id="rId1" Type="http://schemas.openxmlformats.org/officeDocument/2006/relationships/slideLayout" Target="../slideLayouts/slideLayout340.xml"/><Relationship Id="rId6" Type="http://schemas.openxmlformats.org/officeDocument/2006/relationships/slideLayout" Target="../slideLayouts/slideLayout345.xml"/><Relationship Id="rId11" Type="http://schemas.openxmlformats.org/officeDocument/2006/relationships/vmlDrawing" Target="../drawings/vmlDrawing54.vml"/><Relationship Id="rId5" Type="http://schemas.openxmlformats.org/officeDocument/2006/relationships/slideLayout" Target="../slideLayouts/slideLayout344.xml"/><Relationship Id="rId10" Type="http://schemas.openxmlformats.org/officeDocument/2006/relationships/theme" Target="../theme/theme52.xml"/><Relationship Id="rId4" Type="http://schemas.openxmlformats.org/officeDocument/2006/relationships/slideLayout" Target="../slideLayouts/slideLayout343.xml"/><Relationship Id="rId9" Type="http://schemas.openxmlformats.org/officeDocument/2006/relationships/slideLayout" Target="../slideLayouts/slideLayout348.xml"/></Relationships>
</file>

<file path=ppt/slideMasters/_rels/slideMaster5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56.xml"/><Relationship Id="rId3" Type="http://schemas.openxmlformats.org/officeDocument/2006/relationships/slideLayout" Target="../slideLayouts/slideLayout351.xml"/><Relationship Id="rId7" Type="http://schemas.openxmlformats.org/officeDocument/2006/relationships/slideLayout" Target="../slideLayouts/slideLayout355.xml"/><Relationship Id="rId12" Type="http://schemas.openxmlformats.org/officeDocument/2006/relationships/oleObject" Target="../embeddings/oleObject58.bin"/><Relationship Id="rId2" Type="http://schemas.openxmlformats.org/officeDocument/2006/relationships/slideLayout" Target="../slideLayouts/slideLayout350.xml"/><Relationship Id="rId1" Type="http://schemas.openxmlformats.org/officeDocument/2006/relationships/slideLayout" Target="../slideLayouts/slideLayout349.xml"/><Relationship Id="rId6" Type="http://schemas.openxmlformats.org/officeDocument/2006/relationships/slideLayout" Target="../slideLayouts/slideLayout354.xml"/><Relationship Id="rId11" Type="http://schemas.openxmlformats.org/officeDocument/2006/relationships/tags" Target="../tags/tag59.xml"/><Relationship Id="rId5" Type="http://schemas.openxmlformats.org/officeDocument/2006/relationships/slideLayout" Target="../slideLayouts/slideLayout353.xml"/><Relationship Id="rId10" Type="http://schemas.openxmlformats.org/officeDocument/2006/relationships/vmlDrawing" Target="../drawings/vmlDrawing58.vml"/><Relationship Id="rId4" Type="http://schemas.openxmlformats.org/officeDocument/2006/relationships/slideLayout" Target="../slideLayouts/slideLayout352.xml"/><Relationship Id="rId9" Type="http://schemas.openxmlformats.org/officeDocument/2006/relationships/theme" Target="../theme/theme53.xml"/></Relationships>
</file>

<file path=ppt/slideMasters/_rels/slideMaster5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64.xml"/><Relationship Id="rId3" Type="http://schemas.openxmlformats.org/officeDocument/2006/relationships/slideLayout" Target="../slideLayouts/slideLayout359.xml"/><Relationship Id="rId7" Type="http://schemas.openxmlformats.org/officeDocument/2006/relationships/slideLayout" Target="../slideLayouts/slideLayout363.xml"/><Relationship Id="rId12" Type="http://schemas.openxmlformats.org/officeDocument/2006/relationships/oleObject" Target="../embeddings/oleObject59.bin"/><Relationship Id="rId2" Type="http://schemas.openxmlformats.org/officeDocument/2006/relationships/slideLayout" Target="../slideLayouts/slideLayout358.xml"/><Relationship Id="rId1" Type="http://schemas.openxmlformats.org/officeDocument/2006/relationships/slideLayout" Target="../slideLayouts/slideLayout357.xml"/><Relationship Id="rId6" Type="http://schemas.openxmlformats.org/officeDocument/2006/relationships/slideLayout" Target="../slideLayouts/slideLayout362.xml"/><Relationship Id="rId11" Type="http://schemas.openxmlformats.org/officeDocument/2006/relationships/tags" Target="../tags/tag60.xml"/><Relationship Id="rId5" Type="http://schemas.openxmlformats.org/officeDocument/2006/relationships/slideLayout" Target="../slideLayouts/slideLayout361.xml"/><Relationship Id="rId10" Type="http://schemas.openxmlformats.org/officeDocument/2006/relationships/vmlDrawing" Target="../drawings/vmlDrawing59.vml"/><Relationship Id="rId4" Type="http://schemas.openxmlformats.org/officeDocument/2006/relationships/slideLayout" Target="../slideLayouts/slideLayout360.xml"/><Relationship Id="rId9" Type="http://schemas.openxmlformats.org/officeDocument/2006/relationships/theme" Target="../theme/theme54.xml"/></Relationships>
</file>

<file path=ppt/slideMasters/_rels/slideMaster5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72.xml"/><Relationship Id="rId3" Type="http://schemas.openxmlformats.org/officeDocument/2006/relationships/slideLayout" Target="../slideLayouts/slideLayout367.xml"/><Relationship Id="rId7" Type="http://schemas.openxmlformats.org/officeDocument/2006/relationships/slideLayout" Target="../slideLayouts/slideLayout371.xml"/><Relationship Id="rId12" Type="http://schemas.openxmlformats.org/officeDocument/2006/relationships/oleObject" Target="../embeddings/oleObject60.bin"/><Relationship Id="rId2" Type="http://schemas.openxmlformats.org/officeDocument/2006/relationships/slideLayout" Target="../slideLayouts/slideLayout366.xml"/><Relationship Id="rId1" Type="http://schemas.openxmlformats.org/officeDocument/2006/relationships/slideLayout" Target="../slideLayouts/slideLayout365.xml"/><Relationship Id="rId6" Type="http://schemas.openxmlformats.org/officeDocument/2006/relationships/slideLayout" Target="../slideLayouts/slideLayout370.xml"/><Relationship Id="rId11" Type="http://schemas.openxmlformats.org/officeDocument/2006/relationships/tags" Target="../tags/tag61.xml"/><Relationship Id="rId5" Type="http://schemas.openxmlformats.org/officeDocument/2006/relationships/slideLayout" Target="../slideLayouts/slideLayout369.xml"/><Relationship Id="rId10" Type="http://schemas.openxmlformats.org/officeDocument/2006/relationships/vmlDrawing" Target="../drawings/vmlDrawing60.vml"/><Relationship Id="rId4" Type="http://schemas.openxmlformats.org/officeDocument/2006/relationships/slideLayout" Target="../slideLayouts/slideLayout368.xml"/><Relationship Id="rId9" Type="http://schemas.openxmlformats.org/officeDocument/2006/relationships/theme" Target="../theme/theme55.xml"/></Relationships>
</file>

<file path=ppt/slideMasters/_rels/slideMaster5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80.xml"/><Relationship Id="rId3" Type="http://schemas.openxmlformats.org/officeDocument/2006/relationships/slideLayout" Target="../slideLayouts/slideLayout375.xml"/><Relationship Id="rId7" Type="http://schemas.openxmlformats.org/officeDocument/2006/relationships/slideLayout" Target="../slideLayouts/slideLayout379.xml"/><Relationship Id="rId12" Type="http://schemas.openxmlformats.org/officeDocument/2006/relationships/oleObject" Target="../embeddings/oleObject61.bin"/><Relationship Id="rId2" Type="http://schemas.openxmlformats.org/officeDocument/2006/relationships/slideLayout" Target="../slideLayouts/slideLayout374.xml"/><Relationship Id="rId1" Type="http://schemas.openxmlformats.org/officeDocument/2006/relationships/slideLayout" Target="../slideLayouts/slideLayout373.xml"/><Relationship Id="rId6" Type="http://schemas.openxmlformats.org/officeDocument/2006/relationships/slideLayout" Target="../slideLayouts/slideLayout378.xml"/><Relationship Id="rId11" Type="http://schemas.openxmlformats.org/officeDocument/2006/relationships/tags" Target="../tags/tag62.xml"/><Relationship Id="rId5" Type="http://schemas.openxmlformats.org/officeDocument/2006/relationships/slideLayout" Target="../slideLayouts/slideLayout377.xml"/><Relationship Id="rId10" Type="http://schemas.openxmlformats.org/officeDocument/2006/relationships/vmlDrawing" Target="../drawings/vmlDrawing61.vml"/><Relationship Id="rId4" Type="http://schemas.openxmlformats.org/officeDocument/2006/relationships/slideLayout" Target="../slideLayouts/slideLayout376.xml"/><Relationship Id="rId9" Type="http://schemas.openxmlformats.org/officeDocument/2006/relationships/theme" Target="../theme/theme56.xml"/></Relationships>
</file>

<file path=ppt/slideMasters/_rels/slideMaster5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88.xml"/><Relationship Id="rId3" Type="http://schemas.openxmlformats.org/officeDocument/2006/relationships/slideLayout" Target="../slideLayouts/slideLayout383.xml"/><Relationship Id="rId7" Type="http://schemas.openxmlformats.org/officeDocument/2006/relationships/slideLayout" Target="../slideLayouts/slideLayout387.xml"/><Relationship Id="rId12" Type="http://schemas.openxmlformats.org/officeDocument/2006/relationships/oleObject" Target="../embeddings/oleObject62.bin"/><Relationship Id="rId2" Type="http://schemas.openxmlformats.org/officeDocument/2006/relationships/slideLayout" Target="../slideLayouts/slideLayout382.xml"/><Relationship Id="rId1" Type="http://schemas.openxmlformats.org/officeDocument/2006/relationships/slideLayout" Target="../slideLayouts/slideLayout381.xml"/><Relationship Id="rId6" Type="http://schemas.openxmlformats.org/officeDocument/2006/relationships/slideLayout" Target="../slideLayouts/slideLayout386.xml"/><Relationship Id="rId11" Type="http://schemas.openxmlformats.org/officeDocument/2006/relationships/tags" Target="../tags/tag63.xml"/><Relationship Id="rId5" Type="http://schemas.openxmlformats.org/officeDocument/2006/relationships/slideLayout" Target="../slideLayouts/slideLayout385.xml"/><Relationship Id="rId10" Type="http://schemas.openxmlformats.org/officeDocument/2006/relationships/vmlDrawing" Target="../drawings/vmlDrawing62.vml"/><Relationship Id="rId4" Type="http://schemas.openxmlformats.org/officeDocument/2006/relationships/slideLayout" Target="../slideLayouts/slideLayout384.xml"/><Relationship Id="rId9" Type="http://schemas.openxmlformats.org/officeDocument/2006/relationships/theme" Target="../theme/theme57.xml"/></Relationships>
</file>

<file path=ppt/slideMasters/_rels/slideMaster5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96.xml"/><Relationship Id="rId13" Type="http://schemas.openxmlformats.org/officeDocument/2006/relationships/vmlDrawing" Target="../drawings/vmlDrawing66.vml"/><Relationship Id="rId3" Type="http://schemas.openxmlformats.org/officeDocument/2006/relationships/slideLayout" Target="../slideLayouts/slideLayout391.xml"/><Relationship Id="rId7" Type="http://schemas.openxmlformats.org/officeDocument/2006/relationships/slideLayout" Target="../slideLayouts/slideLayout395.xml"/><Relationship Id="rId12" Type="http://schemas.openxmlformats.org/officeDocument/2006/relationships/theme" Target="../theme/theme58.xml"/><Relationship Id="rId2" Type="http://schemas.openxmlformats.org/officeDocument/2006/relationships/slideLayout" Target="../slideLayouts/slideLayout390.xml"/><Relationship Id="rId1" Type="http://schemas.openxmlformats.org/officeDocument/2006/relationships/slideLayout" Target="../slideLayouts/slideLayout389.xml"/><Relationship Id="rId6" Type="http://schemas.openxmlformats.org/officeDocument/2006/relationships/slideLayout" Target="../slideLayouts/slideLayout394.xml"/><Relationship Id="rId11" Type="http://schemas.openxmlformats.org/officeDocument/2006/relationships/slideLayout" Target="../slideLayouts/slideLayout399.xml"/><Relationship Id="rId5" Type="http://schemas.openxmlformats.org/officeDocument/2006/relationships/slideLayout" Target="../slideLayouts/slideLayout393.xml"/><Relationship Id="rId15" Type="http://schemas.openxmlformats.org/officeDocument/2006/relationships/oleObject" Target="../embeddings/oleObject66.bin"/><Relationship Id="rId10" Type="http://schemas.openxmlformats.org/officeDocument/2006/relationships/slideLayout" Target="../slideLayouts/slideLayout398.xml"/><Relationship Id="rId4" Type="http://schemas.openxmlformats.org/officeDocument/2006/relationships/slideLayout" Target="../slideLayouts/slideLayout392.xml"/><Relationship Id="rId9" Type="http://schemas.openxmlformats.org/officeDocument/2006/relationships/slideLayout" Target="../slideLayouts/slideLayout397.xml"/><Relationship Id="rId14" Type="http://schemas.openxmlformats.org/officeDocument/2006/relationships/tags" Target="../tags/tag67.xml"/></Relationships>
</file>

<file path=ppt/slideMasters/_rels/slideMaster5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07.xml"/><Relationship Id="rId3" Type="http://schemas.openxmlformats.org/officeDocument/2006/relationships/slideLayout" Target="../slideLayouts/slideLayout402.xml"/><Relationship Id="rId7" Type="http://schemas.openxmlformats.org/officeDocument/2006/relationships/slideLayout" Target="../slideLayouts/slideLayout406.xml"/><Relationship Id="rId2" Type="http://schemas.openxmlformats.org/officeDocument/2006/relationships/slideLayout" Target="../slideLayouts/slideLayout401.xml"/><Relationship Id="rId1" Type="http://schemas.openxmlformats.org/officeDocument/2006/relationships/slideLayout" Target="../slideLayouts/slideLayout400.xml"/><Relationship Id="rId6" Type="http://schemas.openxmlformats.org/officeDocument/2006/relationships/slideLayout" Target="../slideLayouts/slideLayout405.xml"/><Relationship Id="rId5" Type="http://schemas.openxmlformats.org/officeDocument/2006/relationships/slideLayout" Target="../slideLayouts/slideLayout404.xml"/><Relationship Id="rId4" Type="http://schemas.openxmlformats.org/officeDocument/2006/relationships/slideLayout" Target="../slideLayouts/slideLayout403.xml"/><Relationship Id="rId9" Type="http://schemas.openxmlformats.org/officeDocument/2006/relationships/theme" Target="../theme/theme59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1.xml"/><Relationship Id="rId13" Type="http://schemas.openxmlformats.org/officeDocument/2006/relationships/oleObject" Target="../embeddings/oleObject13.bin"/><Relationship Id="rId3" Type="http://schemas.openxmlformats.org/officeDocument/2006/relationships/slideLayout" Target="../slideLayouts/slideLayout36.xml"/><Relationship Id="rId7" Type="http://schemas.openxmlformats.org/officeDocument/2006/relationships/slideLayout" Target="../slideLayouts/slideLayout40.xml"/><Relationship Id="rId12" Type="http://schemas.openxmlformats.org/officeDocument/2006/relationships/tags" Target="../tags/tag14.xml"/><Relationship Id="rId2" Type="http://schemas.openxmlformats.org/officeDocument/2006/relationships/slideLayout" Target="../slideLayouts/slideLayout35.xml"/><Relationship Id="rId1" Type="http://schemas.openxmlformats.org/officeDocument/2006/relationships/slideLayout" Target="../slideLayouts/slideLayout34.xml"/><Relationship Id="rId6" Type="http://schemas.openxmlformats.org/officeDocument/2006/relationships/slideLayout" Target="../slideLayouts/slideLayout39.xml"/><Relationship Id="rId11" Type="http://schemas.openxmlformats.org/officeDocument/2006/relationships/vmlDrawing" Target="../drawings/vmlDrawing13.vml"/><Relationship Id="rId5" Type="http://schemas.openxmlformats.org/officeDocument/2006/relationships/slideLayout" Target="../slideLayouts/slideLayout38.xml"/><Relationship Id="rId10" Type="http://schemas.openxmlformats.org/officeDocument/2006/relationships/theme" Target="../theme/theme6.xml"/><Relationship Id="rId4" Type="http://schemas.openxmlformats.org/officeDocument/2006/relationships/slideLayout" Target="../slideLayouts/slideLayout37.xml"/><Relationship Id="rId9" Type="http://schemas.openxmlformats.org/officeDocument/2006/relationships/slideLayout" Target="../slideLayouts/slideLayout42.xml"/></Relationships>
</file>

<file path=ppt/slideMasters/_rels/slideMaster6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10.xml"/><Relationship Id="rId2" Type="http://schemas.openxmlformats.org/officeDocument/2006/relationships/slideLayout" Target="../slideLayouts/slideLayout409.xml"/><Relationship Id="rId1" Type="http://schemas.openxmlformats.org/officeDocument/2006/relationships/slideLayout" Target="../slideLayouts/slideLayout408.xml"/><Relationship Id="rId5" Type="http://schemas.openxmlformats.org/officeDocument/2006/relationships/theme" Target="../theme/theme60.xml"/><Relationship Id="rId4" Type="http://schemas.openxmlformats.org/officeDocument/2006/relationships/slideLayout" Target="../slideLayouts/slideLayout411.xml"/></Relationships>
</file>

<file path=ppt/slideMasters/_rels/slideMaster6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14.xml"/><Relationship Id="rId2" Type="http://schemas.openxmlformats.org/officeDocument/2006/relationships/slideLayout" Target="../slideLayouts/slideLayout413.xml"/><Relationship Id="rId1" Type="http://schemas.openxmlformats.org/officeDocument/2006/relationships/slideLayout" Target="../slideLayouts/slideLayout412.xml"/><Relationship Id="rId5" Type="http://schemas.openxmlformats.org/officeDocument/2006/relationships/theme" Target="../theme/theme61.xml"/><Relationship Id="rId4" Type="http://schemas.openxmlformats.org/officeDocument/2006/relationships/slideLayout" Target="../slideLayouts/slideLayout415.xml"/></Relationships>
</file>

<file path=ppt/slideMasters/_rels/slideMaster6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18.xml"/><Relationship Id="rId2" Type="http://schemas.openxmlformats.org/officeDocument/2006/relationships/slideLayout" Target="../slideLayouts/slideLayout417.xml"/><Relationship Id="rId1" Type="http://schemas.openxmlformats.org/officeDocument/2006/relationships/slideLayout" Target="../slideLayouts/slideLayout416.xml"/><Relationship Id="rId5" Type="http://schemas.openxmlformats.org/officeDocument/2006/relationships/theme" Target="../theme/theme62.xml"/><Relationship Id="rId4" Type="http://schemas.openxmlformats.org/officeDocument/2006/relationships/slideLayout" Target="../slideLayouts/slideLayout419.xml"/></Relationships>
</file>

<file path=ppt/slideMasters/_rels/slideMaster6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27.xml"/><Relationship Id="rId3" Type="http://schemas.openxmlformats.org/officeDocument/2006/relationships/slideLayout" Target="../slideLayouts/slideLayout422.xml"/><Relationship Id="rId7" Type="http://schemas.openxmlformats.org/officeDocument/2006/relationships/slideLayout" Target="../slideLayouts/slideLayout426.xml"/><Relationship Id="rId2" Type="http://schemas.openxmlformats.org/officeDocument/2006/relationships/slideLayout" Target="../slideLayouts/slideLayout421.xml"/><Relationship Id="rId1" Type="http://schemas.openxmlformats.org/officeDocument/2006/relationships/slideLayout" Target="../slideLayouts/slideLayout420.xml"/><Relationship Id="rId6" Type="http://schemas.openxmlformats.org/officeDocument/2006/relationships/slideLayout" Target="../slideLayouts/slideLayout425.xml"/><Relationship Id="rId5" Type="http://schemas.openxmlformats.org/officeDocument/2006/relationships/slideLayout" Target="../slideLayouts/slideLayout424.xml"/><Relationship Id="rId4" Type="http://schemas.openxmlformats.org/officeDocument/2006/relationships/slideLayout" Target="../slideLayouts/slideLayout423.xml"/><Relationship Id="rId9" Type="http://schemas.openxmlformats.org/officeDocument/2006/relationships/theme" Target="../theme/theme63.xml"/></Relationships>
</file>

<file path=ppt/slideMasters/_rels/slideMaster6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30.xml"/><Relationship Id="rId2" Type="http://schemas.openxmlformats.org/officeDocument/2006/relationships/slideLayout" Target="../slideLayouts/slideLayout429.xml"/><Relationship Id="rId1" Type="http://schemas.openxmlformats.org/officeDocument/2006/relationships/slideLayout" Target="../slideLayouts/slideLayout428.xml"/><Relationship Id="rId5" Type="http://schemas.openxmlformats.org/officeDocument/2006/relationships/theme" Target="../theme/theme64.xml"/><Relationship Id="rId4" Type="http://schemas.openxmlformats.org/officeDocument/2006/relationships/slideLayout" Target="../slideLayouts/slideLayout431.xml"/></Relationships>
</file>

<file path=ppt/slideMasters/_rels/slideMaster6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39.xml"/><Relationship Id="rId3" Type="http://schemas.openxmlformats.org/officeDocument/2006/relationships/slideLayout" Target="../slideLayouts/slideLayout434.xml"/><Relationship Id="rId7" Type="http://schemas.openxmlformats.org/officeDocument/2006/relationships/slideLayout" Target="../slideLayouts/slideLayout438.xml"/><Relationship Id="rId12" Type="http://schemas.openxmlformats.org/officeDocument/2006/relationships/oleObject" Target="../embeddings/oleObject71.bin"/><Relationship Id="rId2" Type="http://schemas.openxmlformats.org/officeDocument/2006/relationships/slideLayout" Target="../slideLayouts/slideLayout433.xml"/><Relationship Id="rId1" Type="http://schemas.openxmlformats.org/officeDocument/2006/relationships/slideLayout" Target="../slideLayouts/slideLayout432.xml"/><Relationship Id="rId6" Type="http://schemas.openxmlformats.org/officeDocument/2006/relationships/slideLayout" Target="../slideLayouts/slideLayout437.xml"/><Relationship Id="rId11" Type="http://schemas.openxmlformats.org/officeDocument/2006/relationships/tags" Target="../tags/tag72.xml"/><Relationship Id="rId5" Type="http://schemas.openxmlformats.org/officeDocument/2006/relationships/slideLayout" Target="../slideLayouts/slideLayout436.xml"/><Relationship Id="rId10" Type="http://schemas.openxmlformats.org/officeDocument/2006/relationships/vmlDrawing" Target="../drawings/vmlDrawing71.vml"/><Relationship Id="rId4" Type="http://schemas.openxmlformats.org/officeDocument/2006/relationships/slideLayout" Target="../slideLayouts/slideLayout435.xml"/><Relationship Id="rId9" Type="http://schemas.openxmlformats.org/officeDocument/2006/relationships/theme" Target="../theme/theme65.xml"/></Relationships>
</file>

<file path=ppt/slideMasters/_rels/slideMaster6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47.xml"/><Relationship Id="rId3" Type="http://schemas.openxmlformats.org/officeDocument/2006/relationships/slideLayout" Target="../slideLayouts/slideLayout442.xml"/><Relationship Id="rId7" Type="http://schemas.openxmlformats.org/officeDocument/2006/relationships/slideLayout" Target="../slideLayouts/slideLayout446.xml"/><Relationship Id="rId12" Type="http://schemas.openxmlformats.org/officeDocument/2006/relationships/oleObject" Target="../embeddings/oleObject75.bin"/><Relationship Id="rId2" Type="http://schemas.openxmlformats.org/officeDocument/2006/relationships/slideLayout" Target="../slideLayouts/slideLayout441.xml"/><Relationship Id="rId1" Type="http://schemas.openxmlformats.org/officeDocument/2006/relationships/slideLayout" Target="../slideLayouts/slideLayout440.xml"/><Relationship Id="rId6" Type="http://schemas.openxmlformats.org/officeDocument/2006/relationships/slideLayout" Target="../slideLayouts/slideLayout445.xml"/><Relationship Id="rId11" Type="http://schemas.openxmlformats.org/officeDocument/2006/relationships/tags" Target="../tags/tag76.xml"/><Relationship Id="rId5" Type="http://schemas.openxmlformats.org/officeDocument/2006/relationships/slideLayout" Target="../slideLayouts/slideLayout444.xml"/><Relationship Id="rId10" Type="http://schemas.openxmlformats.org/officeDocument/2006/relationships/vmlDrawing" Target="../drawings/vmlDrawing75.vml"/><Relationship Id="rId4" Type="http://schemas.openxmlformats.org/officeDocument/2006/relationships/slideLayout" Target="../slideLayouts/slideLayout443.xml"/><Relationship Id="rId9" Type="http://schemas.openxmlformats.org/officeDocument/2006/relationships/theme" Target="../theme/theme66.xml"/></Relationships>
</file>

<file path=ppt/slideMasters/_rels/slideMaster6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55.xml"/><Relationship Id="rId3" Type="http://schemas.openxmlformats.org/officeDocument/2006/relationships/slideLayout" Target="../slideLayouts/slideLayout450.xml"/><Relationship Id="rId7" Type="http://schemas.openxmlformats.org/officeDocument/2006/relationships/slideLayout" Target="../slideLayouts/slideLayout454.xml"/><Relationship Id="rId12" Type="http://schemas.openxmlformats.org/officeDocument/2006/relationships/oleObject" Target="../embeddings/oleObject76.bin"/><Relationship Id="rId2" Type="http://schemas.openxmlformats.org/officeDocument/2006/relationships/slideLayout" Target="../slideLayouts/slideLayout449.xml"/><Relationship Id="rId1" Type="http://schemas.openxmlformats.org/officeDocument/2006/relationships/slideLayout" Target="../slideLayouts/slideLayout448.xml"/><Relationship Id="rId6" Type="http://schemas.openxmlformats.org/officeDocument/2006/relationships/slideLayout" Target="../slideLayouts/slideLayout453.xml"/><Relationship Id="rId11" Type="http://schemas.openxmlformats.org/officeDocument/2006/relationships/tags" Target="../tags/tag77.xml"/><Relationship Id="rId5" Type="http://schemas.openxmlformats.org/officeDocument/2006/relationships/slideLayout" Target="../slideLayouts/slideLayout452.xml"/><Relationship Id="rId10" Type="http://schemas.openxmlformats.org/officeDocument/2006/relationships/vmlDrawing" Target="../drawings/vmlDrawing76.vml"/><Relationship Id="rId4" Type="http://schemas.openxmlformats.org/officeDocument/2006/relationships/slideLayout" Target="../slideLayouts/slideLayout451.xml"/><Relationship Id="rId9" Type="http://schemas.openxmlformats.org/officeDocument/2006/relationships/theme" Target="../theme/theme67.xml"/></Relationships>
</file>

<file path=ppt/slideMasters/_rels/slideMaster6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63.xml"/><Relationship Id="rId13" Type="http://schemas.openxmlformats.org/officeDocument/2006/relationships/tags" Target="../tags/tag81.xml"/><Relationship Id="rId3" Type="http://schemas.openxmlformats.org/officeDocument/2006/relationships/slideLayout" Target="../slideLayouts/slideLayout458.xml"/><Relationship Id="rId7" Type="http://schemas.openxmlformats.org/officeDocument/2006/relationships/slideLayout" Target="../slideLayouts/slideLayout462.xml"/><Relationship Id="rId12" Type="http://schemas.openxmlformats.org/officeDocument/2006/relationships/vmlDrawing" Target="../drawings/vmlDrawing80.vml"/><Relationship Id="rId2" Type="http://schemas.openxmlformats.org/officeDocument/2006/relationships/slideLayout" Target="../slideLayouts/slideLayout457.xml"/><Relationship Id="rId1" Type="http://schemas.openxmlformats.org/officeDocument/2006/relationships/slideLayout" Target="../slideLayouts/slideLayout456.xml"/><Relationship Id="rId6" Type="http://schemas.openxmlformats.org/officeDocument/2006/relationships/slideLayout" Target="../slideLayouts/slideLayout461.xml"/><Relationship Id="rId11" Type="http://schemas.openxmlformats.org/officeDocument/2006/relationships/theme" Target="../theme/theme68.xml"/><Relationship Id="rId5" Type="http://schemas.openxmlformats.org/officeDocument/2006/relationships/slideLayout" Target="../slideLayouts/slideLayout460.xml"/><Relationship Id="rId10" Type="http://schemas.openxmlformats.org/officeDocument/2006/relationships/slideLayout" Target="../slideLayouts/slideLayout465.xml"/><Relationship Id="rId4" Type="http://schemas.openxmlformats.org/officeDocument/2006/relationships/slideLayout" Target="../slideLayouts/slideLayout459.xml"/><Relationship Id="rId9" Type="http://schemas.openxmlformats.org/officeDocument/2006/relationships/slideLayout" Target="../slideLayouts/slideLayout464.xml"/><Relationship Id="rId14" Type="http://schemas.openxmlformats.org/officeDocument/2006/relationships/oleObject" Target="../embeddings/oleObject80.bin"/></Relationships>
</file>

<file path=ppt/slideMasters/_rels/slideMaster6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73.xml"/><Relationship Id="rId3" Type="http://schemas.openxmlformats.org/officeDocument/2006/relationships/slideLayout" Target="../slideLayouts/slideLayout468.xml"/><Relationship Id="rId7" Type="http://schemas.openxmlformats.org/officeDocument/2006/relationships/slideLayout" Target="../slideLayouts/slideLayout472.xml"/><Relationship Id="rId2" Type="http://schemas.openxmlformats.org/officeDocument/2006/relationships/slideLayout" Target="../slideLayouts/slideLayout467.xml"/><Relationship Id="rId1" Type="http://schemas.openxmlformats.org/officeDocument/2006/relationships/slideLayout" Target="../slideLayouts/slideLayout466.xml"/><Relationship Id="rId6" Type="http://schemas.openxmlformats.org/officeDocument/2006/relationships/slideLayout" Target="../slideLayouts/slideLayout471.xml"/><Relationship Id="rId5" Type="http://schemas.openxmlformats.org/officeDocument/2006/relationships/slideLayout" Target="../slideLayouts/slideLayout470.xml"/><Relationship Id="rId4" Type="http://schemas.openxmlformats.org/officeDocument/2006/relationships/slideLayout" Target="../slideLayouts/slideLayout469.xml"/><Relationship Id="rId9" Type="http://schemas.openxmlformats.org/officeDocument/2006/relationships/theme" Target="../theme/theme69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0.xml"/><Relationship Id="rId3" Type="http://schemas.openxmlformats.org/officeDocument/2006/relationships/slideLayout" Target="../slideLayouts/slideLayout45.xml"/><Relationship Id="rId7" Type="http://schemas.openxmlformats.org/officeDocument/2006/relationships/slideLayout" Target="../slideLayouts/slideLayout49.xml"/><Relationship Id="rId12" Type="http://schemas.openxmlformats.org/officeDocument/2006/relationships/oleObject" Target="../embeddings/oleObject18.bin"/><Relationship Id="rId2" Type="http://schemas.openxmlformats.org/officeDocument/2006/relationships/slideLayout" Target="../slideLayouts/slideLayout44.xml"/><Relationship Id="rId1" Type="http://schemas.openxmlformats.org/officeDocument/2006/relationships/slideLayout" Target="../slideLayouts/slideLayout43.xml"/><Relationship Id="rId6" Type="http://schemas.openxmlformats.org/officeDocument/2006/relationships/slideLayout" Target="../slideLayouts/slideLayout48.xml"/><Relationship Id="rId11" Type="http://schemas.openxmlformats.org/officeDocument/2006/relationships/tags" Target="../tags/tag19.xml"/><Relationship Id="rId5" Type="http://schemas.openxmlformats.org/officeDocument/2006/relationships/slideLayout" Target="../slideLayouts/slideLayout47.xml"/><Relationship Id="rId10" Type="http://schemas.openxmlformats.org/officeDocument/2006/relationships/vmlDrawing" Target="../drawings/vmlDrawing18.vml"/><Relationship Id="rId4" Type="http://schemas.openxmlformats.org/officeDocument/2006/relationships/slideLayout" Target="../slideLayouts/slideLayout46.xml"/><Relationship Id="rId9" Type="http://schemas.openxmlformats.org/officeDocument/2006/relationships/theme" Target="../theme/theme7.xml"/></Relationships>
</file>

<file path=ppt/slideMasters/_rels/slideMaster7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81.xml"/><Relationship Id="rId3" Type="http://schemas.openxmlformats.org/officeDocument/2006/relationships/slideLayout" Target="../slideLayouts/slideLayout476.xml"/><Relationship Id="rId7" Type="http://schemas.openxmlformats.org/officeDocument/2006/relationships/slideLayout" Target="../slideLayouts/slideLayout480.xml"/><Relationship Id="rId2" Type="http://schemas.openxmlformats.org/officeDocument/2006/relationships/slideLayout" Target="../slideLayouts/slideLayout475.xml"/><Relationship Id="rId1" Type="http://schemas.openxmlformats.org/officeDocument/2006/relationships/slideLayout" Target="../slideLayouts/slideLayout474.xml"/><Relationship Id="rId6" Type="http://schemas.openxmlformats.org/officeDocument/2006/relationships/slideLayout" Target="../slideLayouts/slideLayout479.xml"/><Relationship Id="rId11" Type="http://schemas.openxmlformats.org/officeDocument/2006/relationships/theme" Target="../theme/theme70.xml"/><Relationship Id="rId5" Type="http://schemas.openxmlformats.org/officeDocument/2006/relationships/slideLayout" Target="../slideLayouts/slideLayout478.xml"/><Relationship Id="rId10" Type="http://schemas.openxmlformats.org/officeDocument/2006/relationships/slideLayout" Target="../slideLayouts/slideLayout483.xml"/><Relationship Id="rId4" Type="http://schemas.openxmlformats.org/officeDocument/2006/relationships/slideLayout" Target="../slideLayouts/slideLayout477.xml"/><Relationship Id="rId9" Type="http://schemas.openxmlformats.org/officeDocument/2006/relationships/slideLayout" Target="../slideLayouts/slideLayout482.xml"/></Relationships>
</file>

<file path=ppt/slideMasters/_rels/slideMaster71.xml.rels><?xml version="1.0" encoding="UTF-8" standalone="yes"?>
<Relationships xmlns="http://schemas.openxmlformats.org/package/2006/relationships"><Relationship Id="rId3" Type="http://schemas.openxmlformats.org/officeDocument/2006/relationships/theme" Target="../theme/theme71.xml"/><Relationship Id="rId2" Type="http://schemas.openxmlformats.org/officeDocument/2006/relationships/slideLayout" Target="../slideLayouts/slideLayout485.xml"/><Relationship Id="rId1" Type="http://schemas.openxmlformats.org/officeDocument/2006/relationships/slideLayout" Target="../slideLayouts/slideLayout484.xml"/><Relationship Id="rId6" Type="http://schemas.openxmlformats.org/officeDocument/2006/relationships/oleObject" Target="../embeddings/oleObject85.bin"/><Relationship Id="rId5" Type="http://schemas.openxmlformats.org/officeDocument/2006/relationships/tags" Target="../tags/tag86.xml"/><Relationship Id="rId4" Type="http://schemas.openxmlformats.org/officeDocument/2006/relationships/vmlDrawing" Target="../drawings/vmlDrawing85.vml"/></Relationships>
</file>

<file path=ppt/slideMasters/_rels/slideMaster7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93.xml"/><Relationship Id="rId3" Type="http://schemas.openxmlformats.org/officeDocument/2006/relationships/slideLayout" Target="../slideLayouts/slideLayout488.xml"/><Relationship Id="rId7" Type="http://schemas.openxmlformats.org/officeDocument/2006/relationships/slideLayout" Target="../slideLayouts/slideLayout492.xml"/><Relationship Id="rId2" Type="http://schemas.openxmlformats.org/officeDocument/2006/relationships/slideLayout" Target="../slideLayouts/slideLayout487.xml"/><Relationship Id="rId1" Type="http://schemas.openxmlformats.org/officeDocument/2006/relationships/slideLayout" Target="../slideLayouts/slideLayout486.xml"/><Relationship Id="rId6" Type="http://schemas.openxmlformats.org/officeDocument/2006/relationships/slideLayout" Target="../slideLayouts/slideLayout491.xml"/><Relationship Id="rId5" Type="http://schemas.openxmlformats.org/officeDocument/2006/relationships/slideLayout" Target="../slideLayouts/slideLayout490.xml"/><Relationship Id="rId4" Type="http://schemas.openxmlformats.org/officeDocument/2006/relationships/slideLayout" Target="../slideLayouts/slideLayout489.xml"/><Relationship Id="rId9" Type="http://schemas.openxmlformats.org/officeDocument/2006/relationships/theme" Target="../theme/theme72.xml"/></Relationships>
</file>

<file path=ppt/slideMasters/_rels/slideMaster7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01.xml"/><Relationship Id="rId3" Type="http://schemas.openxmlformats.org/officeDocument/2006/relationships/slideLayout" Target="../slideLayouts/slideLayout496.xml"/><Relationship Id="rId7" Type="http://schemas.openxmlformats.org/officeDocument/2006/relationships/slideLayout" Target="../slideLayouts/slideLayout500.xml"/><Relationship Id="rId12" Type="http://schemas.openxmlformats.org/officeDocument/2006/relationships/oleObject" Target="../embeddings/oleObject86.bin"/><Relationship Id="rId2" Type="http://schemas.openxmlformats.org/officeDocument/2006/relationships/slideLayout" Target="../slideLayouts/slideLayout495.xml"/><Relationship Id="rId1" Type="http://schemas.openxmlformats.org/officeDocument/2006/relationships/slideLayout" Target="../slideLayouts/slideLayout494.xml"/><Relationship Id="rId6" Type="http://schemas.openxmlformats.org/officeDocument/2006/relationships/slideLayout" Target="../slideLayouts/slideLayout499.xml"/><Relationship Id="rId11" Type="http://schemas.openxmlformats.org/officeDocument/2006/relationships/tags" Target="../tags/tag87.xml"/><Relationship Id="rId5" Type="http://schemas.openxmlformats.org/officeDocument/2006/relationships/slideLayout" Target="../slideLayouts/slideLayout498.xml"/><Relationship Id="rId10" Type="http://schemas.openxmlformats.org/officeDocument/2006/relationships/vmlDrawing" Target="../drawings/vmlDrawing86.vml"/><Relationship Id="rId4" Type="http://schemas.openxmlformats.org/officeDocument/2006/relationships/slideLayout" Target="../slideLayouts/slideLayout497.xml"/><Relationship Id="rId9" Type="http://schemas.openxmlformats.org/officeDocument/2006/relationships/theme" Target="../theme/theme73.xml"/></Relationships>
</file>

<file path=ppt/slideMasters/_rels/slideMaster7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09.xml"/><Relationship Id="rId3" Type="http://schemas.openxmlformats.org/officeDocument/2006/relationships/slideLayout" Target="../slideLayouts/slideLayout504.xml"/><Relationship Id="rId7" Type="http://schemas.openxmlformats.org/officeDocument/2006/relationships/slideLayout" Target="../slideLayouts/slideLayout508.xml"/><Relationship Id="rId12" Type="http://schemas.openxmlformats.org/officeDocument/2006/relationships/oleObject" Target="../embeddings/oleObject90.bin"/><Relationship Id="rId2" Type="http://schemas.openxmlformats.org/officeDocument/2006/relationships/slideLayout" Target="../slideLayouts/slideLayout503.xml"/><Relationship Id="rId1" Type="http://schemas.openxmlformats.org/officeDocument/2006/relationships/slideLayout" Target="../slideLayouts/slideLayout502.xml"/><Relationship Id="rId6" Type="http://schemas.openxmlformats.org/officeDocument/2006/relationships/slideLayout" Target="../slideLayouts/slideLayout507.xml"/><Relationship Id="rId11" Type="http://schemas.openxmlformats.org/officeDocument/2006/relationships/tags" Target="../tags/tag91.xml"/><Relationship Id="rId5" Type="http://schemas.openxmlformats.org/officeDocument/2006/relationships/slideLayout" Target="../slideLayouts/slideLayout506.xml"/><Relationship Id="rId10" Type="http://schemas.openxmlformats.org/officeDocument/2006/relationships/vmlDrawing" Target="../drawings/vmlDrawing90.vml"/><Relationship Id="rId4" Type="http://schemas.openxmlformats.org/officeDocument/2006/relationships/slideLayout" Target="../slideLayouts/slideLayout505.xml"/><Relationship Id="rId9" Type="http://schemas.openxmlformats.org/officeDocument/2006/relationships/theme" Target="../theme/theme74.xml"/></Relationships>
</file>

<file path=ppt/slideMasters/_rels/slideMaster7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12.xml"/><Relationship Id="rId2" Type="http://schemas.openxmlformats.org/officeDocument/2006/relationships/slideLayout" Target="../slideLayouts/slideLayout511.xml"/><Relationship Id="rId1" Type="http://schemas.openxmlformats.org/officeDocument/2006/relationships/slideLayout" Target="../slideLayouts/slideLayout510.xml"/><Relationship Id="rId5" Type="http://schemas.openxmlformats.org/officeDocument/2006/relationships/theme" Target="../theme/theme75.xml"/><Relationship Id="rId4" Type="http://schemas.openxmlformats.org/officeDocument/2006/relationships/slideLayout" Target="../slideLayouts/slideLayout513.xml"/></Relationships>
</file>

<file path=ppt/slideMasters/_rels/slideMaster7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21.xml"/><Relationship Id="rId13" Type="http://schemas.openxmlformats.org/officeDocument/2006/relationships/vmlDrawing" Target="../drawings/vmlDrawing94.vml"/><Relationship Id="rId3" Type="http://schemas.openxmlformats.org/officeDocument/2006/relationships/slideLayout" Target="../slideLayouts/slideLayout516.xml"/><Relationship Id="rId7" Type="http://schemas.openxmlformats.org/officeDocument/2006/relationships/slideLayout" Target="../slideLayouts/slideLayout520.xml"/><Relationship Id="rId12" Type="http://schemas.openxmlformats.org/officeDocument/2006/relationships/theme" Target="../theme/theme76.xml"/><Relationship Id="rId2" Type="http://schemas.openxmlformats.org/officeDocument/2006/relationships/slideLayout" Target="../slideLayouts/slideLayout515.xml"/><Relationship Id="rId1" Type="http://schemas.openxmlformats.org/officeDocument/2006/relationships/slideLayout" Target="../slideLayouts/slideLayout514.xml"/><Relationship Id="rId6" Type="http://schemas.openxmlformats.org/officeDocument/2006/relationships/slideLayout" Target="../slideLayouts/slideLayout519.xml"/><Relationship Id="rId11" Type="http://schemas.openxmlformats.org/officeDocument/2006/relationships/slideLayout" Target="../slideLayouts/slideLayout524.xml"/><Relationship Id="rId5" Type="http://schemas.openxmlformats.org/officeDocument/2006/relationships/slideLayout" Target="../slideLayouts/slideLayout518.xml"/><Relationship Id="rId15" Type="http://schemas.openxmlformats.org/officeDocument/2006/relationships/oleObject" Target="../embeddings/oleObject94.bin"/><Relationship Id="rId10" Type="http://schemas.openxmlformats.org/officeDocument/2006/relationships/slideLayout" Target="../slideLayouts/slideLayout523.xml"/><Relationship Id="rId4" Type="http://schemas.openxmlformats.org/officeDocument/2006/relationships/slideLayout" Target="../slideLayouts/slideLayout517.xml"/><Relationship Id="rId9" Type="http://schemas.openxmlformats.org/officeDocument/2006/relationships/slideLayout" Target="../slideLayouts/slideLayout522.xml"/><Relationship Id="rId14" Type="http://schemas.openxmlformats.org/officeDocument/2006/relationships/tags" Target="../tags/tag95.xml"/></Relationships>
</file>

<file path=ppt/slideMasters/_rels/slideMaster7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27.xml"/><Relationship Id="rId2" Type="http://schemas.openxmlformats.org/officeDocument/2006/relationships/slideLayout" Target="../slideLayouts/slideLayout526.xml"/><Relationship Id="rId1" Type="http://schemas.openxmlformats.org/officeDocument/2006/relationships/slideLayout" Target="../slideLayouts/slideLayout525.xml"/><Relationship Id="rId5" Type="http://schemas.openxmlformats.org/officeDocument/2006/relationships/theme" Target="../theme/theme77.xml"/><Relationship Id="rId4" Type="http://schemas.openxmlformats.org/officeDocument/2006/relationships/slideLayout" Target="../slideLayouts/slideLayout528.xml"/></Relationships>
</file>

<file path=ppt/slideMasters/_rels/slideMaster7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31.xml"/><Relationship Id="rId2" Type="http://schemas.openxmlformats.org/officeDocument/2006/relationships/slideLayout" Target="../slideLayouts/slideLayout530.xml"/><Relationship Id="rId1" Type="http://schemas.openxmlformats.org/officeDocument/2006/relationships/slideLayout" Target="../slideLayouts/slideLayout529.xml"/><Relationship Id="rId5" Type="http://schemas.openxmlformats.org/officeDocument/2006/relationships/theme" Target="../theme/theme78.xml"/><Relationship Id="rId4" Type="http://schemas.openxmlformats.org/officeDocument/2006/relationships/slideLayout" Target="../slideLayouts/slideLayout532.xml"/></Relationships>
</file>

<file path=ppt/slideMasters/_rels/slideMaster7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35.xml"/><Relationship Id="rId2" Type="http://schemas.openxmlformats.org/officeDocument/2006/relationships/slideLayout" Target="../slideLayouts/slideLayout534.xml"/><Relationship Id="rId1" Type="http://schemas.openxmlformats.org/officeDocument/2006/relationships/slideLayout" Target="../slideLayouts/slideLayout533.xml"/><Relationship Id="rId5" Type="http://schemas.openxmlformats.org/officeDocument/2006/relationships/theme" Target="../theme/theme79.xml"/><Relationship Id="rId4" Type="http://schemas.openxmlformats.org/officeDocument/2006/relationships/slideLayout" Target="../slideLayouts/slideLayout536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8.xml"/><Relationship Id="rId3" Type="http://schemas.openxmlformats.org/officeDocument/2006/relationships/slideLayout" Target="../slideLayouts/slideLayout53.xml"/><Relationship Id="rId7" Type="http://schemas.openxmlformats.org/officeDocument/2006/relationships/slideLayout" Target="../slideLayouts/slideLayout57.xml"/><Relationship Id="rId12" Type="http://schemas.openxmlformats.org/officeDocument/2006/relationships/oleObject" Target="../embeddings/oleObject22.bin"/><Relationship Id="rId2" Type="http://schemas.openxmlformats.org/officeDocument/2006/relationships/slideLayout" Target="../slideLayouts/slideLayout52.xml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11" Type="http://schemas.openxmlformats.org/officeDocument/2006/relationships/tags" Target="../tags/tag23.xml"/><Relationship Id="rId5" Type="http://schemas.openxmlformats.org/officeDocument/2006/relationships/slideLayout" Target="../slideLayouts/slideLayout55.xml"/><Relationship Id="rId10" Type="http://schemas.openxmlformats.org/officeDocument/2006/relationships/vmlDrawing" Target="../drawings/vmlDrawing22.vml"/><Relationship Id="rId4" Type="http://schemas.openxmlformats.org/officeDocument/2006/relationships/slideLayout" Target="../slideLayouts/slideLayout54.xml"/><Relationship Id="rId9" Type="http://schemas.openxmlformats.org/officeDocument/2006/relationships/theme" Target="../theme/theme8.xml"/></Relationships>
</file>

<file path=ppt/slideMasters/_rels/slideMaster8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44.xml"/><Relationship Id="rId3" Type="http://schemas.openxmlformats.org/officeDocument/2006/relationships/slideLayout" Target="../slideLayouts/slideLayout539.xml"/><Relationship Id="rId7" Type="http://schemas.openxmlformats.org/officeDocument/2006/relationships/slideLayout" Target="../slideLayouts/slideLayout543.xml"/><Relationship Id="rId2" Type="http://schemas.openxmlformats.org/officeDocument/2006/relationships/slideLayout" Target="../slideLayouts/slideLayout538.xml"/><Relationship Id="rId1" Type="http://schemas.openxmlformats.org/officeDocument/2006/relationships/slideLayout" Target="../slideLayouts/slideLayout537.xml"/><Relationship Id="rId6" Type="http://schemas.openxmlformats.org/officeDocument/2006/relationships/slideLayout" Target="../slideLayouts/slideLayout542.xml"/><Relationship Id="rId11" Type="http://schemas.openxmlformats.org/officeDocument/2006/relationships/theme" Target="../theme/theme80.xml"/><Relationship Id="rId5" Type="http://schemas.openxmlformats.org/officeDocument/2006/relationships/slideLayout" Target="../slideLayouts/slideLayout541.xml"/><Relationship Id="rId10" Type="http://schemas.openxmlformats.org/officeDocument/2006/relationships/slideLayout" Target="../slideLayouts/slideLayout546.xml"/><Relationship Id="rId4" Type="http://schemas.openxmlformats.org/officeDocument/2006/relationships/slideLayout" Target="../slideLayouts/slideLayout540.xml"/><Relationship Id="rId9" Type="http://schemas.openxmlformats.org/officeDocument/2006/relationships/slideLayout" Target="../slideLayouts/slideLayout545.xml"/></Relationships>
</file>

<file path=ppt/slideMasters/_rels/slideMaster81.xml.rels><?xml version="1.0" encoding="UTF-8" standalone="yes"?>
<Relationships xmlns="http://schemas.openxmlformats.org/package/2006/relationships"><Relationship Id="rId3" Type="http://schemas.openxmlformats.org/officeDocument/2006/relationships/theme" Target="../theme/theme81.xml"/><Relationship Id="rId2" Type="http://schemas.openxmlformats.org/officeDocument/2006/relationships/slideLayout" Target="../slideLayouts/slideLayout548.xml"/><Relationship Id="rId1" Type="http://schemas.openxmlformats.org/officeDocument/2006/relationships/slideLayout" Target="../slideLayouts/slideLayout547.xml"/><Relationship Id="rId6" Type="http://schemas.openxmlformats.org/officeDocument/2006/relationships/oleObject" Target="../embeddings/oleObject96.bin"/><Relationship Id="rId5" Type="http://schemas.openxmlformats.org/officeDocument/2006/relationships/tags" Target="../tags/tag97.xml"/><Relationship Id="rId4" Type="http://schemas.openxmlformats.org/officeDocument/2006/relationships/vmlDrawing" Target="../drawings/vmlDrawing96.vml"/></Relationships>
</file>

<file path=ppt/slideMasters/_rels/slideMaster8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56.xml"/><Relationship Id="rId13" Type="http://schemas.openxmlformats.org/officeDocument/2006/relationships/tags" Target="../tags/tag98.xml"/><Relationship Id="rId3" Type="http://schemas.openxmlformats.org/officeDocument/2006/relationships/slideLayout" Target="../slideLayouts/slideLayout551.xml"/><Relationship Id="rId7" Type="http://schemas.openxmlformats.org/officeDocument/2006/relationships/slideLayout" Target="../slideLayouts/slideLayout555.xml"/><Relationship Id="rId12" Type="http://schemas.openxmlformats.org/officeDocument/2006/relationships/vmlDrawing" Target="../drawings/vmlDrawing97.vml"/><Relationship Id="rId2" Type="http://schemas.openxmlformats.org/officeDocument/2006/relationships/slideLayout" Target="../slideLayouts/slideLayout550.xml"/><Relationship Id="rId1" Type="http://schemas.openxmlformats.org/officeDocument/2006/relationships/slideLayout" Target="../slideLayouts/slideLayout549.xml"/><Relationship Id="rId6" Type="http://schemas.openxmlformats.org/officeDocument/2006/relationships/slideLayout" Target="../slideLayouts/slideLayout554.xml"/><Relationship Id="rId11" Type="http://schemas.openxmlformats.org/officeDocument/2006/relationships/theme" Target="../theme/theme82.xml"/><Relationship Id="rId5" Type="http://schemas.openxmlformats.org/officeDocument/2006/relationships/slideLayout" Target="../slideLayouts/slideLayout553.xml"/><Relationship Id="rId10" Type="http://schemas.openxmlformats.org/officeDocument/2006/relationships/slideLayout" Target="../slideLayouts/slideLayout558.xml"/><Relationship Id="rId4" Type="http://schemas.openxmlformats.org/officeDocument/2006/relationships/slideLayout" Target="../slideLayouts/slideLayout552.xml"/><Relationship Id="rId9" Type="http://schemas.openxmlformats.org/officeDocument/2006/relationships/slideLayout" Target="../slideLayouts/slideLayout557.xml"/><Relationship Id="rId14" Type="http://schemas.openxmlformats.org/officeDocument/2006/relationships/oleObject" Target="../embeddings/oleObject97.bin"/></Relationships>
</file>

<file path=ppt/slideMasters/_rels/slideMaster8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66.xml"/><Relationship Id="rId3" Type="http://schemas.openxmlformats.org/officeDocument/2006/relationships/slideLayout" Target="../slideLayouts/slideLayout561.xml"/><Relationship Id="rId7" Type="http://schemas.openxmlformats.org/officeDocument/2006/relationships/slideLayout" Target="../slideLayouts/slideLayout565.xml"/><Relationship Id="rId2" Type="http://schemas.openxmlformats.org/officeDocument/2006/relationships/slideLayout" Target="../slideLayouts/slideLayout560.xml"/><Relationship Id="rId1" Type="http://schemas.openxmlformats.org/officeDocument/2006/relationships/slideLayout" Target="../slideLayouts/slideLayout559.xml"/><Relationship Id="rId6" Type="http://schemas.openxmlformats.org/officeDocument/2006/relationships/slideLayout" Target="../slideLayouts/slideLayout564.xml"/><Relationship Id="rId5" Type="http://schemas.openxmlformats.org/officeDocument/2006/relationships/slideLayout" Target="../slideLayouts/slideLayout563.xml"/><Relationship Id="rId10" Type="http://schemas.openxmlformats.org/officeDocument/2006/relationships/theme" Target="../theme/theme83.xml"/><Relationship Id="rId4" Type="http://schemas.openxmlformats.org/officeDocument/2006/relationships/slideLayout" Target="../slideLayouts/slideLayout562.xml"/><Relationship Id="rId9" Type="http://schemas.openxmlformats.org/officeDocument/2006/relationships/slideLayout" Target="../slideLayouts/slideLayout567.xml"/></Relationships>
</file>

<file path=ppt/slideMasters/_rels/slideMaster8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75.xml"/><Relationship Id="rId3" Type="http://schemas.openxmlformats.org/officeDocument/2006/relationships/slideLayout" Target="../slideLayouts/slideLayout570.xml"/><Relationship Id="rId7" Type="http://schemas.openxmlformats.org/officeDocument/2006/relationships/slideLayout" Target="../slideLayouts/slideLayout574.xml"/><Relationship Id="rId12" Type="http://schemas.openxmlformats.org/officeDocument/2006/relationships/oleObject" Target="../embeddings/oleObject102.bin"/><Relationship Id="rId2" Type="http://schemas.openxmlformats.org/officeDocument/2006/relationships/slideLayout" Target="../slideLayouts/slideLayout569.xml"/><Relationship Id="rId1" Type="http://schemas.openxmlformats.org/officeDocument/2006/relationships/slideLayout" Target="../slideLayouts/slideLayout568.xml"/><Relationship Id="rId6" Type="http://schemas.openxmlformats.org/officeDocument/2006/relationships/slideLayout" Target="../slideLayouts/slideLayout573.xml"/><Relationship Id="rId11" Type="http://schemas.openxmlformats.org/officeDocument/2006/relationships/tags" Target="../tags/tag103.xml"/><Relationship Id="rId5" Type="http://schemas.openxmlformats.org/officeDocument/2006/relationships/slideLayout" Target="../slideLayouts/slideLayout572.xml"/><Relationship Id="rId10" Type="http://schemas.openxmlformats.org/officeDocument/2006/relationships/vmlDrawing" Target="../drawings/vmlDrawing102.vml"/><Relationship Id="rId4" Type="http://schemas.openxmlformats.org/officeDocument/2006/relationships/slideLayout" Target="../slideLayouts/slideLayout571.xml"/><Relationship Id="rId9" Type="http://schemas.openxmlformats.org/officeDocument/2006/relationships/theme" Target="../theme/theme84.xml"/></Relationships>
</file>

<file path=ppt/slideMasters/_rels/slideMaster8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83.xml"/><Relationship Id="rId13" Type="http://schemas.openxmlformats.org/officeDocument/2006/relationships/tags" Target="../tags/tag104.xml"/><Relationship Id="rId3" Type="http://schemas.openxmlformats.org/officeDocument/2006/relationships/slideLayout" Target="../slideLayouts/slideLayout578.xml"/><Relationship Id="rId7" Type="http://schemas.openxmlformats.org/officeDocument/2006/relationships/slideLayout" Target="../slideLayouts/slideLayout582.xml"/><Relationship Id="rId12" Type="http://schemas.openxmlformats.org/officeDocument/2006/relationships/vmlDrawing" Target="../drawings/vmlDrawing103.vml"/><Relationship Id="rId2" Type="http://schemas.openxmlformats.org/officeDocument/2006/relationships/slideLayout" Target="../slideLayouts/slideLayout577.xml"/><Relationship Id="rId1" Type="http://schemas.openxmlformats.org/officeDocument/2006/relationships/slideLayout" Target="../slideLayouts/slideLayout576.xml"/><Relationship Id="rId6" Type="http://schemas.openxmlformats.org/officeDocument/2006/relationships/slideLayout" Target="../slideLayouts/slideLayout581.xml"/><Relationship Id="rId11" Type="http://schemas.openxmlformats.org/officeDocument/2006/relationships/theme" Target="../theme/theme85.xml"/><Relationship Id="rId5" Type="http://schemas.openxmlformats.org/officeDocument/2006/relationships/slideLayout" Target="../slideLayouts/slideLayout580.xml"/><Relationship Id="rId10" Type="http://schemas.openxmlformats.org/officeDocument/2006/relationships/slideLayout" Target="../slideLayouts/slideLayout585.xml"/><Relationship Id="rId4" Type="http://schemas.openxmlformats.org/officeDocument/2006/relationships/slideLayout" Target="../slideLayouts/slideLayout579.xml"/><Relationship Id="rId9" Type="http://schemas.openxmlformats.org/officeDocument/2006/relationships/slideLayout" Target="../slideLayouts/slideLayout584.xml"/><Relationship Id="rId14" Type="http://schemas.openxmlformats.org/officeDocument/2006/relationships/oleObject" Target="../embeddings/oleObject103.bin"/></Relationships>
</file>

<file path=ppt/slideMasters/_rels/slideMaster8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93.xml"/><Relationship Id="rId3" Type="http://schemas.openxmlformats.org/officeDocument/2006/relationships/slideLayout" Target="../slideLayouts/slideLayout588.xml"/><Relationship Id="rId7" Type="http://schemas.openxmlformats.org/officeDocument/2006/relationships/slideLayout" Target="../slideLayouts/slideLayout592.xml"/><Relationship Id="rId12" Type="http://schemas.openxmlformats.org/officeDocument/2006/relationships/oleObject" Target="../embeddings/oleObject108.bin"/><Relationship Id="rId2" Type="http://schemas.openxmlformats.org/officeDocument/2006/relationships/slideLayout" Target="../slideLayouts/slideLayout587.xml"/><Relationship Id="rId1" Type="http://schemas.openxmlformats.org/officeDocument/2006/relationships/slideLayout" Target="../slideLayouts/slideLayout586.xml"/><Relationship Id="rId6" Type="http://schemas.openxmlformats.org/officeDocument/2006/relationships/slideLayout" Target="../slideLayouts/slideLayout591.xml"/><Relationship Id="rId11" Type="http://schemas.openxmlformats.org/officeDocument/2006/relationships/tags" Target="../tags/tag109.xml"/><Relationship Id="rId5" Type="http://schemas.openxmlformats.org/officeDocument/2006/relationships/slideLayout" Target="../slideLayouts/slideLayout590.xml"/><Relationship Id="rId10" Type="http://schemas.openxmlformats.org/officeDocument/2006/relationships/vmlDrawing" Target="../drawings/vmlDrawing108.vml"/><Relationship Id="rId4" Type="http://schemas.openxmlformats.org/officeDocument/2006/relationships/slideLayout" Target="../slideLayouts/slideLayout589.xml"/><Relationship Id="rId9" Type="http://schemas.openxmlformats.org/officeDocument/2006/relationships/theme" Target="../theme/theme86.xml"/></Relationships>
</file>

<file path=ppt/slideMasters/_rels/slideMaster8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01.xml"/><Relationship Id="rId3" Type="http://schemas.openxmlformats.org/officeDocument/2006/relationships/slideLayout" Target="../slideLayouts/slideLayout596.xml"/><Relationship Id="rId7" Type="http://schemas.openxmlformats.org/officeDocument/2006/relationships/slideLayout" Target="../slideLayouts/slideLayout600.xml"/><Relationship Id="rId12" Type="http://schemas.openxmlformats.org/officeDocument/2006/relationships/oleObject" Target="../embeddings/oleObject112.bin"/><Relationship Id="rId2" Type="http://schemas.openxmlformats.org/officeDocument/2006/relationships/slideLayout" Target="../slideLayouts/slideLayout595.xml"/><Relationship Id="rId1" Type="http://schemas.openxmlformats.org/officeDocument/2006/relationships/slideLayout" Target="../slideLayouts/slideLayout594.xml"/><Relationship Id="rId6" Type="http://schemas.openxmlformats.org/officeDocument/2006/relationships/slideLayout" Target="../slideLayouts/slideLayout599.xml"/><Relationship Id="rId11" Type="http://schemas.openxmlformats.org/officeDocument/2006/relationships/tags" Target="../tags/tag113.xml"/><Relationship Id="rId5" Type="http://schemas.openxmlformats.org/officeDocument/2006/relationships/slideLayout" Target="../slideLayouts/slideLayout598.xml"/><Relationship Id="rId10" Type="http://schemas.openxmlformats.org/officeDocument/2006/relationships/vmlDrawing" Target="../drawings/vmlDrawing112.vml"/><Relationship Id="rId4" Type="http://schemas.openxmlformats.org/officeDocument/2006/relationships/slideLayout" Target="../slideLayouts/slideLayout597.xml"/><Relationship Id="rId9" Type="http://schemas.openxmlformats.org/officeDocument/2006/relationships/theme" Target="../theme/theme87.xml"/></Relationships>
</file>

<file path=ppt/slideMasters/_rels/slideMaster8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09.xml"/><Relationship Id="rId3" Type="http://schemas.openxmlformats.org/officeDocument/2006/relationships/slideLayout" Target="../slideLayouts/slideLayout604.xml"/><Relationship Id="rId7" Type="http://schemas.openxmlformats.org/officeDocument/2006/relationships/slideLayout" Target="../slideLayouts/slideLayout608.xml"/><Relationship Id="rId12" Type="http://schemas.openxmlformats.org/officeDocument/2006/relationships/oleObject" Target="../embeddings/oleObject116.bin"/><Relationship Id="rId2" Type="http://schemas.openxmlformats.org/officeDocument/2006/relationships/slideLayout" Target="../slideLayouts/slideLayout603.xml"/><Relationship Id="rId1" Type="http://schemas.openxmlformats.org/officeDocument/2006/relationships/slideLayout" Target="../slideLayouts/slideLayout602.xml"/><Relationship Id="rId6" Type="http://schemas.openxmlformats.org/officeDocument/2006/relationships/slideLayout" Target="../slideLayouts/slideLayout607.xml"/><Relationship Id="rId11" Type="http://schemas.openxmlformats.org/officeDocument/2006/relationships/tags" Target="../tags/tag117.xml"/><Relationship Id="rId5" Type="http://schemas.openxmlformats.org/officeDocument/2006/relationships/slideLayout" Target="../slideLayouts/slideLayout606.xml"/><Relationship Id="rId10" Type="http://schemas.openxmlformats.org/officeDocument/2006/relationships/vmlDrawing" Target="../drawings/vmlDrawing116.vml"/><Relationship Id="rId4" Type="http://schemas.openxmlformats.org/officeDocument/2006/relationships/slideLayout" Target="../slideLayouts/slideLayout605.xml"/><Relationship Id="rId9" Type="http://schemas.openxmlformats.org/officeDocument/2006/relationships/theme" Target="../theme/theme88.xml"/></Relationships>
</file>

<file path=ppt/slideMasters/_rels/slideMaster8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17.xml"/><Relationship Id="rId3" Type="http://schemas.openxmlformats.org/officeDocument/2006/relationships/slideLayout" Target="../slideLayouts/slideLayout612.xml"/><Relationship Id="rId7" Type="http://schemas.openxmlformats.org/officeDocument/2006/relationships/slideLayout" Target="../slideLayouts/slideLayout616.xml"/><Relationship Id="rId12" Type="http://schemas.openxmlformats.org/officeDocument/2006/relationships/oleObject" Target="../embeddings/oleObject117.bin"/><Relationship Id="rId2" Type="http://schemas.openxmlformats.org/officeDocument/2006/relationships/slideLayout" Target="../slideLayouts/slideLayout611.xml"/><Relationship Id="rId1" Type="http://schemas.openxmlformats.org/officeDocument/2006/relationships/slideLayout" Target="../slideLayouts/slideLayout610.xml"/><Relationship Id="rId6" Type="http://schemas.openxmlformats.org/officeDocument/2006/relationships/slideLayout" Target="../slideLayouts/slideLayout615.xml"/><Relationship Id="rId11" Type="http://schemas.openxmlformats.org/officeDocument/2006/relationships/tags" Target="../tags/tag118.xml"/><Relationship Id="rId5" Type="http://schemas.openxmlformats.org/officeDocument/2006/relationships/slideLayout" Target="../slideLayouts/slideLayout614.xml"/><Relationship Id="rId10" Type="http://schemas.openxmlformats.org/officeDocument/2006/relationships/vmlDrawing" Target="../drawings/vmlDrawing117.vml"/><Relationship Id="rId4" Type="http://schemas.openxmlformats.org/officeDocument/2006/relationships/slideLayout" Target="../slideLayouts/slideLayout613.xml"/><Relationship Id="rId9" Type="http://schemas.openxmlformats.org/officeDocument/2006/relationships/theme" Target="../theme/theme89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6.xml"/><Relationship Id="rId13" Type="http://schemas.openxmlformats.org/officeDocument/2006/relationships/tags" Target="../tags/tag27.xml"/><Relationship Id="rId3" Type="http://schemas.openxmlformats.org/officeDocument/2006/relationships/slideLayout" Target="../slideLayouts/slideLayout61.xml"/><Relationship Id="rId7" Type="http://schemas.openxmlformats.org/officeDocument/2006/relationships/slideLayout" Target="../slideLayouts/slideLayout65.xml"/><Relationship Id="rId12" Type="http://schemas.openxmlformats.org/officeDocument/2006/relationships/vmlDrawing" Target="../drawings/vmlDrawing26.vml"/><Relationship Id="rId2" Type="http://schemas.openxmlformats.org/officeDocument/2006/relationships/slideLayout" Target="../slideLayouts/slideLayout60.xml"/><Relationship Id="rId1" Type="http://schemas.openxmlformats.org/officeDocument/2006/relationships/slideLayout" Target="../slideLayouts/slideLayout59.xml"/><Relationship Id="rId6" Type="http://schemas.openxmlformats.org/officeDocument/2006/relationships/slideLayout" Target="../slideLayouts/slideLayout64.xml"/><Relationship Id="rId11" Type="http://schemas.openxmlformats.org/officeDocument/2006/relationships/theme" Target="../theme/theme9.xml"/><Relationship Id="rId5" Type="http://schemas.openxmlformats.org/officeDocument/2006/relationships/slideLayout" Target="../slideLayouts/slideLayout63.xml"/><Relationship Id="rId10" Type="http://schemas.openxmlformats.org/officeDocument/2006/relationships/slideLayout" Target="../slideLayouts/slideLayout68.xml"/><Relationship Id="rId4" Type="http://schemas.openxmlformats.org/officeDocument/2006/relationships/slideLayout" Target="../slideLayouts/slideLayout62.xml"/><Relationship Id="rId9" Type="http://schemas.openxmlformats.org/officeDocument/2006/relationships/slideLayout" Target="../slideLayouts/slideLayout67.xml"/><Relationship Id="rId14" Type="http://schemas.openxmlformats.org/officeDocument/2006/relationships/oleObject" Target="../embeddings/oleObject26.bin"/></Relationships>
</file>

<file path=ppt/slideMasters/_rels/slideMaster9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25.xml"/><Relationship Id="rId3" Type="http://schemas.openxmlformats.org/officeDocument/2006/relationships/slideLayout" Target="../slideLayouts/slideLayout620.xml"/><Relationship Id="rId7" Type="http://schemas.openxmlformats.org/officeDocument/2006/relationships/slideLayout" Target="../slideLayouts/slideLayout624.xml"/><Relationship Id="rId12" Type="http://schemas.openxmlformats.org/officeDocument/2006/relationships/oleObject" Target="../embeddings/oleObject121.bin"/><Relationship Id="rId2" Type="http://schemas.openxmlformats.org/officeDocument/2006/relationships/slideLayout" Target="../slideLayouts/slideLayout619.xml"/><Relationship Id="rId1" Type="http://schemas.openxmlformats.org/officeDocument/2006/relationships/slideLayout" Target="../slideLayouts/slideLayout618.xml"/><Relationship Id="rId6" Type="http://schemas.openxmlformats.org/officeDocument/2006/relationships/slideLayout" Target="../slideLayouts/slideLayout623.xml"/><Relationship Id="rId11" Type="http://schemas.openxmlformats.org/officeDocument/2006/relationships/tags" Target="../tags/tag122.xml"/><Relationship Id="rId5" Type="http://schemas.openxmlformats.org/officeDocument/2006/relationships/slideLayout" Target="../slideLayouts/slideLayout622.xml"/><Relationship Id="rId10" Type="http://schemas.openxmlformats.org/officeDocument/2006/relationships/vmlDrawing" Target="../drawings/vmlDrawing121.vml"/><Relationship Id="rId4" Type="http://schemas.openxmlformats.org/officeDocument/2006/relationships/slideLayout" Target="../slideLayouts/slideLayout621.xml"/><Relationship Id="rId9" Type="http://schemas.openxmlformats.org/officeDocument/2006/relationships/theme" Target="../theme/theme90.xml"/></Relationships>
</file>

<file path=ppt/slideMasters/_rels/slideMaster9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33.xml"/><Relationship Id="rId3" Type="http://schemas.openxmlformats.org/officeDocument/2006/relationships/slideLayout" Target="../slideLayouts/slideLayout628.xml"/><Relationship Id="rId7" Type="http://schemas.openxmlformats.org/officeDocument/2006/relationships/slideLayout" Target="../slideLayouts/slideLayout632.xml"/><Relationship Id="rId12" Type="http://schemas.openxmlformats.org/officeDocument/2006/relationships/oleObject" Target="../embeddings/oleObject125.bin"/><Relationship Id="rId2" Type="http://schemas.openxmlformats.org/officeDocument/2006/relationships/slideLayout" Target="../slideLayouts/slideLayout627.xml"/><Relationship Id="rId1" Type="http://schemas.openxmlformats.org/officeDocument/2006/relationships/slideLayout" Target="../slideLayouts/slideLayout626.xml"/><Relationship Id="rId6" Type="http://schemas.openxmlformats.org/officeDocument/2006/relationships/slideLayout" Target="../slideLayouts/slideLayout631.xml"/><Relationship Id="rId11" Type="http://schemas.openxmlformats.org/officeDocument/2006/relationships/tags" Target="../tags/tag126.xml"/><Relationship Id="rId5" Type="http://schemas.openxmlformats.org/officeDocument/2006/relationships/slideLayout" Target="../slideLayouts/slideLayout630.xml"/><Relationship Id="rId10" Type="http://schemas.openxmlformats.org/officeDocument/2006/relationships/vmlDrawing" Target="../drawings/vmlDrawing125.vml"/><Relationship Id="rId4" Type="http://schemas.openxmlformats.org/officeDocument/2006/relationships/slideLayout" Target="../slideLayouts/slideLayout629.xml"/><Relationship Id="rId9" Type="http://schemas.openxmlformats.org/officeDocument/2006/relationships/theme" Target="../theme/theme91.xml"/></Relationships>
</file>

<file path=ppt/slideMasters/_rels/slideMaster9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36.xml"/><Relationship Id="rId2" Type="http://schemas.openxmlformats.org/officeDocument/2006/relationships/slideLayout" Target="../slideLayouts/slideLayout635.xml"/><Relationship Id="rId1" Type="http://schemas.openxmlformats.org/officeDocument/2006/relationships/slideLayout" Target="../slideLayouts/slideLayout634.xml"/><Relationship Id="rId5" Type="http://schemas.openxmlformats.org/officeDocument/2006/relationships/theme" Target="../theme/theme92.xml"/><Relationship Id="rId4" Type="http://schemas.openxmlformats.org/officeDocument/2006/relationships/slideLayout" Target="../slideLayouts/slideLayout637.xml"/></Relationships>
</file>

<file path=ppt/slideMasters/_rels/slideMaster9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40.xml"/><Relationship Id="rId2" Type="http://schemas.openxmlformats.org/officeDocument/2006/relationships/slideLayout" Target="../slideLayouts/slideLayout639.xml"/><Relationship Id="rId1" Type="http://schemas.openxmlformats.org/officeDocument/2006/relationships/slideLayout" Target="../slideLayouts/slideLayout638.xml"/><Relationship Id="rId5" Type="http://schemas.openxmlformats.org/officeDocument/2006/relationships/theme" Target="../theme/theme93.xml"/><Relationship Id="rId4" Type="http://schemas.openxmlformats.org/officeDocument/2006/relationships/slideLayout" Target="../slideLayouts/slideLayout641.xml"/></Relationships>
</file>

<file path=ppt/slideMasters/_rels/slideMaster9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44.xml"/><Relationship Id="rId2" Type="http://schemas.openxmlformats.org/officeDocument/2006/relationships/slideLayout" Target="../slideLayouts/slideLayout643.xml"/><Relationship Id="rId1" Type="http://schemas.openxmlformats.org/officeDocument/2006/relationships/slideLayout" Target="../slideLayouts/slideLayout642.xml"/><Relationship Id="rId5" Type="http://schemas.openxmlformats.org/officeDocument/2006/relationships/theme" Target="../theme/theme94.xml"/><Relationship Id="rId4" Type="http://schemas.openxmlformats.org/officeDocument/2006/relationships/slideLayout" Target="../slideLayouts/slideLayout645.xml"/></Relationships>
</file>

<file path=ppt/slideMasters/_rels/slideMaster9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48.xml"/><Relationship Id="rId2" Type="http://schemas.openxmlformats.org/officeDocument/2006/relationships/slideLayout" Target="../slideLayouts/slideLayout647.xml"/><Relationship Id="rId1" Type="http://schemas.openxmlformats.org/officeDocument/2006/relationships/slideLayout" Target="../slideLayouts/slideLayout646.xml"/><Relationship Id="rId5" Type="http://schemas.openxmlformats.org/officeDocument/2006/relationships/theme" Target="../theme/theme95.xml"/><Relationship Id="rId4" Type="http://schemas.openxmlformats.org/officeDocument/2006/relationships/slideLayout" Target="../slideLayouts/slideLayout649.xml"/></Relationships>
</file>

<file path=ppt/slideMasters/_rels/slideMaster9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57.xml"/><Relationship Id="rId13" Type="http://schemas.openxmlformats.org/officeDocument/2006/relationships/vmlDrawing" Target="../drawings/vmlDrawing126.vml"/><Relationship Id="rId3" Type="http://schemas.openxmlformats.org/officeDocument/2006/relationships/slideLayout" Target="../slideLayouts/slideLayout652.xml"/><Relationship Id="rId7" Type="http://schemas.openxmlformats.org/officeDocument/2006/relationships/slideLayout" Target="../slideLayouts/slideLayout656.xml"/><Relationship Id="rId12" Type="http://schemas.openxmlformats.org/officeDocument/2006/relationships/theme" Target="../theme/theme96.xml"/><Relationship Id="rId2" Type="http://schemas.openxmlformats.org/officeDocument/2006/relationships/slideLayout" Target="../slideLayouts/slideLayout651.xml"/><Relationship Id="rId1" Type="http://schemas.openxmlformats.org/officeDocument/2006/relationships/slideLayout" Target="../slideLayouts/slideLayout650.xml"/><Relationship Id="rId6" Type="http://schemas.openxmlformats.org/officeDocument/2006/relationships/slideLayout" Target="../slideLayouts/slideLayout655.xml"/><Relationship Id="rId11" Type="http://schemas.openxmlformats.org/officeDocument/2006/relationships/slideLayout" Target="../slideLayouts/slideLayout660.xml"/><Relationship Id="rId5" Type="http://schemas.openxmlformats.org/officeDocument/2006/relationships/slideLayout" Target="../slideLayouts/slideLayout654.xml"/><Relationship Id="rId15" Type="http://schemas.openxmlformats.org/officeDocument/2006/relationships/oleObject" Target="../embeddings/oleObject126.bin"/><Relationship Id="rId10" Type="http://schemas.openxmlformats.org/officeDocument/2006/relationships/slideLayout" Target="../slideLayouts/slideLayout659.xml"/><Relationship Id="rId4" Type="http://schemas.openxmlformats.org/officeDocument/2006/relationships/slideLayout" Target="../slideLayouts/slideLayout653.xml"/><Relationship Id="rId9" Type="http://schemas.openxmlformats.org/officeDocument/2006/relationships/slideLayout" Target="../slideLayouts/slideLayout658.xml"/><Relationship Id="rId14" Type="http://schemas.openxmlformats.org/officeDocument/2006/relationships/tags" Target="../tags/tag127.xml"/></Relationships>
</file>

<file path=ppt/slideMasters/_rels/slideMaster9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63.xml"/><Relationship Id="rId2" Type="http://schemas.openxmlformats.org/officeDocument/2006/relationships/slideLayout" Target="../slideLayouts/slideLayout662.xml"/><Relationship Id="rId1" Type="http://schemas.openxmlformats.org/officeDocument/2006/relationships/slideLayout" Target="../slideLayouts/slideLayout661.xml"/><Relationship Id="rId5" Type="http://schemas.openxmlformats.org/officeDocument/2006/relationships/theme" Target="../theme/theme97.xml"/><Relationship Id="rId4" Type="http://schemas.openxmlformats.org/officeDocument/2006/relationships/slideLayout" Target="../slideLayouts/slideLayout664.xml"/></Relationships>
</file>

<file path=ppt/slideMasters/_rels/slideMaster9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72.xml"/><Relationship Id="rId3" Type="http://schemas.openxmlformats.org/officeDocument/2006/relationships/slideLayout" Target="../slideLayouts/slideLayout667.xml"/><Relationship Id="rId7" Type="http://schemas.openxmlformats.org/officeDocument/2006/relationships/slideLayout" Target="../slideLayouts/slideLayout671.xml"/><Relationship Id="rId2" Type="http://schemas.openxmlformats.org/officeDocument/2006/relationships/slideLayout" Target="../slideLayouts/slideLayout666.xml"/><Relationship Id="rId1" Type="http://schemas.openxmlformats.org/officeDocument/2006/relationships/slideLayout" Target="../slideLayouts/slideLayout665.xml"/><Relationship Id="rId6" Type="http://schemas.openxmlformats.org/officeDocument/2006/relationships/slideLayout" Target="../slideLayouts/slideLayout670.xml"/><Relationship Id="rId5" Type="http://schemas.openxmlformats.org/officeDocument/2006/relationships/slideLayout" Target="../slideLayouts/slideLayout669.xml"/><Relationship Id="rId4" Type="http://schemas.openxmlformats.org/officeDocument/2006/relationships/slideLayout" Target="../slideLayouts/slideLayout668.xml"/><Relationship Id="rId9" Type="http://schemas.openxmlformats.org/officeDocument/2006/relationships/theme" Target="../theme/theme98.xml"/></Relationships>
</file>

<file path=ppt/slideMasters/_rels/slideMaster9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80.xml"/><Relationship Id="rId3" Type="http://schemas.openxmlformats.org/officeDocument/2006/relationships/slideLayout" Target="../slideLayouts/slideLayout675.xml"/><Relationship Id="rId7" Type="http://schemas.openxmlformats.org/officeDocument/2006/relationships/slideLayout" Target="../slideLayouts/slideLayout679.xml"/><Relationship Id="rId2" Type="http://schemas.openxmlformats.org/officeDocument/2006/relationships/slideLayout" Target="../slideLayouts/slideLayout674.xml"/><Relationship Id="rId1" Type="http://schemas.openxmlformats.org/officeDocument/2006/relationships/slideLayout" Target="../slideLayouts/slideLayout673.xml"/><Relationship Id="rId6" Type="http://schemas.openxmlformats.org/officeDocument/2006/relationships/slideLayout" Target="../slideLayouts/slideLayout678.xml"/><Relationship Id="rId11" Type="http://schemas.openxmlformats.org/officeDocument/2006/relationships/theme" Target="../theme/theme99.xml"/><Relationship Id="rId5" Type="http://schemas.openxmlformats.org/officeDocument/2006/relationships/slideLayout" Target="../slideLayouts/slideLayout677.xml"/><Relationship Id="rId10" Type="http://schemas.openxmlformats.org/officeDocument/2006/relationships/slideLayout" Target="../slideLayouts/slideLayout682.xml"/><Relationship Id="rId4" Type="http://schemas.openxmlformats.org/officeDocument/2006/relationships/slideLayout" Target="../slideLayouts/slideLayout676.xml"/><Relationship Id="rId9" Type="http://schemas.openxmlformats.org/officeDocument/2006/relationships/slideLayout" Target="../slideLayouts/slideLayout68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4237724938"/>
              </p:ext>
            </p:extLst>
          </p:nvPr>
        </p:nvGraphicFramePr>
        <p:xfrm>
          <a:off x="1" y="2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68152" name="Slide do think-cell" r:id="rId12" imgW="0" imgH="0" progId="TCLayout.ActiveDocument.1">
                  <p:embed/>
                </p:oleObj>
              </mc:Choice>
              <mc:Fallback>
                <p:oleObj name="Slide do think-cell" r:id="rId12" imgW="0" imgH="0" progId="TCLayout.ActiveDocument.1">
                  <p:embed/>
                  <p:pic>
                    <p:nvPicPr>
                      <p:cNvPr id="0" name="AutoShape 114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2"/>
                        <a:ext cx="211676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10776432" y="36518"/>
            <a:ext cx="876339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87123" eaLnBrk="1"/>
            <a:endParaRPr lang="pt-BR" sz="800" baseline="0" noProof="0" dirty="0">
              <a:solidFill>
                <a:srgbClr val="000000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10519874" y="1932900"/>
            <a:ext cx="267220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baseline="0" noProof="0" smtClean="0"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sz="1600" baseline="0" noProof="0" dirty="0" smtClean="0"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10682583" y="4106726"/>
            <a:ext cx="234679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baseline="0" noProof="0" smtClean="0"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sz="1600" baseline="0" noProof="0" dirty="0" smtClean="0"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936841" y="1951039"/>
            <a:ext cx="5736421" cy="11060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ext styles</a:t>
            </a:r>
          </a:p>
          <a:p>
            <a:pPr lvl="1"/>
            <a:r>
              <a:rPr lang="pt-BR" noProof="0" smtClean="0"/>
              <a:t>Second level</a:t>
            </a:r>
          </a:p>
          <a:p>
            <a:pPr lvl="2"/>
            <a:r>
              <a:rPr lang="pt-BR" noProof="0" smtClean="0"/>
              <a:t>Third level</a:t>
            </a:r>
          </a:p>
          <a:p>
            <a:pPr lvl="3"/>
            <a:r>
              <a:rPr lang="pt-BR" noProof="0" smtClean="0"/>
              <a:t>Fourth level</a:t>
            </a:r>
          </a:p>
          <a:p>
            <a:pPr lvl="4"/>
            <a:r>
              <a:rPr lang="pt-BR" noProof="0" smtClean="0"/>
              <a:t>Fifth level</a:t>
            </a:r>
            <a:endParaRPr lang="pt-BR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211676" y="230292"/>
            <a:ext cx="10530036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58865" y="26992"/>
            <a:ext cx="886083" cy="2212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pt-BR" sz="1400" baseline="0" noProof="0" smtClean="0">
                <a:solidFill>
                  <a:srgbClr val="808080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  <a:sym typeface="Arial" panose="020B0604020202020204" pitchFamily="34" charset="0"/>
              </a:rPr>
              <a:t>TRACKER</a:t>
            </a:r>
            <a:endParaRPr lang="pt-BR" sz="1400" baseline="0" noProof="0" dirty="0">
              <a:solidFill>
                <a:srgbClr val="808080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58886" y="621826"/>
            <a:ext cx="11491891" cy="281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pt-BR" sz="1800" baseline="0" noProof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Unit of measure</a:t>
            </a:r>
            <a:endParaRPr lang="pt-BR" sz="1800" baseline="0" noProof="0" dirty="0" smtClean="0">
              <a:solidFill>
                <a:schemeClr val="accent1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158761" y="6265569"/>
            <a:ext cx="11398753" cy="358776"/>
            <a:chOff x="75" y="3877"/>
            <a:chExt cx="5385" cy="226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877"/>
              <a:ext cx="5385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pt-BR" sz="1000" baseline="0" noProof="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1 Footnote</a:t>
              </a:r>
              <a:endParaRPr lang="pt-BR" sz="1000" baseline="0" noProof="0" dirty="0" smtClean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06"/>
              <a:ext cx="4323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t" anchorCtr="0">
              <a:spAutoFit/>
            </a:bodyPr>
            <a:lstStyle/>
            <a:p>
              <a:pPr marL="604031" indent="-604031" defTabSz="887123">
                <a:tabLst>
                  <a:tab pos="607161" algn="l"/>
                </a:tabLst>
              </a:pPr>
              <a:r>
                <a:rPr lang="pt-BR" sz="1000" baseline="0" noProof="0" dirty="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FONTE: </a:t>
              </a:r>
              <a:r>
                <a:rPr lang="pt-BR" sz="1000" baseline="0" noProof="0" dirty="0" err="1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ource</a:t>
              </a:r>
              <a:endParaRPr lang="pt-BR" sz="1000" baseline="0" noProof="0" dirty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936840" y="1123953"/>
            <a:ext cx="5685618" cy="511174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 hidden="1"/>
            <p:cNvSpPr>
              <a:spLocks noChangeArrowheads="1"/>
            </p:cNvSpPr>
            <p:nvPr/>
          </p:nvSpPr>
          <p:spPr bwMode="auto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pt-BR" sz="1600" b="1" baseline="0" noProof="0" smtClean="0"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 panose="020B0604020202020204" pitchFamily="34" charset="0"/>
                </a:rPr>
                <a:t>Title</a:t>
              </a:r>
            </a:p>
            <a:p>
              <a:r>
                <a:rPr lang="pt-BR" sz="1600" baseline="0" noProof="0" smtClean="0">
                  <a:solidFill>
                    <a:srgbClr val="808080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 panose="020B0604020202020204" pitchFamily="34" charset="0"/>
                </a:rPr>
                <a:t>Unit of measure</a:t>
              </a:r>
              <a:endParaRPr lang="pt-BR" sz="1600" baseline="0" noProof="0" dirty="0">
                <a:solidFill>
                  <a:srgbClr val="80808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28" name="Group 27"/>
          <p:cNvGrpSpPr/>
          <p:nvPr userDrawn="1"/>
        </p:nvGrpSpPr>
        <p:grpSpPr>
          <a:xfrm>
            <a:off x="11335740" y="60963"/>
            <a:ext cx="613376" cy="655256"/>
            <a:chOff x="5526523" y="2325890"/>
            <a:chExt cx="3423032" cy="3656747"/>
          </a:xfrm>
        </p:grpSpPr>
        <p:sp>
          <p:nvSpPr>
            <p:cNvPr id="29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1"/>
              <a:endParaRPr lang="pt-BR" sz="1600" dirty="0" smtClean="0">
                <a:solidFill>
                  <a:schemeClr val="tx1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30" name="Group 29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31" name="Donut 30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/>
                <a:endParaRPr lang="pt-BR" sz="1600" dirty="0" smtClean="0">
                  <a:solidFill>
                    <a:schemeClr val="tx1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2" name="Oval 31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/>
                <a:endParaRPr lang="pt-BR" sz="1600" dirty="0" smtClean="0">
                  <a:solidFill>
                    <a:schemeClr val="tx1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3" name="Oval 32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/>
                <a:endParaRPr lang="pt-BR" sz="1600" dirty="0" smtClean="0">
                  <a:solidFill>
                    <a:schemeClr val="tx1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2" r:id="rId2"/>
    <p:sldLayoutId id="2147483665" r:id="rId3"/>
    <p:sldLayoutId id="2147483666" r:id="rId4"/>
    <p:sldLayoutId id="2147483668" r:id="rId5"/>
    <p:sldLayoutId id="2147483669" r:id="rId6"/>
    <p:sldLayoutId id="2147483670" r:id="rId7"/>
    <p:sldLayoutId id="2147483671" r:id="rId8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defTabSz="887123" rtl="0" eaLnBrk="1" fontAlgn="base" hangingPunct="1">
        <a:spcBef>
          <a:spcPct val="0"/>
        </a:spcBef>
        <a:spcAft>
          <a:spcPct val="0"/>
        </a:spcAft>
        <a:tabLst>
          <a:tab pos="267416" algn="l"/>
        </a:tabLst>
        <a:defRPr lang="en-US" sz="2000" b="1" baseline="0" noProof="0" dirty="0" smtClean="0">
          <a:solidFill>
            <a:schemeClr val="accent4"/>
          </a:solidFill>
          <a:latin typeface="Arial" panose="020B0604020202020204" pitchFamily="34" charset="0"/>
          <a:ea typeface="+mj-ea"/>
          <a:cs typeface="Arial" panose="020B0604020202020204" pitchFamily="34" charset="0"/>
          <a:sym typeface="Arial" panose="020B0604020202020204" pitchFamily="34" charset="0"/>
        </a:defRPr>
      </a:lvl1pPr>
      <a:lvl2pPr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2pPr>
      <a:lvl3pPr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3pPr>
      <a:lvl4pPr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4pPr>
      <a:lvl5pPr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5pPr>
      <a:lvl6pPr marL="453033"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6pPr>
      <a:lvl7pPr marL="906015"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7pPr>
      <a:lvl8pPr marL="1359002"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8pPr>
      <a:lvl9pPr marL="1812015"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87123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400" baseline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1pPr>
      <a:lvl2pPr marL="191923" indent="-191923" algn="l" defTabSz="887123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15000"/>
        <a:buFont typeface="Simplon BP Regular" pitchFamily="2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2pPr>
      <a:lvl3pPr marL="453033" indent="-259508" algn="l" defTabSz="887123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charset="0"/>
        <a:buChar char="–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3pPr>
      <a:lvl4pPr marL="608726" indent="-154184" algn="l" defTabSz="887123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pitchFamily="34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4pPr>
      <a:lvl5pPr marL="742907" indent="-128987" algn="l" defTabSz="887123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89000"/>
        <a:buFont typeface="Arial" charset="0"/>
        <a:buChar char="-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5pPr>
      <a:lvl6pPr marL="742907" indent="-128987" algn="l" defTabSz="88712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2907" indent="-128987" algn="l" defTabSz="88712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2907" indent="-128987" algn="l" defTabSz="88712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2907" indent="-128987" algn="l" defTabSz="88712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3033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06015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59002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12015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65017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18012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71019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24024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2959979466"/>
              </p:ext>
            </p:extLst>
          </p:nvPr>
        </p:nvGraphicFramePr>
        <p:xfrm>
          <a:off x="2077" y="2077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5247" name="Slide do think-cell" r:id="rId12" imgW="0" imgH="0" progId="TCLayout.ActiveDocument.1">
                  <p:embed/>
                </p:oleObj>
              </mc:Choice>
              <mc:Fallback>
                <p:oleObj name="Slide do think-cell" r:id="rId12" imgW="0" imgH="0" progId="TCLayout.ActiveDocument.1">
                  <p:embed/>
                  <p:pic>
                    <p:nvPicPr>
                      <p:cNvPr id="0" name="AutoShape 60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77" y="2077"/>
                        <a:ext cx="2074" cy="20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1978" y="359001"/>
            <a:ext cx="7338636" cy="102481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1855253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16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9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Freeform 28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2" name="TextBox 39"/>
          <p:cNvSpPr txBox="1"/>
          <p:nvPr userDrawn="1"/>
        </p:nvSpPr>
        <p:spPr>
          <a:xfrm>
            <a:off x="9223673" y="6781955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1947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3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8211747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9" r:id="rId1"/>
    <p:sldLayoutId id="2147483800" r:id="rId2"/>
    <p:sldLayoutId id="2147483801" r:id="rId3"/>
    <p:sldLayoutId id="2147483802" r:id="rId4"/>
    <p:sldLayoutId id="2147483803" r:id="rId5"/>
    <p:sldLayoutId id="2147483804" r:id="rId6"/>
    <p:sldLayoutId id="2147483805" r:id="rId7"/>
    <p:sldLayoutId id="2147483806" r:id="rId8"/>
  </p:sldLayoutIdLst>
  <p:hf sldNum="0" hdr="0" ftr="0" dt="0"/>
  <p:txStyles>
    <p:titleStyle>
      <a:lvl1pPr algn="l" defTabSz="591947" rtl="0" eaLnBrk="1" latinLnBrk="0" hangingPunct="1">
        <a:lnSpc>
          <a:spcPts val="5486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A037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8434" indent="-238434" algn="l" defTabSz="59194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2756" indent="-228154" algn="l" defTabSz="59194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2756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0913" indent="-228154" algn="l" defTabSz="59194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0913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29070" indent="-228154" algn="l" defTabSz="59194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29070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57207" indent="-228154" algn="l" defTabSz="59194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57207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55872" indent="-295965" algn="l" defTabSz="59194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47841" indent="-295965" algn="l" defTabSz="59194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39815" indent="-295965" algn="l" defTabSz="59194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31791" indent="-295965" algn="l" defTabSz="59194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1947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3950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75935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67908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59881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51854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43833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35810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10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1978" y="358972"/>
            <a:ext cx="7338636" cy="102481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1855226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16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9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Freeform 28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2" name="TextBox 39"/>
          <p:cNvSpPr txBox="1"/>
          <p:nvPr userDrawn="1"/>
        </p:nvSpPr>
        <p:spPr>
          <a:xfrm>
            <a:off x="9223673" y="6781928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3363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3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601369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78" r:id="rId1"/>
    <p:sldLayoutId id="2147484579" r:id="rId2"/>
    <p:sldLayoutId id="2147484580" r:id="rId3"/>
    <p:sldLayoutId id="2147484581" r:id="rId4"/>
    <p:sldLayoutId id="2147484582" r:id="rId5"/>
    <p:sldLayoutId id="2147484583" r:id="rId6"/>
    <p:sldLayoutId id="2147484584" r:id="rId7"/>
    <p:sldLayoutId id="2147484585" r:id="rId8"/>
  </p:sldLayoutIdLst>
  <p:hf sldNum="0" hdr="0" ftr="0" dt="0"/>
  <p:txStyles>
    <p:titleStyle>
      <a:lvl1pPr algn="l" defTabSz="593363" rtl="0" eaLnBrk="1" latinLnBrk="0" hangingPunct="1">
        <a:lnSpc>
          <a:spcPts val="5486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A037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005" indent="-239005" algn="l" defTabSz="59336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3881" indent="-228695" algn="l" defTabSz="59336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3881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2579" indent="-228695" algn="l" defTabSz="59336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2579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1282" indent="-228695" algn="l" defTabSz="59336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1282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59973" indent="-228695" algn="l" defTabSz="59336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59973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63617" indent="-296677" algn="l" defTabSz="59336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56998" indent="-296677" algn="l" defTabSz="59336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50378" indent="-296677" algn="l" defTabSz="59336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43767" indent="-296677" algn="l" defTabSz="59336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3363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6768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0158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3541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66928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60307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53688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47078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10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571784540"/>
              </p:ext>
            </p:extLst>
          </p:nvPr>
        </p:nvGraphicFramePr>
        <p:xfrm>
          <a:off x="2077" y="2077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71769" name="Slide do think-cell" r:id="rId6" imgW="0" imgH="0" progId="TCLayout.ActiveDocument.1">
                  <p:embed/>
                </p:oleObj>
              </mc:Choice>
              <mc:Fallback>
                <p:oleObj name="Slide do think-cell" r:id="rId6" imgW="0" imgH="0" progId="TCLayout.ActiveDocument.1">
                  <p:embed/>
                  <p:pic>
                    <p:nvPicPr>
                      <p:cNvPr id="0" name="AutoShape 34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77" y="2077"/>
                        <a:ext cx="2074" cy="20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1978" y="358912"/>
            <a:ext cx="7338636" cy="102481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lvl="0">
              <a:lnSpc>
                <a:spcPct val="100000"/>
              </a:lnSpc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3" name="TextBox 12"/>
          <p:cNvSpPr txBox="1"/>
          <p:nvPr/>
        </p:nvSpPr>
        <p:spPr>
          <a:xfrm>
            <a:off x="-281813" y="7363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6545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-281813" y="1855164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6545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/>
        </p:nvSpPr>
        <p:spPr bwMode="auto">
          <a:xfrm>
            <a:off x="11944818" y="3078502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973" tIns="46973" rIns="46973" bIns="46973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16"/>
          <p:cNvSpPr>
            <a:spLocks/>
          </p:cNvSpPr>
          <p:nvPr/>
        </p:nvSpPr>
        <p:spPr bwMode="auto">
          <a:xfrm>
            <a:off x="11944818" y="2513906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973" tIns="46973" rIns="46973" bIns="46973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4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/>
        </p:nvSpPr>
        <p:spPr bwMode="auto">
          <a:xfrm>
            <a:off x="11944818" y="1949310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973" tIns="46973" rIns="46973" bIns="46973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9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9" name="Freeform 5"/>
          <p:cNvSpPr>
            <a:spLocks/>
          </p:cNvSpPr>
          <p:nvPr/>
        </p:nvSpPr>
        <p:spPr bwMode="auto">
          <a:xfrm>
            <a:off x="11944818" y="1384714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973" tIns="46973" rIns="46973" bIns="46973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0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Freeform 28"/>
          <p:cNvSpPr>
            <a:spLocks/>
          </p:cNvSpPr>
          <p:nvPr/>
        </p:nvSpPr>
        <p:spPr bwMode="auto">
          <a:xfrm>
            <a:off x="11944818" y="820118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973" tIns="46973" rIns="46973" bIns="46973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140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Freeform 5"/>
          <p:cNvSpPr>
            <a:spLocks/>
          </p:cNvSpPr>
          <p:nvPr/>
        </p:nvSpPr>
        <p:spPr bwMode="auto">
          <a:xfrm>
            <a:off x="11944818" y="258729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973" tIns="46973" rIns="46973" bIns="46973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6545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6545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1" name="Freeform 5"/>
          <p:cNvSpPr>
            <a:spLocks/>
          </p:cNvSpPr>
          <p:nvPr/>
        </p:nvSpPr>
        <p:spPr bwMode="auto">
          <a:xfrm>
            <a:off x="11944818" y="3643098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973" tIns="46973" rIns="46973" bIns="46973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6" name="Freeform 5"/>
          <p:cNvSpPr>
            <a:spLocks/>
          </p:cNvSpPr>
          <p:nvPr/>
        </p:nvSpPr>
        <p:spPr bwMode="auto">
          <a:xfrm>
            <a:off x="11949114" y="4301731"/>
            <a:ext cx="424105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313" tIns="59659" rIns="119313" bIns="59659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27" name="Freeform 5"/>
          <p:cNvSpPr>
            <a:spLocks/>
          </p:cNvSpPr>
          <p:nvPr/>
        </p:nvSpPr>
        <p:spPr bwMode="auto">
          <a:xfrm>
            <a:off x="11949112" y="4493139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313" tIns="59659" rIns="119313" bIns="59659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28" name="Freeform 5"/>
          <p:cNvSpPr>
            <a:spLocks/>
          </p:cNvSpPr>
          <p:nvPr/>
        </p:nvSpPr>
        <p:spPr bwMode="auto">
          <a:xfrm>
            <a:off x="12102362" y="4493138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313" tIns="59659" rIns="119313" bIns="59659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5" name="Freeform 5"/>
          <p:cNvSpPr>
            <a:spLocks/>
          </p:cNvSpPr>
          <p:nvPr/>
        </p:nvSpPr>
        <p:spPr bwMode="auto">
          <a:xfrm>
            <a:off x="12255608" y="4493135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313" tIns="59659" rIns="119313" bIns="59659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6" name="Freeform 5"/>
          <p:cNvSpPr>
            <a:spLocks/>
          </p:cNvSpPr>
          <p:nvPr/>
        </p:nvSpPr>
        <p:spPr bwMode="auto">
          <a:xfrm>
            <a:off x="11949114" y="4775433"/>
            <a:ext cx="424105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313" tIns="59659" rIns="119313" bIns="59659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7" name="Freeform 5"/>
          <p:cNvSpPr>
            <a:spLocks/>
          </p:cNvSpPr>
          <p:nvPr/>
        </p:nvSpPr>
        <p:spPr bwMode="auto">
          <a:xfrm>
            <a:off x="11949112" y="4982131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313" tIns="59659" rIns="119313" bIns="59659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8" name="Freeform 5"/>
          <p:cNvSpPr>
            <a:spLocks/>
          </p:cNvSpPr>
          <p:nvPr/>
        </p:nvSpPr>
        <p:spPr bwMode="auto">
          <a:xfrm>
            <a:off x="12102362" y="4982128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313" tIns="59659" rIns="119313" bIns="59659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9" name="Freeform 5"/>
          <p:cNvSpPr>
            <a:spLocks/>
          </p:cNvSpPr>
          <p:nvPr/>
        </p:nvSpPr>
        <p:spPr bwMode="auto">
          <a:xfrm>
            <a:off x="12255608" y="4982127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313" tIns="59659" rIns="119313" bIns="59659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0" name="Freeform 5"/>
          <p:cNvSpPr>
            <a:spLocks/>
          </p:cNvSpPr>
          <p:nvPr/>
        </p:nvSpPr>
        <p:spPr bwMode="auto">
          <a:xfrm>
            <a:off x="11949114" y="5245930"/>
            <a:ext cx="424105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313" tIns="59659" rIns="119313" bIns="59659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1" name="Freeform 5"/>
          <p:cNvSpPr>
            <a:spLocks/>
          </p:cNvSpPr>
          <p:nvPr/>
        </p:nvSpPr>
        <p:spPr bwMode="auto">
          <a:xfrm>
            <a:off x="11949112" y="5437334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313" tIns="59659" rIns="119313" bIns="59659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2" name="Freeform 5"/>
          <p:cNvSpPr>
            <a:spLocks/>
          </p:cNvSpPr>
          <p:nvPr/>
        </p:nvSpPr>
        <p:spPr bwMode="auto">
          <a:xfrm>
            <a:off x="12102362" y="5437333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313" tIns="59659" rIns="119313" bIns="59659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3" name="Freeform 5"/>
          <p:cNvSpPr>
            <a:spLocks/>
          </p:cNvSpPr>
          <p:nvPr/>
        </p:nvSpPr>
        <p:spPr bwMode="auto">
          <a:xfrm>
            <a:off x="12255608" y="5437333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313" tIns="59659" rIns="119313" bIns="59659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4" name="TextBox 39"/>
          <p:cNvSpPr txBox="1"/>
          <p:nvPr/>
        </p:nvSpPr>
        <p:spPr>
          <a:xfrm>
            <a:off x="11949128" y="5619122"/>
            <a:ext cx="603771" cy="86593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6545" fontAlgn="auto">
              <a:spcBef>
                <a:spcPts val="1045"/>
              </a:spcBef>
              <a:spcAft>
                <a:spcPts val="0"/>
              </a:spcAft>
            </a:pPr>
            <a:r>
              <a:rPr lang="en-US" sz="9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9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9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9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9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9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9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9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9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9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</a:p>
        </p:txBody>
      </p:sp>
      <p:sp>
        <p:nvSpPr>
          <p:cNvPr id="32" name="Freeform 5"/>
          <p:cNvSpPr>
            <a:spLocks/>
          </p:cNvSpPr>
          <p:nvPr/>
        </p:nvSpPr>
        <p:spPr bwMode="auto">
          <a:xfrm>
            <a:off x="12411753" y="25872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BD78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313" tIns="59659" rIns="119313" bIns="59659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Freeform 5"/>
          <p:cNvSpPr>
            <a:spLocks/>
          </p:cNvSpPr>
          <p:nvPr/>
        </p:nvSpPr>
        <p:spPr bwMode="auto">
          <a:xfrm>
            <a:off x="12411753" y="537757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7A23C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313" tIns="59659" rIns="119313" bIns="59659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/>
        </p:nvSpPr>
        <p:spPr bwMode="auto">
          <a:xfrm>
            <a:off x="12411753" y="86222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86DB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313" tIns="59659" rIns="119313" bIns="59659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/>
        </p:nvSpPr>
        <p:spPr bwMode="auto">
          <a:xfrm>
            <a:off x="12411753" y="113250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B51F7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313" tIns="59659" rIns="119313" bIns="59659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/>
        </p:nvSpPr>
        <p:spPr bwMode="auto">
          <a:xfrm>
            <a:off x="12411753" y="144158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95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313" tIns="59659" rIns="119313" bIns="59659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/>
        </p:nvSpPr>
        <p:spPr bwMode="auto">
          <a:xfrm>
            <a:off x="12411753" y="171186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CC52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313" tIns="59659" rIns="119313" bIns="59659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/>
        </p:nvSpPr>
        <p:spPr bwMode="auto">
          <a:xfrm>
            <a:off x="12411753" y="200887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C8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313" tIns="59659" rIns="119313" bIns="59659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/>
        </p:nvSpPr>
        <p:spPr bwMode="auto">
          <a:xfrm>
            <a:off x="12411753" y="227915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CCC6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313" tIns="59659" rIns="119313" bIns="59659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/>
        </p:nvSpPr>
        <p:spPr bwMode="auto">
          <a:xfrm>
            <a:off x="12411753" y="256409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69D17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313" tIns="59659" rIns="119313" bIns="59659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/>
        </p:nvSpPr>
        <p:spPr bwMode="auto">
          <a:xfrm>
            <a:off x="12411753" y="283437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9E0B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313" tIns="59659" rIns="119313" bIns="59659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/>
        </p:nvSpPr>
        <p:spPr bwMode="auto">
          <a:xfrm>
            <a:off x="12411753" y="3155524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E6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313" tIns="59659" rIns="119313" bIns="59659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3" name="Freeform 5"/>
          <p:cNvSpPr>
            <a:spLocks/>
          </p:cNvSpPr>
          <p:nvPr/>
        </p:nvSpPr>
        <p:spPr bwMode="auto">
          <a:xfrm>
            <a:off x="12411753" y="342580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AFC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313" tIns="59659" rIns="119313" bIns="59659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" name="Freeform 5"/>
          <p:cNvSpPr>
            <a:spLocks/>
          </p:cNvSpPr>
          <p:nvPr/>
        </p:nvSpPr>
        <p:spPr bwMode="auto">
          <a:xfrm>
            <a:off x="12411753" y="3734884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DEDEDE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313" tIns="59659" rIns="119313" bIns="59659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5" name="Freeform 5"/>
          <p:cNvSpPr>
            <a:spLocks/>
          </p:cNvSpPr>
          <p:nvPr/>
        </p:nvSpPr>
        <p:spPr bwMode="auto">
          <a:xfrm>
            <a:off x="12411753" y="400516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9C9C9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313" tIns="59659" rIns="119313" bIns="59659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70451600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88" r:id="rId1"/>
    <p:sldLayoutId id="2147484589" r:id="rId2"/>
  </p:sldLayoutIdLst>
  <p:hf sldNum="0" hdr="0" ftr="0" dt="0"/>
  <p:txStyles>
    <p:titleStyle>
      <a:lvl1pPr algn="l" defTabSz="596545" rtl="0" eaLnBrk="1" latinLnBrk="0" hangingPunct="1">
        <a:lnSpc>
          <a:spcPts val="5486"/>
        </a:lnSpc>
        <a:spcBef>
          <a:spcPct val="0"/>
        </a:spcBef>
        <a:spcAft>
          <a:spcPts val="0"/>
        </a:spcAft>
        <a:buNone/>
        <a:defRPr lang="en-US" sz="5500" b="0" i="0" kern="1200" noProof="0" dirty="0">
          <a:solidFill>
            <a:srgbClr val="A037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40276" indent="-240276" algn="l" defTabSz="596545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6408" indent="-229919" algn="l" defTabSz="596545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6408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6328" indent="-229919" algn="l" defTabSz="596545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6328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6252" indent="-229919" algn="l" defTabSz="596545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6252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6172" indent="-229919" algn="l" defTabSz="596545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6172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81026" indent="-298274" algn="l" defTabSz="596545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77572" indent="-298274" algn="l" defTabSz="596545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74117" indent="-298274" algn="l" defTabSz="596545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70665" indent="-298274" algn="l" defTabSz="596545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654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6545" algn="l" defTabSz="59654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93099" algn="l" defTabSz="59654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9650" algn="l" defTabSz="59654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86198" algn="l" defTabSz="59654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82751" algn="l" defTabSz="59654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79297" algn="l" defTabSz="59654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75846" algn="l" defTabSz="59654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72390" algn="l" defTabSz="59654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10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1181527423"/>
              </p:ext>
            </p:extLst>
          </p:nvPr>
        </p:nvGraphicFramePr>
        <p:xfrm>
          <a:off x="1" y="2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75862" name="Slide do think-cell" r:id="rId12" imgW="0" imgH="0" progId="TCLayout.ActiveDocument.1">
                  <p:embed/>
                </p:oleObj>
              </mc:Choice>
              <mc:Fallback>
                <p:oleObj name="Slide do think-cell" r:id="rId12" imgW="0" imgH="0" progId="TCLayout.ActiveDocument.1">
                  <p:embed/>
                  <p:pic>
                    <p:nvPicPr>
                      <p:cNvPr id="0" name="AutoShape 34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2"/>
                        <a:ext cx="211676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10776432" y="36518"/>
            <a:ext cx="876339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87123"/>
            <a:endParaRPr lang="pt-BR" sz="8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10519874" y="1932900"/>
            <a:ext cx="267220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10682583" y="4106726"/>
            <a:ext cx="234679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936841" y="1951039"/>
            <a:ext cx="5736421" cy="11060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ext styles</a:t>
            </a:r>
          </a:p>
          <a:p>
            <a:pPr lvl="1"/>
            <a:r>
              <a:rPr lang="pt-BR" noProof="0" smtClean="0"/>
              <a:t>Second level</a:t>
            </a:r>
          </a:p>
          <a:p>
            <a:pPr lvl="2"/>
            <a:r>
              <a:rPr lang="pt-BR" noProof="0" smtClean="0"/>
              <a:t>Third level</a:t>
            </a:r>
          </a:p>
          <a:p>
            <a:pPr lvl="3"/>
            <a:r>
              <a:rPr lang="pt-BR" noProof="0" smtClean="0"/>
              <a:t>Fourth level</a:t>
            </a:r>
          </a:p>
          <a:p>
            <a:pPr lvl="4"/>
            <a:r>
              <a:rPr lang="pt-BR" noProof="0" smtClean="0"/>
              <a:t>Fifth level</a:t>
            </a:r>
            <a:endParaRPr lang="pt-BR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211676" y="230292"/>
            <a:ext cx="10530036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58865" y="26992"/>
            <a:ext cx="886083" cy="2212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pt-BR" sz="1400" smtClean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TRACKER</a:t>
            </a:r>
            <a:endParaRPr lang="pt-BR" sz="1400" dirty="0">
              <a:solidFill>
                <a:srgbClr val="80808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58886" y="621826"/>
            <a:ext cx="11491891" cy="281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pt-BR" sz="1800" smtClean="0">
                <a:solidFill>
                  <a:srgbClr val="D5E7FF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Unit of measure</a:t>
            </a:r>
            <a:endParaRPr lang="pt-BR" sz="1800" dirty="0" smtClean="0">
              <a:solidFill>
                <a:srgbClr val="D5E7FF">
                  <a:lumMod val="75000"/>
                </a:srgbClr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158761" y="6265569"/>
            <a:ext cx="11398753" cy="358776"/>
            <a:chOff x="75" y="3877"/>
            <a:chExt cx="5385" cy="226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877"/>
              <a:ext cx="5385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pt-BR" sz="100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1 Footnote</a:t>
              </a:r>
              <a:endParaRPr lang="pt-BR" sz="1000" dirty="0" smtClean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06"/>
              <a:ext cx="4323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t" anchorCtr="0">
              <a:spAutoFit/>
            </a:bodyPr>
            <a:lstStyle/>
            <a:p>
              <a:pPr marL="604031" indent="-604031" defTabSz="887123">
                <a:tabLst>
                  <a:tab pos="607161" algn="l"/>
                </a:tabLst>
              </a:pPr>
              <a:r>
                <a:rPr lang="pt-BR" sz="1000" dirty="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FONTE: </a:t>
              </a:r>
              <a:r>
                <a:rPr lang="pt-BR" sz="1000" dirty="0" err="1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ource</a:t>
              </a:r>
              <a:endParaRPr lang="pt-BR" sz="1000" dirty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936840" y="1123953"/>
            <a:ext cx="5685618" cy="511174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 hidden="1"/>
            <p:cNvSpPr>
              <a:spLocks noChangeArrowheads="1"/>
            </p:cNvSpPr>
            <p:nvPr/>
          </p:nvSpPr>
          <p:spPr bwMode="auto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pt-BR" b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itle</a:t>
              </a:r>
            </a:p>
            <a:p>
              <a:r>
                <a:rPr lang="pt-BR" smtClean="0">
                  <a:solidFill>
                    <a:srgbClr val="80808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Unit of measure</a:t>
              </a:r>
              <a:endParaRPr lang="pt-BR" dirty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28" name="Group 27"/>
          <p:cNvGrpSpPr/>
          <p:nvPr userDrawn="1"/>
        </p:nvGrpSpPr>
        <p:grpSpPr>
          <a:xfrm>
            <a:off x="11335740" y="60963"/>
            <a:ext cx="613376" cy="655256"/>
            <a:chOff x="5526523" y="2325890"/>
            <a:chExt cx="3423032" cy="3656747"/>
          </a:xfrm>
        </p:grpSpPr>
        <p:sp>
          <p:nvSpPr>
            <p:cNvPr id="29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30" name="Group 29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31" name="Donut 30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2" name="Oval 31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3" name="Oval 32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7585552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92" r:id="rId1"/>
    <p:sldLayoutId id="2147484593" r:id="rId2"/>
    <p:sldLayoutId id="2147484594" r:id="rId3"/>
    <p:sldLayoutId id="2147484595" r:id="rId4"/>
    <p:sldLayoutId id="2147484596" r:id="rId5"/>
    <p:sldLayoutId id="2147484597" r:id="rId6"/>
    <p:sldLayoutId id="2147484598" r:id="rId7"/>
    <p:sldLayoutId id="2147484599" r:id="rId8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887123" rtl="0" eaLnBrk="1" fontAlgn="base" hangingPunct="1">
        <a:spcBef>
          <a:spcPct val="0"/>
        </a:spcBef>
        <a:spcAft>
          <a:spcPct val="0"/>
        </a:spcAft>
        <a:tabLst>
          <a:tab pos="267416" algn="l"/>
        </a:tabLst>
        <a:defRPr lang="en-US" sz="2000" b="1" baseline="0" noProof="0" dirty="0" smtClean="0">
          <a:solidFill>
            <a:schemeClr val="accent4"/>
          </a:solidFill>
          <a:latin typeface="Arial" panose="020B0604020202020204" pitchFamily="34" charset="0"/>
          <a:ea typeface="+mj-ea"/>
          <a:cs typeface="Arial" panose="020B0604020202020204" pitchFamily="34" charset="0"/>
          <a:sym typeface="Arial" panose="020B0604020202020204" pitchFamily="34" charset="0"/>
        </a:defRPr>
      </a:lvl1pPr>
      <a:lvl2pPr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2pPr>
      <a:lvl3pPr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3pPr>
      <a:lvl4pPr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4pPr>
      <a:lvl5pPr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5pPr>
      <a:lvl6pPr marL="453033"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6pPr>
      <a:lvl7pPr marL="906015"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7pPr>
      <a:lvl8pPr marL="1359002"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8pPr>
      <a:lvl9pPr marL="1812015"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87123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400" baseline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1pPr>
      <a:lvl2pPr marL="191923" indent="-191923" algn="l" defTabSz="887123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15000"/>
        <a:buFont typeface="Simplon BP Regular" pitchFamily="2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2pPr>
      <a:lvl3pPr marL="453033" indent="-259508" algn="l" defTabSz="887123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charset="0"/>
        <a:buChar char="–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3pPr>
      <a:lvl4pPr marL="608726" indent="-154184" algn="l" defTabSz="887123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pitchFamily="34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4pPr>
      <a:lvl5pPr marL="742907" indent="-128987" algn="l" defTabSz="887123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89000"/>
        <a:buFont typeface="Arial" charset="0"/>
        <a:buChar char="-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5pPr>
      <a:lvl6pPr marL="742907" indent="-128987" algn="l" defTabSz="88712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2907" indent="-128987" algn="l" defTabSz="88712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2907" indent="-128987" algn="l" defTabSz="88712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2907" indent="-128987" algn="l" defTabSz="88712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3033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06015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59002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12015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65017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18012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71019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24024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1978" y="358945"/>
            <a:ext cx="7338636" cy="102481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4854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1855198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4854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43" tIns="46843" rIns="46843" bIns="46843" numCol="1" anchor="t" anchorCtr="0" compatLnSpc="1">
            <a:prstTxWarp prst="textNoShape">
              <a:avLst/>
            </a:prstTxWarp>
          </a:bodyPr>
          <a:lstStyle/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16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43" tIns="46843" rIns="46843" bIns="46843" numCol="1" anchor="t" anchorCtr="0" compatLnSpc="1">
            <a:prstTxWarp prst="textNoShape">
              <a:avLst/>
            </a:prstTxWarp>
          </a:bodyPr>
          <a:lstStyle/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43" tIns="46843" rIns="46843" bIns="46843" numCol="1" anchor="t" anchorCtr="0" compatLnSpc="1">
            <a:prstTxWarp prst="textNoShape">
              <a:avLst/>
            </a:prstTxWarp>
          </a:bodyPr>
          <a:lstStyle/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9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43" tIns="46843" rIns="46843" bIns="46843" numCol="1" anchor="t" anchorCtr="0" compatLnSpc="1">
            <a:prstTxWarp prst="textNoShape">
              <a:avLst/>
            </a:prstTxWarp>
          </a:bodyPr>
          <a:lstStyle/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Freeform 28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43" tIns="46843" rIns="46843" bIns="46843" numCol="1" anchor="t" anchorCtr="0" compatLnSpc="1">
            <a:prstTxWarp prst="textNoShape">
              <a:avLst/>
            </a:prstTxWarp>
          </a:bodyPr>
          <a:lstStyle/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43" tIns="46843" rIns="46843" bIns="46843" numCol="1" anchor="t" anchorCtr="0" compatLnSpc="1">
            <a:prstTxWarp prst="textNoShape">
              <a:avLst/>
            </a:prstTxWarp>
          </a:bodyPr>
          <a:lstStyle/>
          <a:p>
            <a:pPr defTabSz="5948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48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48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43" tIns="46843" rIns="46843" bIns="46843" numCol="1" anchor="t" anchorCtr="0" compatLnSpc="1">
            <a:prstTxWarp prst="textNoShape">
              <a:avLst/>
            </a:prstTxWarp>
          </a:bodyPr>
          <a:lstStyle/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2" name="TextBox 39"/>
          <p:cNvSpPr txBox="1"/>
          <p:nvPr userDrawn="1"/>
        </p:nvSpPr>
        <p:spPr>
          <a:xfrm>
            <a:off x="9223673" y="6781899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4854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983" tIns="59491" rIns="118983" bIns="59491" numCol="1" anchor="t" anchorCtr="0" compatLnSpc="1">
            <a:prstTxWarp prst="textNoShape">
              <a:avLst/>
            </a:prstTxWarp>
          </a:bodyPr>
          <a:lstStyle/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83" tIns="59491" rIns="118983" bIns="59491" numCol="1" anchor="t" anchorCtr="0" compatLnSpc="1">
            <a:prstTxWarp prst="textNoShape">
              <a:avLst/>
            </a:prstTxWarp>
          </a:bodyPr>
          <a:lstStyle/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83" tIns="59491" rIns="118983" bIns="59491" numCol="1" anchor="t" anchorCtr="0" compatLnSpc="1">
            <a:prstTxWarp prst="textNoShape">
              <a:avLst/>
            </a:prstTxWarp>
          </a:bodyPr>
          <a:lstStyle/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83" tIns="59491" rIns="118983" bIns="59491" numCol="1" anchor="t" anchorCtr="0" compatLnSpc="1">
            <a:prstTxWarp prst="textNoShape">
              <a:avLst/>
            </a:prstTxWarp>
          </a:bodyPr>
          <a:lstStyle/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983" tIns="59491" rIns="118983" bIns="59491" numCol="1" anchor="t" anchorCtr="0" compatLnSpc="1">
            <a:prstTxWarp prst="textNoShape">
              <a:avLst/>
            </a:prstTxWarp>
          </a:bodyPr>
          <a:lstStyle/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83" tIns="59491" rIns="118983" bIns="59491" numCol="1" anchor="t" anchorCtr="0" compatLnSpc="1">
            <a:prstTxWarp prst="textNoShape">
              <a:avLst/>
            </a:prstTxWarp>
          </a:bodyPr>
          <a:lstStyle/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83" tIns="59491" rIns="118983" bIns="59491" numCol="1" anchor="t" anchorCtr="0" compatLnSpc="1">
            <a:prstTxWarp prst="textNoShape">
              <a:avLst/>
            </a:prstTxWarp>
          </a:bodyPr>
          <a:lstStyle/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83" tIns="59491" rIns="118983" bIns="59491" numCol="1" anchor="t" anchorCtr="0" compatLnSpc="1">
            <a:prstTxWarp prst="textNoShape">
              <a:avLst/>
            </a:prstTxWarp>
          </a:bodyPr>
          <a:lstStyle/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983" tIns="59491" rIns="118983" bIns="59491" numCol="1" anchor="t" anchorCtr="0" compatLnSpc="1">
            <a:prstTxWarp prst="textNoShape">
              <a:avLst/>
            </a:prstTxWarp>
          </a:bodyPr>
          <a:lstStyle/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83" tIns="59491" rIns="118983" bIns="59491" numCol="1" anchor="t" anchorCtr="0" compatLnSpc="1">
            <a:prstTxWarp prst="textNoShape">
              <a:avLst/>
            </a:prstTxWarp>
          </a:bodyPr>
          <a:lstStyle/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3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83" tIns="59491" rIns="118983" bIns="59491" numCol="1" anchor="t" anchorCtr="0" compatLnSpc="1">
            <a:prstTxWarp prst="textNoShape">
              <a:avLst/>
            </a:prstTxWarp>
          </a:bodyPr>
          <a:lstStyle/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83" tIns="59491" rIns="118983" bIns="59491" numCol="1" anchor="t" anchorCtr="0" compatLnSpc="1">
            <a:prstTxWarp prst="textNoShape">
              <a:avLst/>
            </a:prstTxWarp>
          </a:bodyPr>
          <a:lstStyle/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55760940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602" r:id="rId1"/>
    <p:sldLayoutId id="2147484603" r:id="rId2"/>
    <p:sldLayoutId id="2147484604" r:id="rId3"/>
    <p:sldLayoutId id="2147484605" r:id="rId4"/>
    <p:sldLayoutId id="2147484606" r:id="rId5"/>
    <p:sldLayoutId id="2147484607" r:id="rId6"/>
    <p:sldLayoutId id="2147484608" r:id="rId7"/>
    <p:sldLayoutId id="2147484609" r:id="rId8"/>
  </p:sldLayoutIdLst>
  <p:hf sldNum="0" hdr="0" ftr="0" dt="0"/>
  <p:txStyles>
    <p:titleStyle>
      <a:lvl1pPr algn="l" defTabSz="594854" rtl="0" eaLnBrk="1" latinLnBrk="0" hangingPunct="1">
        <a:lnSpc>
          <a:spcPts val="5486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A037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598" indent="-239598" algn="l" defTabSz="5948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5061" indent="-229267" algn="l" defTabSz="5948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5061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4332" indent="-229267" algn="l" defTabSz="5948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4332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3607" indent="-229267" algn="l" defTabSz="5948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3607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2874" indent="-229267" algn="l" defTabSz="5948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2874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71756" indent="-297422" algn="l" defTabSz="594854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66612" indent="-297422" algn="l" defTabSz="594854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61470" indent="-297422" algn="l" defTabSz="594854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56334" indent="-297422" algn="l" defTabSz="594854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48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4854" algn="l" defTabSz="5948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9729" algn="l" defTabSz="5948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4592" algn="l" defTabSz="5948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9452" algn="l" defTabSz="5948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74325" algn="l" defTabSz="5948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69183" algn="l" defTabSz="5948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64043" algn="l" defTabSz="5948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58906" algn="l" defTabSz="5948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10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1978" y="358972"/>
            <a:ext cx="7338636" cy="102481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1855226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16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9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Freeform 28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2" name="TextBox 39"/>
          <p:cNvSpPr txBox="1"/>
          <p:nvPr userDrawn="1"/>
        </p:nvSpPr>
        <p:spPr>
          <a:xfrm>
            <a:off x="9223673" y="6781928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3363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3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14734468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612" r:id="rId1"/>
    <p:sldLayoutId id="2147484613" r:id="rId2"/>
    <p:sldLayoutId id="2147484614" r:id="rId3"/>
    <p:sldLayoutId id="2147484615" r:id="rId4"/>
    <p:sldLayoutId id="2147484616" r:id="rId5"/>
    <p:sldLayoutId id="2147484617" r:id="rId6"/>
    <p:sldLayoutId id="2147484618" r:id="rId7"/>
    <p:sldLayoutId id="2147484619" r:id="rId8"/>
  </p:sldLayoutIdLst>
  <p:hf sldNum="0" hdr="0" ftr="0" dt="0"/>
  <p:txStyles>
    <p:titleStyle>
      <a:lvl1pPr algn="l" defTabSz="593363" rtl="0" eaLnBrk="1" latinLnBrk="0" hangingPunct="1">
        <a:lnSpc>
          <a:spcPts val="5486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A037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005" indent="-239005" algn="l" defTabSz="59336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3881" indent="-228695" algn="l" defTabSz="59336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3881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2579" indent="-228695" algn="l" defTabSz="59336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2579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1282" indent="-228695" algn="l" defTabSz="59336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1282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59973" indent="-228695" algn="l" defTabSz="59336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59973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63617" indent="-296677" algn="l" defTabSz="59336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56998" indent="-296677" algn="l" defTabSz="59336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50378" indent="-296677" algn="l" defTabSz="59336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43767" indent="-296677" algn="l" defTabSz="59336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3363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6768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0158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3541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66928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60307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53688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47078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10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339284202"/>
              </p:ext>
            </p:extLst>
          </p:nvPr>
        </p:nvGraphicFramePr>
        <p:xfrm>
          <a:off x="1" y="2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86068" name="Slide do think-cell" r:id="rId12" imgW="0" imgH="0" progId="TCLayout.ActiveDocument.1">
                  <p:embed/>
                </p:oleObj>
              </mc:Choice>
              <mc:Fallback>
                <p:oleObj name="Slide do think-cell" r:id="rId12" imgW="0" imgH="0" progId="TCLayout.ActiveDocument.1">
                  <p:embed/>
                  <p:pic>
                    <p:nvPicPr>
                      <p:cNvPr id="0" name="AutoShape 310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2"/>
                        <a:ext cx="211676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10776432" y="36518"/>
            <a:ext cx="876339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3879"/>
            <a:endParaRPr lang="pt-BR" sz="800" dirty="0">
              <a:solidFill>
                <a:srgbClr val="000000"/>
              </a:solidFill>
              <a:latin typeface="Arial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10519874" y="1932900"/>
            <a:ext cx="267220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1193231"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10682583" y="4106726"/>
            <a:ext cx="234679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1193231"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936841" y="1951039"/>
            <a:ext cx="5736421" cy="11060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ext styles</a:t>
            </a:r>
          </a:p>
          <a:p>
            <a:pPr lvl="1"/>
            <a:r>
              <a:rPr lang="pt-BR" noProof="0" smtClean="0"/>
              <a:t>Second level</a:t>
            </a:r>
          </a:p>
          <a:p>
            <a:pPr lvl="2"/>
            <a:r>
              <a:rPr lang="pt-BR" noProof="0" smtClean="0"/>
              <a:t>Third level</a:t>
            </a:r>
          </a:p>
          <a:p>
            <a:pPr lvl="3"/>
            <a:r>
              <a:rPr lang="pt-BR" noProof="0" smtClean="0"/>
              <a:t>Fourth level</a:t>
            </a:r>
          </a:p>
          <a:p>
            <a:pPr lvl="4"/>
            <a:r>
              <a:rPr lang="pt-BR" noProof="0" smtClean="0"/>
              <a:t>Fifth level</a:t>
            </a:r>
            <a:endParaRPr lang="pt-BR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211676" y="230206"/>
            <a:ext cx="10530036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58776" y="26992"/>
            <a:ext cx="886083" cy="2212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1193231"/>
            <a:r>
              <a:rPr lang="pt-BR" sz="1400" smtClean="0">
                <a:solidFill>
                  <a:srgbClr val="808080"/>
                </a:solidFill>
                <a:latin typeface="Arial"/>
                <a:cs typeface="Arial" panose="020B0604020202020204" pitchFamily="34" charset="0"/>
                <a:sym typeface="Arial" panose="020B0604020202020204" pitchFamily="34" charset="0"/>
              </a:rPr>
              <a:t>TRACKER</a:t>
            </a:r>
            <a:endParaRPr lang="pt-BR" sz="1400" dirty="0">
              <a:solidFill>
                <a:srgbClr val="808080"/>
              </a:solidFill>
              <a:latin typeface="Arial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58798" y="621826"/>
            <a:ext cx="11491891" cy="281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pt-BR" sz="1800" smtClean="0">
                <a:solidFill>
                  <a:srgbClr val="D5E7FF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Unit of measure</a:t>
            </a:r>
            <a:endParaRPr lang="pt-BR" sz="1800" dirty="0" smtClean="0">
              <a:solidFill>
                <a:srgbClr val="D5E7FF">
                  <a:lumMod val="75000"/>
                </a:srgbClr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158761" y="6266357"/>
            <a:ext cx="11398753" cy="358776"/>
            <a:chOff x="75" y="3877"/>
            <a:chExt cx="5385" cy="226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877"/>
              <a:ext cx="5385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pt-BR" sz="100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1 Footnote</a:t>
              </a:r>
              <a:endParaRPr lang="pt-BR" sz="1000" dirty="0" smtClean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06"/>
              <a:ext cx="4323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t" anchorCtr="0">
              <a:spAutoFit/>
            </a:bodyPr>
            <a:lstStyle/>
            <a:p>
              <a:pPr marL="608601" indent="-608601" defTabSz="893879">
                <a:tabLst>
                  <a:tab pos="611771" algn="l"/>
                </a:tabLst>
              </a:pPr>
              <a:r>
                <a:rPr lang="pt-BR" sz="1000" dirty="0" smtClean="0">
                  <a:solidFill>
                    <a:srgbClr val="4D4D4D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FONTE: </a:t>
              </a:r>
              <a:r>
                <a:rPr lang="pt-BR" sz="1000" dirty="0" err="1" smtClean="0">
                  <a:solidFill>
                    <a:srgbClr val="4D4D4D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Source</a:t>
              </a:r>
              <a:endParaRPr lang="pt-BR" sz="1000" dirty="0">
                <a:solidFill>
                  <a:srgbClr val="4D4D4D"/>
                </a:solidFill>
                <a:latin typeface="Arial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936840" y="1123953"/>
            <a:ext cx="5685618" cy="511174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 hidden="1"/>
            <p:cNvSpPr>
              <a:spLocks noChangeArrowheads="1"/>
            </p:cNvSpPr>
            <p:nvPr/>
          </p:nvSpPr>
          <p:spPr bwMode="auto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defTabSz="1193231"/>
              <a:r>
                <a:rPr lang="pt-BR" b="1" smtClean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Title</a:t>
              </a:r>
            </a:p>
            <a:p>
              <a:pPr defTabSz="1193231"/>
              <a:r>
                <a:rPr lang="pt-BR" smtClean="0">
                  <a:solidFill>
                    <a:srgbClr val="80808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Unit of measure</a:t>
              </a:r>
              <a:endParaRPr lang="pt-BR" dirty="0">
                <a:solidFill>
                  <a:srgbClr val="808080"/>
                </a:solidFill>
                <a:latin typeface="Arial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28" name="Group 27"/>
          <p:cNvGrpSpPr/>
          <p:nvPr userDrawn="1"/>
        </p:nvGrpSpPr>
        <p:grpSpPr>
          <a:xfrm>
            <a:off x="12094498" y="60963"/>
            <a:ext cx="613376" cy="655256"/>
            <a:chOff x="5526523" y="2325890"/>
            <a:chExt cx="3423032" cy="3656747"/>
          </a:xfrm>
        </p:grpSpPr>
        <p:sp>
          <p:nvSpPr>
            <p:cNvPr id="29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193231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30" name="Group 29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31" name="Donut 30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193231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2" name="Oval 31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193231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3" name="Oval 32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193231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4664674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622" r:id="rId1"/>
    <p:sldLayoutId id="2147484623" r:id="rId2"/>
    <p:sldLayoutId id="2147484624" r:id="rId3"/>
    <p:sldLayoutId id="2147484625" r:id="rId4"/>
    <p:sldLayoutId id="2147484626" r:id="rId5"/>
    <p:sldLayoutId id="2147484627" r:id="rId6"/>
    <p:sldLayoutId id="2147484628" r:id="rId7"/>
    <p:sldLayoutId id="2147484629" r:id="rId8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893879" rtl="0" eaLnBrk="1" fontAlgn="base" hangingPunct="1">
        <a:spcBef>
          <a:spcPct val="0"/>
        </a:spcBef>
        <a:spcAft>
          <a:spcPct val="0"/>
        </a:spcAft>
        <a:tabLst>
          <a:tab pos="269438" algn="l"/>
        </a:tabLst>
        <a:defRPr lang="en-US" sz="2000" b="1" baseline="0" noProof="0" dirty="0" smtClean="0">
          <a:solidFill>
            <a:schemeClr val="accent4"/>
          </a:solidFill>
          <a:latin typeface="Arial" panose="020B0604020202020204" pitchFamily="34" charset="0"/>
          <a:ea typeface="+mj-ea"/>
          <a:cs typeface="Arial" panose="020B0604020202020204" pitchFamily="34" charset="0"/>
          <a:sym typeface="Arial" panose="020B0604020202020204" pitchFamily="34" charset="0"/>
        </a:defRPr>
      </a:lvl1pPr>
      <a:lvl2pPr algn="l" defTabSz="893879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2pPr>
      <a:lvl3pPr algn="l" defTabSz="893879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3pPr>
      <a:lvl4pPr algn="l" defTabSz="893879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4pPr>
      <a:lvl5pPr algn="l" defTabSz="893879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5pPr>
      <a:lvl6pPr marL="456454" algn="l" defTabSz="893879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6pPr>
      <a:lvl7pPr marL="912902" algn="l" defTabSz="893879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7pPr>
      <a:lvl8pPr marL="1369348" algn="l" defTabSz="893879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8pPr>
      <a:lvl9pPr marL="1825805" algn="l" defTabSz="893879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3879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400" baseline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1pPr>
      <a:lvl2pPr marL="193362" indent="-193362" algn="l" defTabSz="893879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15000"/>
        <a:buFont typeface="Simplon BP Regular" pitchFamily="2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2pPr>
      <a:lvl3pPr marL="456454" indent="-261503" algn="l" defTabSz="893879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charset="0"/>
        <a:buChar char="–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3pPr>
      <a:lvl4pPr marL="613358" indent="-155325" algn="l" defTabSz="893879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pitchFamily="34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4pPr>
      <a:lvl5pPr marL="748581" indent="-129962" algn="l" defTabSz="893879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89000"/>
        <a:buFont typeface="Arial" charset="0"/>
        <a:buChar char="-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5pPr>
      <a:lvl6pPr marL="748581" indent="-129962" algn="l" defTabSz="89387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8581" indent="-129962" algn="l" defTabSz="89387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8581" indent="-129962" algn="l" defTabSz="89387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8581" indent="-129962" algn="l" defTabSz="89387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290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454" algn="l" defTabSz="91290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2902" algn="l" defTabSz="91290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9348" algn="l" defTabSz="91290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5805" algn="l" defTabSz="91290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2250" algn="l" defTabSz="91290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38697" algn="l" defTabSz="91290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5156" algn="l" defTabSz="91290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1612" algn="l" defTabSz="91290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82" y="1854695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2045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81813" y="1855214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75" tIns="46775" rIns="46775" bIns="46775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75" tIns="46775" rIns="46775" bIns="46775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75" tIns="46775" rIns="46775" bIns="46775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75" tIns="46775" rIns="46775" bIns="46775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75" tIns="46775" rIns="46775" bIns="46775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75" tIns="46775" rIns="46775" bIns="46775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75" tIns="46775" rIns="46775" bIns="46775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9223673" y="6781916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3972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6399455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807" r:id="rId1"/>
    <p:sldLayoutId id="2147484808" r:id="rId2"/>
    <p:sldLayoutId id="2147484809" r:id="rId3"/>
    <p:sldLayoutId id="2147484810" r:id="rId4"/>
  </p:sldLayoutIdLst>
  <p:hf sldNum="0" hdr="0" ftr="0" dt="0"/>
  <p:txStyles>
    <p:titleStyle>
      <a:lvl1pPr algn="l" defTabSz="593972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246" indent="-239246" algn="l" defTabSz="593972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4363" indent="-228927" algn="l" defTabSz="593972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4363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3296" indent="-228927" algn="l" defTabSz="593972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3296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2232" indent="-228927" algn="l" defTabSz="593972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2232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1158" indent="-228927" algn="l" defTabSz="593972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1158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66945" indent="-296983" algn="l" defTabSz="593972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60927" indent="-296983" algn="l" defTabSz="593972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54913" indent="-296983" algn="l" defTabSz="593972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48906" indent="-296983" algn="l" defTabSz="593972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3972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7980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1972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5954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69951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63935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57922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51913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10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1978" y="358964"/>
            <a:ext cx="7338636" cy="102481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3772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1855218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3772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59" tIns="46759" rIns="46759" bIns="46759" numCol="1" anchor="t" anchorCtr="0" compatLnSpc="1">
            <a:prstTxWarp prst="textNoShape">
              <a:avLst/>
            </a:prstTxWarp>
          </a:bodyPr>
          <a:lstStyle/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16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59" tIns="46759" rIns="46759" bIns="46759" numCol="1" anchor="t" anchorCtr="0" compatLnSpc="1">
            <a:prstTxWarp prst="textNoShape">
              <a:avLst/>
            </a:prstTxWarp>
          </a:bodyPr>
          <a:lstStyle/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59" tIns="46759" rIns="46759" bIns="46759" numCol="1" anchor="t" anchorCtr="0" compatLnSpc="1">
            <a:prstTxWarp prst="textNoShape">
              <a:avLst/>
            </a:prstTxWarp>
          </a:bodyPr>
          <a:lstStyle/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9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59" tIns="46759" rIns="46759" bIns="46759" numCol="1" anchor="t" anchorCtr="0" compatLnSpc="1">
            <a:prstTxWarp prst="textNoShape">
              <a:avLst/>
            </a:prstTxWarp>
          </a:bodyPr>
          <a:lstStyle/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Freeform 28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59" tIns="46759" rIns="46759" bIns="46759" numCol="1" anchor="t" anchorCtr="0" compatLnSpc="1">
            <a:prstTxWarp prst="textNoShape">
              <a:avLst/>
            </a:prstTxWarp>
          </a:bodyPr>
          <a:lstStyle/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59" tIns="46759" rIns="46759" bIns="46759" numCol="1" anchor="t" anchorCtr="0" compatLnSpc="1">
            <a:prstTxWarp prst="textNoShape">
              <a:avLst/>
            </a:prstTxWarp>
          </a:bodyPr>
          <a:lstStyle/>
          <a:p>
            <a:pPr defTabSz="59377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377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377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59" tIns="46759" rIns="46759" bIns="46759" numCol="1" anchor="t" anchorCtr="0" compatLnSpc="1">
            <a:prstTxWarp prst="textNoShape">
              <a:avLst/>
            </a:prstTxWarp>
          </a:bodyPr>
          <a:lstStyle/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2" name="TextBox 39"/>
          <p:cNvSpPr txBox="1"/>
          <p:nvPr userDrawn="1"/>
        </p:nvSpPr>
        <p:spPr>
          <a:xfrm>
            <a:off x="9223673" y="6781920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3772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772" tIns="59387" rIns="118772" bIns="59387" numCol="1" anchor="t" anchorCtr="0" compatLnSpc="1">
            <a:prstTxWarp prst="textNoShape">
              <a:avLst/>
            </a:prstTxWarp>
          </a:bodyPr>
          <a:lstStyle/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72" tIns="59387" rIns="118772" bIns="59387" numCol="1" anchor="t" anchorCtr="0" compatLnSpc="1">
            <a:prstTxWarp prst="textNoShape">
              <a:avLst/>
            </a:prstTxWarp>
          </a:bodyPr>
          <a:lstStyle/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72" tIns="59387" rIns="118772" bIns="59387" numCol="1" anchor="t" anchorCtr="0" compatLnSpc="1">
            <a:prstTxWarp prst="textNoShape">
              <a:avLst/>
            </a:prstTxWarp>
          </a:bodyPr>
          <a:lstStyle/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72" tIns="59387" rIns="118772" bIns="59387" numCol="1" anchor="t" anchorCtr="0" compatLnSpc="1">
            <a:prstTxWarp prst="textNoShape">
              <a:avLst/>
            </a:prstTxWarp>
          </a:bodyPr>
          <a:lstStyle/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772" tIns="59387" rIns="118772" bIns="59387" numCol="1" anchor="t" anchorCtr="0" compatLnSpc="1">
            <a:prstTxWarp prst="textNoShape">
              <a:avLst/>
            </a:prstTxWarp>
          </a:bodyPr>
          <a:lstStyle/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72" tIns="59387" rIns="118772" bIns="59387" numCol="1" anchor="t" anchorCtr="0" compatLnSpc="1">
            <a:prstTxWarp prst="textNoShape">
              <a:avLst/>
            </a:prstTxWarp>
          </a:bodyPr>
          <a:lstStyle/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72" tIns="59387" rIns="118772" bIns="59387" numCol="1" anchor="t" anchorCtr="0" compatLnSpc="1">
            <a:prstTxWarp prst="textNoShape">
              <a:avLst/>
            </a:prstTxWarp>
          </a:bodyPr>
          <a:lstStyle/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72" tIns="59387" rIns="118772" bIns="59387" numCol="1" anchor="t" anchorCtr="0" compatLnSpc="1">
            <a:prstTxWarp prst="textNoShape">
              <a:avLst/>
            </a:prstTxWarp>
          </a:bodyPr>
          <a:lstStyle/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772" tIns="59387" rIns="118772" bIns="59387" numCol="1" anchor="t" anchorCtr="0" compatLnSpc="1">
            <a:prstTxWarp prst="textNoShape">
              <a:avLst/>
            </a:prstTxWarp>
          </a:bodyPr>
          <a:lstStyle/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72" tIns="59387" rIns="118772" bIns="59387" numCol="1" anchor="t" anchorCtr="0" compatLnSpc="1">
            <a:prstTxWarp prst="textNoShape">
              <a:avLst/>
            </a:prstTxWarp>
          </a:bodyPr>
          <a:lstStyle/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3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72" tIns="59387" rIns="118772" bIns="59387" numCol="1" anchor="t" anchorCtr="0" compatLnSpc="1">
            <a:prstTxWarp prst="textNoShape">
              <a:avLst/>
            </a:prstTxWarp>
          </a:bodyPr>
          <a:lstStyle/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72" tIns="59387" rIns="118772" bIns="59387" numCol="1" anchor="t" anchorCtr="0" compatLnSpc="1">
            <a:prstTxWarp prst="textNoShape">
              <a:avLst/>
            </a:prstTxWarp>
          </a:bodyPr>
          <a:lstStyle/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91664811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812" r:id="rId1"/>
    <p:sldLayoutId id="2147484813" r:id="rId2"/>
    <p:sldLayoutId id="2147484814" r:id="rId3"/>
    <p:sldLayoutId id="2147484815" r:id="rId4"/>
    <p:sldLayoutId id="2147484816" r:id="rId5"/>
    <p:sldLayoutId id="2147484817" r:id="rId6"/>
    <p:sldLayoutId id="2147484818" r:id="rId7"/>
    <p:sldLayoutId id="2147484819" r:id="rId8"/>
  </p:sldLayoutIdLst>
  <p:hf sldNum="0" hdr="0" ftr="0" dt="0"/>
  <p:txStyles>
    <p:titleStyle>
      <a:lvl1pPr algn="l" defTabSz="593772" rtl="0" eaLnBrk="1" latinLnBrk="0" hangingPunct="1">
        <a:lnSpc>
          <a:spcPts val="5486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A037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164" indent="-239164" algn="l" defTabSz="593772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4203" indent="-228850" algn="l" defTabSz="593772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4203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3056" indent="-228850" algn="l" defTabSz="593772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3056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1916" indent="-228850" algn="l" defTabSz="593772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1916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0763" indent="-228850" algn="l" defTabSz="593772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0763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65835" indent="-296881" algn="l" defTabSz="593772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59617" indent="-296881" algn="l" defTabSz="593772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53400" indent="-296881" algn="l" defTabSz="593772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47194" indent="-296881" algn="l" defTabSz="593772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37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3772" algn="l" defTabSz="5937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7576" algn="l" defTabSz="5937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1367" algn="l" defTabSz="5937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5148" algn="l" defTabSz="5937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68944" algn="l" defTabSz="5937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62725" algn="l" defTabSz="5937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56509" algn="l" defTabSz="5937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50299" algn="l" defTabSz="5937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10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30713279"/>
              </p:ext>
            </p:extLst>
          </p:nvPr>
        </p:nvGraphicFramePr>
        <p:xfrm>
          <a:off x="1" y="2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95271" name="Slide do think-cell" r:id="rId13" imgW="0" imgH="0" progId="TCLayout.ActiveDocument.1">
                  <p:embed/>
                </p:oleObj>
              </mc:Choice>
              <mc:Fallback>
                <p:oleObj name="Slide do think-cell" r:id="rId13" imgW="0" imgH="0" progId="TCLayout.ActiveDocument.1">
                  <p:embed/>
                  <p:pic>
                    <p:nvPicPr>
                      <p:cNvPr id="0" name="AutoShape 29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2"/>
                        <a:ext cx="211676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10776432" y="36518"/>
            <a:ext cx="876339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87726"/>
            <a:endParaRPr lang="pt-BR" sz="8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10519874" y="1932900"/>
            <a:ext cx="267220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10682583" y="4106726"/>
            <a:ext cx="234679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936841" y="1951039"/>
            <a:ext cx="5736421" cy="11060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ext styles</a:t>
            </a:r>
          </a:p>
          <a:p>
            <a:pPr lvl="1"/>
            <a:r>
              <a:rPr lang="pt-BR" noProof="0" smtClean="0"/>
              <a:t>Second level</a:t>
            </a:r>
          </a:p>
          <a:p>
            <a:pPr lvl="2"/>
            <a:r>
              <a:rPr lang="pt-BR" noProof="0" smtClean="0"/>
              <a:t>Third level</a:t>
            </a:r>
          </a:p>
          <a:p>
            <a:pPr lvl="3"/>
            <a:r>
              <a:rPr lang="pt-BR" noProof="0" smtClean="0"/>
              <a:t>Fourth level</a:t>
            </a:r>
          </a:p>
          <a:p>
            <a:pPr lvl="4"/>
            <a:r>
              <a:rPr lang="pt-BR" noProof="0" smtClean="0"/>
              <a:t>Fifth level</a:t>
            </a:r>
            <a:endParaRPr lang="pt-BR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211676" y="230284"/>
            <a:ext cx="10530036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58857" y="26992"/>
            <a:ext cx="886083" cy="2212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pt-BR" sz="1400" smtClean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TRACKER</a:t>
            </a:r>
            <a:endParaRPr lang="pt-BR" sz="1400" dirty="0">
              <a:solidFill>
                <a:srgbClr val="80808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58879" y="621826"/>
            <a:ext cx="11491891" cy="281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pt-BR" sz="1800" smtClean="0">
                <a:solidFill>
                  <a:srgbClr val="D5E7FF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Unit of measure</a:t>
            </a:r>
            <a:endParaRPr lang="pt-BR" sz="1800" dirty="0" smtClean="0">
              <a:solidFill>
                <a:srgbClr val="D5E7FF">
                  <a:lumMod val="75000"/>
                </a:srgbClr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158761" y="6265638"/>
            <a:ext cx="11398753" cy="358776"/>
            <a:chOff x="75" y="3877"/>
            <a:chExt cx="5385" cy="226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877"/>
              <a:ext cx="5385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pt-BR" sz="100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1 Footnote</a:t>
              </a:r>
              <a:endParaRPr lang="pt-BR" sz="1000" dirty="0" smtClean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06"/>
              <a:ext cx="4323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t" anchorCtr="0">
              <a:spAutoFit/>
            </a:bodyPr>
            <a:lstStyle/>
            <a:p>
              <a:pPr marL="604440" indent="-604440" defTabSz="887726">
                <a:tabLst>
                  <a:tab pos="607566" algn="l"/>
                </a:tabLst>
              </a:pPr>
              <a:r>
                <a:rPr lang="pt-BR" sz="1000" dirty="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FONTE: </a:t>
              </a:r>
              <a:r>
                <a:rPr lang="pt-BR" sz="1000" dirty="0" err="1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ource</a:t>
              </a:r>
              <a:endParaRPr lang="pt-BR" sz="1000" dirty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936840" y="1123953"/>
            <a:ext cx="5685618" cy="511174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 hidden="1"/>
            <p:cNvSpPr>
              <a:spLocks noChangeArrowheads="1"/>
            </p:cNvSpPr>
            <p:nvPr/>
          </p:nvSpPr>
          <p:spPr bwMode="auto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pt-BR" b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itle</a:t>
              </a:r>
            </a:p>
            <a:p>
              <a:r>
                <a:rPr lang="pt-BR" smtClean="0">
                  <a:solidFill>
                    <a:srgbClr val="80808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Unit of measure</a:t>
              </a:r>
              <a:endParaRPr lang="pt-BR" dirty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28" name="Group 27"/>
          <p:cNvGrpSpPr/>
          <p:nvPr userDrawn="1"/>
        </p:nvGrpSpPr>
        <p:grpSpPr>
          <a:xfrm>
            <a:off x="11335740" y="60963"/>
            <a:ext cx="613376" cy="655256"/>
            <a:chOff x="5526523" y="2325890"/>
            <a:chExt cx="3423032" cy="3656747"/>
          </a:xfrm>
        </p:grpSpPr>
        <p:sp>
          <p:nvSpPr>
            <p:cNvPr id="29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30" name="Group 29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31" name="Donut 30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2" name="Oval 31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3" name="Oval 32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4738681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822" r:id="rId1"/>
    <p:sldLayoutId id="2147484823" r:id="rId2"/>
    <p:sldLayoutId id="2147484824" r:id="rId3"/>
    <p:sldLayoutId id="2147484825" r:id="rId4"/>
    <p:sldLayoutId id="2147484826" r:id="rId5"/>
    <p:sldLayoutId id="2147484827" r:id="rId6"/>
    <p:sldLayoutId id="2147484828" r:id="rId7"/>
    <p:sldLayoutId id="2147484829" r:id="rId8"/>
    <p:sldLayoutId id="2147484830" r:id="rId9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defTabSz="887726" rtl="0" eaLnBrk="1" fontAlgn="base" hangingPunct="1">
        <a:spcBef>
          <a:spcPct val="0"/>
        </a:spcBef>
        <a:spcAft>
          <a:spcPct val="0"/>
        </a:spcAft>
        <a:tabLst>
          <a:tab pos="267599" algn="l"/>
        </a:tabLst>
        <a:defRPr lang="en-US" sz="2000" b="1" baseline="0" noProof="0" dirty="0" smtClean="0">
          <a:solidFill>
            <a:schemeClr val="accent4"/>
          </a:solidFill>
          <a:latin typeface="Arial" panose="020B0604020202020204" pitchFamily="34" charset="0"/>
          <a:ea typeface="+mj-ea"/>
          <a:cs typeface="Arial" panose="020B0604020202020204" pitchFamily="34" charset="0"/>
          <a:sym typeface="Arial" panose="020B0604020202020204" pitchFamily="34" charset="0"/>
        </a:defRPr>
      </a:lvl1pPr>
      <a:lvl2pPr algn="l" defTabSz="887726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2pPr>
      <a:lvl3pPr algn="l" defTabSz="887726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3pPr>
      <a:lvl4pPr algn="l" defTabSz="887726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4pPr>
      <a:lvl5pPr algn="l" defTabSz="887726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5pPr>
      <a:lvl6pPr marL="453340" algn="l" defTabSz="887726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6pPr>
      <a:lvl7pPr marL="906629" algn="l" defTabSz="887726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7pPr>
      <a:lvl8pPr marL="1359927" algn="l" defTabSz="887726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8pPr>
      <a:lvl9pPr marL="1813245" algn="l" defTabSz="887726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87726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400" baseline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1pPr>
      <a:lvl2pPr marL="192050" indent="-192050" algn="l" defTabSz="887726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15000"/>
        <a:buFont typeface="Simplon BP Regular" pitchFamily="2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2pPr>
      <a:lvl3pPr marL="453340" indent="-259687" algn="l" defTabSz="887726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charset="0"/>
        <a:buChar char="–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3pPr>
      <a:lvl4pPr marL="609138" indent="-154286" algn="l" defTabSz="887726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pitchFamily="34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4pPr>
      <a:lvl5pPr marL="743414" indent="-129072" algn="l" defTabSz="887726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89000"/>
        <a:buFont typeface="Arial" charset="0"/>
        <a:buChar char="-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5pPr>
      <a:lvl6pPr marL="743414" indent="-129072" algn="l" defTabSz="8877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3414" indent="-129072" algn="l" defTabSz="8877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3414" indent="-129072" algn="l" defTabSz="8877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3414" indent="-129072" algn="l" defTabSz="8877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066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3340" algn="l" defTabSz="9066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06629" algn="l" defTabSz="9066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59927" algn="l" defTabSz="9066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13245" algn="l" defTabSz="9066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66555" algn="l" defTabSz="9066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19859" algn="l" defTabSz="9066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73172" algn="l" defTabSz="9066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26486" algn="l" defTabSz="9066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82" y="1854695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2045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81813" y="1855214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75" tIns="46775" rIns="46775" bIns="46775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75" tIns="46775" rIns="46775" bIns="46775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75" tIns="46775" rIns="46775" bIns="46775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75" tIns="46775" rIns="46775" bIns="46775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75" tIns="46775" rIns="46775" bIns="46775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75" tIns="46775" rIns="46775" bIns="46775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75" tIns="46775" rIns="46775" bIns="46775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9223673" y="6781916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3972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25721377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834" r:id="rId1"/>
    <p:sldLayoutId id="2147484835" r:id="rId2"/>
    <p:sldLayoutId id="2147484836" r:id="rId3"/>
    <p:sldLayoutId id="2147484837" r:id="rId4"/>
    <p:sldLayoutId id="2147484838" r:id="rId5"/>
    <p:sldLayoutId id="2147484839" r:id="rId6"/>
    <p:sldLayoutId id="2147484840" r:id="rId7"/>
    <p:sldLayoutId id="2147484841" r:id="rId8"/>
    <p:sldLayoutId id="2147484842" r:id="rId9"/>
    <p:sldLayoutId id="2147484843" r:id="rId10"/>
  </p:sldLayoutIdLst>
  <p:hf sldNum="0" hdr="0" ftr="0" dt="0"/>
  <p:txStyles>
    <p:titleStyle>
      <a:lvl1pPr algn="l" defTabSz="593972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246" indent="-239246" algn="l" defTabSz="593972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4363" indent="-228927" algn="l" defTabSz="593972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4363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3296" indent="-228927" algn="l" defTabSz="593972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3296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2232" indent="-228927" algn="l" defTabSz="593972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2232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1158" indent="-228927" algn="l" defTabSz="593972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1158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66945" indent="-296983" algn="l" defTabSz="593972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60927" indent="-296983" algn="l" defTabSz="593972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54913" indent="-296983" algn="l" defTabSz="593972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48906" indent="-296983" algn="l" defTabSz="593972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3972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7980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1972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5954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69951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63935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57922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51913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1978" y="358998"/>
            <a:ext cx="7338636" cy="102481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2014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1855253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2014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2014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23" tIns="46623" rIns="46623" bIns="46623" numCol="1" anchor="t" anchorCtr="0" compatLnSpc="1">
            <a:prstTxWarp prst="textNoShape">
              <a:avLst/>
            </a:prstTxWarp>
          </a:bodyPr>
          <a:lstStyle/>
          <a:p>
            <a:pPr defTabSz="59201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201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201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16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23" tIns="46623" rIns="46623" bIns="46623" numCol="1" anchor="t" anchorCtr="0" compatLnSpc="1">
            <a:prstTxWarp prst="textNoShape">
              <a:avLst/>
            </a:prstTxWarp>
          </a:bodyPr>
          <a:lstStyle/>
          <a:p>
            <a:pPr defTabSz="59201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201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201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23" tIns="46623" rIns="46623" bIns="46623" numCol="1" anchor="t" anchorCtr="0" compatLnSpc="1">
            <a:prstTxWarp prst="textNoShape">
              <a:avLst/>
            </a:prstTxWarp>
          </a:bodyPr>
          <a:lstStyle/>
          <a:p>
            <a:pPr defTabSz="59201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201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201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9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23" tIns="46623" rIns="46623" bIns="46623" numCol="1" anchor="t" anchorCtr="0" compatLnSpc="1">
            <a:prstTxWarp prst="textNoShape">
              <a:avLst/>
            </a:prstTxWarp>
          </a:bodyPr>
          <a:lstStyle/>
          <a:p>
            <a:pPr defTabSz="59201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201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201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Freeform 28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23" tIns="46623" rIns="46623" bIns="46623" numCol="1" anchor="t" anchorCtr="0" compatLnSpc="1">
            <a:prstTxWarp prst="textNoShape">
              <a:avLst/>
            </a:prstTxWarp>
          </a:bodyPr>
          <a:lstStyle/>
          <a:p>
            <a:pPr defTabSz="59201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201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201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23" tIns="46623" rIns="46623" bIns="46623" numCol="1" anchor="t" anchorCtr="0" compatLnSpc="1">
            <a:prstTxWarp prst="textNoShape">
              <a:avLst/>
            </a:prstTxWarp>
          </a:bodyPr>
          <a:lstStyle/>
          <a:p>
            <a:pPr defTabSz="59201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201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201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23" tIns="46623" rIns="46623" bIns="46623" numCol="1" anchor="t" anchorCtr="0" compatLnSpc="1">
            <a:prstTxWarp prst="textNoShape">
              <a:avLst/>
            </a:prstTxWarp>
          </a:bodyPr>
          <a:lstStyle/>
          <a:p>
            <a:pPr defTabSz="59201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201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201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2" name="TextBox 39"/>
          <p:cNvSpPr txBox="1"/>
          <p:nvPr userDrawn="1"/>
        </p:nvSpPr>
        <p:spPr>
          <a:xfrm>
            <a:off x="9223673" y="6781954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2014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29" tIns="59216" rIns="118429" bIns="59216" numCol="1" anchor="t" anchorCtr="0" compatLnSpc="1">
            <a:prstTxWarp prst="textNoShape">
              <a:avLst/>
            </a:prstTxWarp>
          </a:bodyPr>
          <a:lstStyle/>
          <a:p>
            <a:pPr defTabSz="59201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29" tIns="59216" rIns="118429" bIns="59216" numCol="1" anchor="t" anchorCtr="0" compatLnSpc="1">
            <a:prstTxWarp prst="textNoShape">
              <a:avLst/>
            </a:prstTxWarp>
          </a:bodyPr>
          <a:lstStyle/>
          <a:p>
            <a:pPr defTabSz="59201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29" tIns="59216" rIns="118429" bIns="59216" numCol="1" anchor="t" anchorCtr="0" compatLnSpc="1">
            <a:prstTxWarp prst="textNoShape">
              <a:avLst/>
            </a:prstTxWarp>
          </a:bodyPr>
          <a:lstStyle/>
          <a:p>
            <a:pPr defTabSz="59201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29" tIns="59216" rIns="118429" bIns="59216" numCol="1" anchor="t" anchorCtr="0" compatLnSpc="1">
            <a:prstTxWarp prst="textNoShape">
              <a:avLst/>
            </a:prstTxWarp>
          </a:bodyPr>
          <a:lstStyle/>
          <a:p>
            <a:pPr defTabSz="59201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29" tIns="59216" rIns="118429" bIns="59216" numCol="1" anchor="t" anchorCtr="0" compatLnSpc="1">
            <a:prstTxWarp prst="textNoShape">
              <a:avLst/>
            </a:prstTxWarp>
          </a:bodyPr>
          <a:lstStyle/>
          <a:p>
            <a:pPr defTabSz="59201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29" tIns="59216" rIns="118429" bIns="59216" numCol="1" anchor="t" anchorCtr="0" compatLnSpc="1">
            <a:prstTxWarp prst="textNoShape">
              <a:avLst/>
            </a:prstTxWarp>
          </a:bodyPr>
          <a:lstStyle/>
          <a:p>
            <a:pPr defTabSz="59201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29" tIns="59216" rIns="118429" bIns="59216" numCol="1" anchor="t" anchorCtr="0" compatLnSpc="1">
            <a:prstTxWarp prst="textNoShape">
              <a:avLst/>
            </a:prstTxWarp>
          </a:bodyPr>
          <a:lstStyle/>
          <a:p>
            <a:pPr defTabSz="59201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29" tIns="59216" rIns="118429" bIns="59216" numCol="1" anchor="t" anchorCtr="0" compatLnSpc="1">
            <a:prstTxWarp prst="textNoShape">
              <a:avLst/>
            </a:prstTxWarp>
          </a:bodyPr>
          <a:lstStyle/>
          <a:p>
            <a:pPr defTabSz="59201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29" tIns="59216" rIns="118429" bIns="59216" numCol="1" anchor="t" anchorCtr="0" compatLnSpc="1">
            <a:prstTxWarp prst="textNoShape">
              <a:avLst/>
            </a:prstTxWarp>
          </a:bodyPr>
          <a:lstStyle/>
          <a:p>
            <a:pPr defTabSz="59201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29" tIns="59216" rIns="118429" bIns="59216" numCol="1" anchor="t" anchorCtr="0" compatLnSpc="1">
            <a:prstTxWarp prst="textNoShape">
              <a:avLst/>
            </a:prstTxWarp>
          </a:bodyPr>
          <a:lstStyle/>
          <a:p>
            <a:pPr defTabSz="59201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3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29" tIns="59216" rIns="118429" bIns="59216" numCol="1" anchor="t" anchorCtr="0" compatLnSpc="1">
            <a:prstTxWarp prst="textNoShape">
              <a:avLst/>
            </a:prstTxWarp>
          </a:bodyPr>
          <a:lstStyle/>
          <a:p>
            <a:pPr defTabSz="59201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29" tIns="59216" rIns="118429" bIns="59216" numCol="1" anchor="t" anchorCtr="0" compatLnSpc="1">
            <a:prstTxWarp prst="textNoShape">
              <a:avLst/>
            </a:prstTxWarp>
          </a:bodyPr>
          <a:lstStyle/>
          <a:p>
            <a:pPr defTabSz="59201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3176263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2" r:id="rId1"/>
    <p:sldLayoutId id="2147483813" r:id="rId2"/>
    <p:sldLayoutId id="2147483814" r:id="rId3"/>
    <p:sldLayoutId id="2147483815" r:id="rId4"/>
    <p:sldLayoutId id="2147483816" r:id="rId5"/>
    <p:sldLayoutId id="2147483817" r:id="rId6"/>
    <p:sldLayoutId id="2147483818" r:id="rId7"/>
    <p:sldLayoutId id="2147483819" r:id="rId8"/>
  </p:sldLayoutIdLst>
  <p:hf sldNum="0" hdr="0" ftr="0" dt="0"/>
  <p:txStyles>
    <p:titleStyle>
      <a:lvl1pPr algn="l" defTabSz="592014" rtl="0" eaLnBrk="1" latinLnBrk="0" hangingPunct="1">
        <a:lnSpc>
          <a:spcPts val="5486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A037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8464" indent="-238464" algn="l" defTabSz="59201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2810" indent="-228180" algn="l" defTabSz="59201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2810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0990" indent="-228180" algn="l" defTabSz="59201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0990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29176" indent="-228180" algn="l" defTabSz="59201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29176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57336" indent="-228180" algn="l" defTabSz="59201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57336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56240" indent="-295999" algn="l" defTabSz="592014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48275" indent="-295999" algn="l" defTabSz="592014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40318" indent="-295999" algn="l" defTabSz="592014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32360" indent="-295999" algn="l" defTabSz="592014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201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2014" algn="l" defTabSz="59201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4084" algn="l" defTabSz="59201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76135" algn="l" defTabSz="59201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68176" algn="l" defTabSz="59201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60216" algn="l" defTabSz="59201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52253" algn="l" defTabSz="59201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44302" algn="l" defTabSz="59201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36345" algn="l" defTabSz="59201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1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548992426"/>
              </p:ext>
            </p:extLst>
          </p:nvPr>
        </p:nvGraphicFramePr>
        <p:xfrm>
          <a:off x="1" y="2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02429" name="Slide do think-cell" r:id="rId12" imgW="0" imgH="0" progId="TCLayout.ActiveDocument.1">
                  <p:embed/>
                </p:oleObj>
              </mc:Choice>
              <mc:Fallback>
                <p:oleObj name="Slide do think-cell" r:id="rId12" imgW="0" imgH="0" progId="TCLayout.ActiveDocument.1">
                  <p:embed/>
                  <p:pic>
                    <p:nvPicPr>
                      <p:cNvPr id="0" name="AutoShape 28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2"/>
                        <a:ext cx="211676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10776432" y="36518"/>
            <a:ext cx="876339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87726"/>
            <a:endParaRPr lang="pt-BR" sz="8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10519874" y="1932900"/>
            <a:ext cx="267220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10682583" y="4106726"/>
            <a:ext cx="234679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936841" y="1951039"/>
            <a:ext cx="5736421" cy="11060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ext styles</a:t>
            </a:r>
          </a:p>
          <a:p>
            <a:pPr lvl="1"/>
            <a:r>
              <a:rPr lang="pt-BR" noProof="0" smtClean="0"/>
              <a:t>Second level</a:t>
            </a:r>
          </a:p>
          <a:p>
            <a:pPr lvl="2"/>
            <a:r>
              <a:rPr lang="pt-BR" noProof="0" smtClean="0"/>
              <a:t>Third level</a:t>
            </a:r>
          </a:p>
          <a:p>
            <a:pPr lvl="3"/>
            <a:r>
              <a:rPr lang="pt-BR" noProof="0" smtClean="0"/>
              <a:t>Fourth level</a:t>
            </a:r>
          </a:p>
          <a:p>
            <a:pPr lvl="4"/>
            <a:r>
              <a:rPr lang="pt-BR" noProof="0" smtClean="0"/>
              <a:t>Fifth level</a:t>
            </a:r>
            <a:endParaRPr lang="pt-BR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211676" y="230284"/>
            <a:ext cx="10530036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58857" y="26992"/>
            <a:ext cx="886083" cy="2212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pt-BR" sz="1400" smtClean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TRACKER</a:t>
            </a:r>
            <a:endParaRPr lang="pt-BR" sz="1400" dirty="0">
              <a:solidFill>
                <a:srgbClr val="80808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58879" y="621826"/>
            <a:ext cx="11491891" cy="281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pt-BR" sz="1800" smtClean="0">
                <a:solidFill>
                  <a:srgbClr val="D5E7FF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Unit of measure</a:t>
            </a:r>
            <a:endParaRPr lang="pt-BR" sz="1800" dirty="0" smtClean="0">
              <a:solidFill>
                <a:srgbClr val="D5E7FF">
                  <a:lumMod val="75000"/>
                </a:srgbClr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158761" y="6265638"/>
            <a:ext cx="11398753" cy="358776"/>
            <a:chOff x="75" y="3877"/>
            <a:chExt cx="5385" cy="226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877"/>
              <a:ext cx="5385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pt-BR" sz="100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1 Footnote</a:t>
              </a:r>
              <a:endParaRPr lang="pt-BR" sz="1000" dirty="0" smtClean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06"/>
              <a:ext cx="4323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t" anchorCtr="0">
              <a:spAutoFit/>
            </a:bodyPr>
            <a:lstStyle/>
            <a:p>
              <a:pPr marL="604440" indent="-604440" defTabSz="887726">
                <a:tabLst>
                  <a:tab pos="607566" algn="l"/>
                </a:tabLst>
              </a:pPr>
              <a:r>
                <a:rPr lang="pt-BR" sz="1000" dirty="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FONTE: </a:t>
              </a:r>
              <a:r>
                <a:rPr lang="pt-BR" sz="1000" dirty="0" err="1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ource</a:t>
              </a:r>
              <a:endParaRPr lang="pt-BR" sz="1000" dirty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936840" y="1123953"/>
            <a:ext cx="5685618" cy="511174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 hidden="1"/>
            <p:cNvSpPr>
              <a:spLocks noChangeArrowheads="1"/>
            </p:cNvSpPr>
            <p:nvPr/>
          </p:nvSpPr>
          <p:spPr bwMode="auto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pt-BR" b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itle</a:t>
              </a:r>
            </a:p>
            <a:p>
              <a:r>
                <a:rPr lang="pt-BR" smtClean="0">
                  <a:solidFill>
                    <a:srgbClr val="80808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Unit of measure</a:t>
              </a:r>
              <a:endParaRPr lang="pt-BR" dirty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28" name="Group 27"/>
          <p:cNvGrpSpPr/>
          <p:nvPr userDrawn="1"/>
        </p:nvGrpSpPr>
        <p:grpSpPr>
          <a:xfrm>
            <a:off x="11335740" y="60963"/>
            <a:ext cx="613376" cy="655256"/>
            <a:chOff x="5526523" y="2325890"/>
            <a:chExt cx="3423032" cy="3656747"/>
          </a:xfrm>
        </p:grpSpPr>
        <p:sp>
          <p:nvSpPr>
            <p:cNvPr id="29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30" name="Group 29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31" name="Donut 30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2" name="Oval 31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3" name="Oval 32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65100966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845" r:id="rId1"/>
    <p:sldLayoutId id="2147484846" r:id="rId2"/>
    <p:sldLayoutId id="2147484847" r:id="rId3"/>
    <p:sldLayoutId id="2147484848" r:id="rId4"/>
    <p:sldLayoutId id="2147484849" r:id="rId5"/>
    <p:sldLayoutId id="2147484850" r:id="rId6"/>
    <p:sldLayoutId id="2147484851" r:id="rId7"/>
    <p:sldLayoutId id="2147484852" r:id="rId8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887726" rtl="0" eaLnBrk="1" fontAlgn="base" hangingPunct="1">
        <a:spcBef>
          <a:spcPct val="0"/>
        </a:spcBef>
        <a:spcAft>
          <a:spcPct val="0"/>
        </a:spcAft>
        <a:tabLst>
          <a:tab pos="267599" algn="l"/>
        </a:tabLst>
        <a:defRPr lang="en-US" sz="2000" b="1" baseline="0" noProof="0" dirty="0" smtClean="0">
          <a:solidFill>
            <a:schemeClr val="accent4"/>
          </a:solidFill>
          <a:latin typeface="Arial" panose="020B0604020202020204" pitchFamily="34" charset="0"/>
          <a:ea typeface="+mj-ea"/>
          <a:cs typeface="Arial" panose="020B0604020202020204" pitchFamily="34" charset="0"/>
          <a:sym typeface="Arial" panose="020B0604020202020204" pitchFamily="34" charset="0"/>
        </a:defRPr>
      </a:lvl1pPr>
      <a:lvl2pPr algn="l" defTabSz="887726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2pPr>
      <a:lvl3pPr algn="l" defTabSz="887726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3pPr>
      <a:lvl4pPr algn="l" defTabSz="887726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4pPr>
      <a:lvl5pPr algn="l" defTabSz="887726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5pPr>
      <a:lvl6pPr marL="453340" algn="l" defTabSz="887726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6pPr>
      <a:lvl7pPr marL="906629" algn="l" defTabSz="887726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7pPr>
      <a:lvl8pPr marL="1359927" algn="l" defTabSz="887726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8pPr>
      <a:lvl9pPr marL="1813245" algn="l" defTabSz="887726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87726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400" baseline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1pPr>
      <a:lvl2pPr marL="192050" indent="-192050" algn="l" defTabSz="887726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15000"/>
        <a:buFont typeface="Simplon BP Regular" pitchFamily="2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2pPr>
      <a:lvl3pPr marL="453340" indent="-259687" algn="l" defTabSz="887726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charset="0"/>
        <a:buChar char="–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3pPr>
      <a:lvl4pPr marL="609138" indent="-154286" algn="l" defTabSz="887726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pitchFamily="34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4pPr>
      <a:lvl5pPr marL="743414" indent="-129072" algn="l" defTabSz="887726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89000"/>
        <a:buFont typeface="Arial" charset="0"/>
        <a:buChar char="-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5pPr>
      <a:lvl6pPr marL="743414" indent="-129072" algn="l" defTabSz="8877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3414" indent="-129072" algn="l" defTabSz="8877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3414" indent="-129072" algn="l" defTabSz="8877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3414" indent="-129072" algn="l" defTabSz="8877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066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3340" algn="l" defTabSz="9066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06629" algn="l" defTabSz="9066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59927" algn="l" defTabSz="9066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13245" algn="l" defTabSz="9066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66555" algn="l" defTabSz="9066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19859" algn="l" defTabSz="9066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73172" algn="l" defTabSz="9066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26486" algn="l" defTabSz="9066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1165204871"/>
              </p:ext>
            </p:extLst>
          </p:nvPr>
        </p:nvGraphicFramePr>
        <p:xfrm>
          <a:off x="2077" y="2077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07549" name="Slide do think-cell" r:id="rId12" imgW="0" imgH="0" progId="TCLayout.ActiveDocument.1">
                  <p:embed/>
                </p:oleObj>
              </mc:Choice>
              <mc:Fallback>
                <p:oleObj name="Slide do think-cell" r:id="rId12" imgW="0" imgH="0" progId="TCLayout.ActiveDocument.1">
                  <p:embed/>
                  <p:pic>
                    <p:nvPicPr>
                      <p:cNvPr id="0" name="AutoShape 28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77" y="2077"/>
                        <a:ext cx="2074" cy="20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1978" y="358993"/>
            <a:ext cx="7338636" cy="102481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2353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1855245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2353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2353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49" tIns="46649" rIns="46649" bIns="46649" numCol="1" anchor="t" anchorCtr="0" compatLnSpc="1">
            <a:prstTxWarp prst="textNoShape">
              <a:avLst/>
            </a:prstTxWarp>
          </a:bodyPr>
          <a:lstStyle/>
          <a:p>
            <a:pPr defTabSz="59235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235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235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16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49" tIns="46649" rIns="46649" bIns="46649" numCol="1" anchor="t" anchorCtr="0" compatLnSpc="1">
            <a:prstTxWarp prst="textNoShape">
              <a:avLst/>
            </a:prstTxWarp>
          </a:bodyPr>
          <a:lstStyle/>
          <a:p>
            <a:pPr defTabSz="59235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235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235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49" tIns="46649" rIns="46649" bIns="46649" numCol="1" anchor="t" anchorCtr="0" compatLnSpc="1">
            <a:prstTxWarp prst="textNoShape">
              <a:avLst/>
            </a:prstTxWarp>
          </a:bodyPr>
          <a:lstStyle/>
          <a:p>
            <a:pPr defTabSz="59235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235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235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9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49" tIns="46649" rIns="46649" bIns="46649" numCol="1" anchor="t" anchorCtr="0" compatLnSpc="1">
            <a:prstTxWarp prst="textNoShape">
              <a:avLst/>
            </a:prstTxWarp>
          </a:bodyPr>
          <a:lstStyle/>
          <a:p>
            <a:pPr defTabSz="59235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235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235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Freeform 28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49" tIns="46649" rIns="46649" bIns="46649" numCol="1" anchor="t" anchorCtr="0" compatLnSpc="1">
            <a:prstTxWarp prst="textNoShape">
              <a:avLst/>
            </a:prstTxWarp>
          </a:bodyPr>
          <a:lstStyle/>
          <a:p>
            <a:pPr defTabSz="59235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235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235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49" tIns="46649" rIns="46649" bIns="46649" numCol="1" anchor="t" anchorCtr="0" compatLnSpc="1">
            <a:prstTxWarp prst="textNoShape">
              <a:avLst/>
            </a:prstTxWarp>
          </a:bodyPr>
          <a:lstStyle/>
          <a:p>
            <a:pPr defTabSz="59235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235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235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49" tIns="46649" rIns="46649" bIns="46649" numCol="1" anchor="t" anchorCtr="0" compatLnSpc="1">
            <a:prstTxWarp prst="textNoShape">
              <a:avLst/>
            </a:prstTxWarp>
          </a:bodyPr>
          <a:lstStyle/>
          <a:p>
            <a:pPr defTabSz="59235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235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235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2" name="TextBox 39"/>
          <p:cNvSpPr txBox="1"/>
          <p:nvPr userDrawn="1"/>
        </p:nvSpPr>
        <p:spPr>
          <a:xfrm>
            <a:off x="9223673" y="6781949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2353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97" tIns="59248" rIns="118497" bIns="59248" numCol="1" anchor="t" anchorCtr="0" compatLnSpc="1">
            <a:prstTxWarp prst="textNoShape">
              <a:avLst/>
            </a:prstTxWarp>
          </a:bodyPr>
          <a:lstStyle/>
          <a:p>
            <a:pPr defTabSz="59235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97" tIns="59248" rIns="118497" bIns="59248" numCol="1" anchor="t" anchorCtr="0" compatLnSpc="1">
            <a:prstTxWarp prst="textNoShape">
              <a:avLst/>
            </a:prstTxWarp>
          </a:bodyPr>
          <a:lstStyle/>
          <a:p>
            <a:pPr defTabSz="59235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97" tIns="59248" rIns="118497" bIns="59248" numCol="1" anchor="t" anchorCtr="0" compatLnSpc="1">
            <a:prstTxWarp prst="textNoShape">
              <a:avLst/>
            </a:prstTxWarp>
          </a:bodyPr>
          <a:lstStyle/>
          <a:p>
            <a:pPr defTabSz="59235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97" tIns="59248" rIns="118497" bIns="59248" numCol="1" anchor="t" anchorCtr="0" compatLnSpc="1">
            <a:prstTxWarp prst="textNoShape">
              <a:avLst/>
            </a:prstTxWarp>
          </a:bodyPr>
          <a:lstStyle/>
          <a:p>
            <a:pPr defTabSz="59235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97" tIns="59248" rIns="118497" bIns="59248" numCol="1" anchor="t" anchorCtr="0" compatLnSpc="1">
            <a:prstTxWarp prst="textNoShape">
              <a:avLst/>
            </a:prstTxWarp>
          </a:bodyPr>
          <a:lstStyle/>
          <a:p>
            <a:pPr defTabSz="59235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97" tIns="59248" rIns="118497" bIns="59248" numCol="1" anchor="t" anchorCtr="0" compatLnSpc="1">
            <a:prstTxWarp prst="textNoShape">
              <a:avLst/>
            </a:prstTxWarp>
          </a:bodyPr>
          <a:lstStyle/>
          <a:p>
            <a:pPr defTabSz="59235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97" tIns="59248" rIns="118497" bIns="59248" numCol="1" anchor="t" anchorCtr="0" compatLnSpc="1">
            <a:prstTxWarp prst="textNoShape">
              <a:avLst/>
            </a:prstTxWarp>
          </a:bodyPr>
          <a:lstStyle/>
          <a:p>
            <a:pPr defTabSz="59235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97" tIns="59248" rIns="118497" bIns="59248" numCol="1" anchor="t" anchorCtr="0" compatLnSpc="1">
            <a:prstTxWarp prst="textNoShape">
              <a:avLst/>
            </a:prstTxWarp>
          </a:bodyPr>
          <a:lstStyle/>
          <a:p>
            <a:pPr defTabSz="59235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97" tIns="59248" rIns="118497" bIns="59248" numCol="1" anchor="t" anchorCtr="0" compatLnSpc="1">
            <a:prstTxWarp prst="textNoShape">
              <a:avLst/>
            </a:prstTxWarp>
          </a:bodyPr>
          <a:lstStyle/>
          <a:p>
            <a:pPr defTabSz="59235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97" tIns="59248" rIns="118497" bIns="59248" numCol="1" anchor="t" anchorCtr="0" compatLnSpc="1">
            <a:prstTxWarp prst="textNoShape">
              <a:avLst/>
            </a:prstTxWarp>
          </a:bodyPr>
          <a:lstStyle/>
          <a:p>
            <a:pPr defTabSz="59235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3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97" tIns="59248" rIns="118497" bIns="59248" numCol="1" anchor="t" anchorCtr="0" compatLnSpc="1">
            <a:prstTxWarp prst="textNoShape">
              <a:avLst/>
            </a:prstTxWarp>
          </a:bodyPr>
          <a:lstStyle/>
          <a:p>
            <a:pPr defTabSz="59235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97" tIns="59248" rIns="118497" bIns="59248" numCol="1" anchor="t" anchorCtr="0" compatLnSpc="1">
            <a:prstTxWarp prst="textNoShape">
              <a:avLst/>
            </a:prstTxWarp>
          </a:bodyPr>
          <a:lstStyle/>
          <a:p>
            <a:pPr defTabSz="59235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75012252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855" r:id="rId1"/>
    <p:sldLayoutId id="2147484856" r:id="rId2"/>
    <p:sldLayoutId id="2147484857" r:id="rId3"/>
    <p:sldLayoutId id="2147484858" r:id="rId4"/>
    <p:sldLayoutId id="2147484859" r:id="rId5"/>
    <p:sldLayoutId id="2147484860" r:id="rId6"/>
    <p:sldLayoutId id="2147484861" r:id="rId7"/>
    <p:sldLayoutId id="2147484862" r:id="rId8"/>
  </p:sldLayoutIdLst>
  <p:hf sldNum="0" hdr="0" ftr="0" dt="0"/>
  <p:txStyles>
    <p:titleStyle>
      <a:lvl1pPr algn="l" defTabSz="592353" rtl="0" eaLnBrk="1" latinLnBrk="0" hangingPunct="1">
        <a:lnSpc>
          <a:spcPts val="5486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A037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8599" indent="-238599" algn="l" defTabSz="59235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3078" indent="-228307" algn="l" defTabSz="59235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3078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1390" indent="-228307" algn="l" defTabSz="59235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1390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29701" indent="-228307" algn="l" defTabSz="59235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29701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57996" indent="-228307" algn="l" defTabSz="59235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57996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58083" indent="-296170" algn="l" defTabSz="59235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50456" indent="-296170" algn="l" defTabSz="59235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42832" indent="-296170" algn="l" defTabSz="59235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35208" indent="-296170" algn="l" defTabSz="59235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235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2353" algn="l" defTabSz="59235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4755" algn="l" defTabSz="59235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77141" algn="l" defTabSz="59235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69516" algn="l" defTabSz="59235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61894" algn="l" defTabSz="59235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54266" algn="l" defTabSz="59235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46648" algn="l" defTabSz="59235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39027" algn="l" defTabSz="59235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1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1978" y="358964"/>
            <a:ext cx="7338636" cy="102481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3772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1855218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3772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59" tIns="46759" rIns="46759" bIns="46759" numCol="1" anchor="t" anchorCtr="0" compatLnSpc="1">
            <a:prstTxWarp prst="textNoShape">
              <a:avLst/>
            </a:prstTxWarp>
          </a:bodyPr>
          <a:lstStyle/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16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59" tIns="46759" rIns="46759" bIns="46759" numCol="1" anchor="t" anchorCtr="0" compatLnSpc="1">
            <a:prstTxWarp prst="textNoShape">
              <a:avLst/>
            </a:prstTxWarp>
          </a:bodyPr>
          <a:lstStyle/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59" tIns="46759" rIns="46759" bIns="46759" numCol="1" anchor="t" anchorCtr="0" compatLnSpc="1">
            <a:prstTxWarp prst="textNoShape">
              <a:avLst/>
            </a:prstTxWarp>
          </a:bodyPr>
          <a:lstStyle/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9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59" tIns="46759" rIns="46759" bIns="46759" numCol="1" anchor="t" anchorCtr="0" compatLnSpc="1">
            <a:prstTxWarp prst="textNoShape">
              <a:avLst/>
            </a:prstTxWarp>
          </a:bodyPr>
          <a:lstStyle/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Freeform 28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59" tIns="46759" rIns="46759" bIns="46759" numCol="1" anchor="t" anchorCtr="0" compatLnSpc="1">
            <a:prstTxWarp prst="textNoShape">
              <a:avLst/>
            </a:prstTxWarp>
          </a:bodyPr>
          <a:lstStyle/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59" tIns="46759" rIns="46759" bIns="46759" numCol="1" anchor="t" anchorCtr="0" compatLnSpc="1">
            <a:prstTxWarp prst="textNoShape">
              <a:avLst/>
            </a:prstTxWarp>
          </a:bodyPr>
          <a:lstStyle/>
          <a:p>
            <a:pPr defTabSz="59377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377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377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59" tIns="46759" rIns="46759" bIns="46759" numCol="1" anchor="t" anchorCtr="0" compatLnSpc="1">
            <a:prstTxWarp prst="textNoShape">
              <a:avLst/>
            </a:prstTxWarp>
          </a:bodyPr>
          <a:lstStyle/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2" name="TextBox 39"/>
          <p:cNvSpPr txBox="1"/>
          <p:nvPr userDrawn="1"/>
        </p:nvSpPr>
        <p:spPr>
          <a:xfrm>
            <a:off x="9223673" y="6781920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3772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772" tIns="59387" rIns="118772" bIns="59387" numCol="1" anchor="t" anchorCtr="0" compatLnSpc="1">
            <a:prstTxWarp prst="textNoShape">
              <a:avLst/>
            </a:prstTxWarp>
          </a:bodyPr>
          <a:lstStyle/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72" tIns="59387" rIns="118772" bIns="59387" numCol="1" anchor="t" anchorCtr="0" compatLnSpc="1">
            <a:prstTxWarp prst="textNoShape">
              <a:avLst/>
            </a:prstTxWarp>
          </a:bodyPr>
          <a:lstStyle/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72" tIns="59387" rIns="118772" bIns="59387" numCol="1" anchor="t" anchorCtr="0" compatLnSpc="1">
            <a:prstTxWarp prst="textNoShape">
              <a:avLst/>
            </a:prstTxWarp>
          </a:bodyPr>
          <a:lstStyle/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72" tIns="59387" rIns="118772" bIns="59387" numCol="1" anchor="t" anchorCtr="0" compatLnSpc="1">
            <a:prstTxWarp prst="textNoShape">
              <a:avLst/>
            </a:prstTxWarp>
          </a:bodyPr>
          <a:lstStyle/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772" tIns="59387" rIns="118772" bIns="59387" numCol="1" anchor="t" anchorCtr="0" compatLnSpc="1">
            <a:prstTxWarp prst="textNoShape">
              <a:avLst/>
            </a:prstTxWarp>
          </a:bodyPr>
          <a:lstStyle/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72" tIns="59387" rIns="118772" bIns="59387" numCol="1" anchor="t" anchorCtr="0" compatLnSpc="1">
            <a:prstTxWarp prst="textNoShape">
              <a:avLst/>
            </a:prstTxWarp>
          </a:bodyPr>
          <a:lstStyle/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72" tIns="59387" rIns="118772" bIns="59387" numCol="1" anchor="t" anchorCtr="0" compatLnSpc="1">
            <a:prstTxWarp prst="textNoShape">
              <a:avLst/>
            </a:prstTxWarp>
          </a:bodyPr>
          <a:lstStyle/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72" tIns="59387" rIns="118772" bIns="59387" numCol="1" anchor="t" anchorCtr="0" compatLnSpc="1">
            <a:prstTxWarp prst="textNoShape">
              <a:avLst/>
            </a:prstTxWarp>
          </a:bodyPr>
          <a:lstStyle/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772" tIns="59387" rIns="118772" bIns="59387" numCol="1" anchor="t" anchorCtr="0" compatLnSpc="1">
            <a:prstTxWarp prst="textNoShape">
              <a:avLst/>
            </a:prstTxWarp>
          </a:bodyPr>
          <a:lstStyle/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72" tIns="59387" rIns="118772" bIns="59387" numCol="1" anchor="t" anchorCtr="0" compatLnSpc="1">
            <a:prstTxWarp prst="textNoShape">
              <a:avLst/>
            </a:prstTxWarp>
          </a:bodyPr>
          <a:lstStyle/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3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72" tIns="59387" rIns="118772" bIns="59387" numCol="1" anchor="t" anchorCtr="0" compatLnSpc="1">
            <a:prstTxWarp prst="textNoShape">
              <a:avLst/>
            </a:prstTxWarp>
          </a:bodyPr>
          <a:lstStyle/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72" tIns="59387" rIns="118772" bIns="59387" numCol="1" anchor="t" anchorCtr="0" compatLnSpc="1">
            <a:prstTxWarp prst="textNoShape">
              <a:avLst/>
            </a:prstTxWarp>
          </a:bodyPr>
          <a:lstStyle/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4584260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865" r:id="rId1"/>
    <p:sldLayoutId id="2147484866" r:id="rId2"/>
    <p:sldLayoutId id="2147484867" r:id="rId3"/>
    <p:sldLayoutId id="2147484868" r:id="rId4"/>
    <p:sldLayoutId id="2147484869" r:id="rId5"/>
    <p:sldLayoutId id="2147484870" r:id="rId6"/>
    <p:sldLayoutId id="2147484871" r:id="rId7"/>
    <p:sldLayoutId id="2147484872" r:id="rId8"/>
  </p:sldLayoutIdLst>
  <p:hf sldNum="0" hdr="0" ftr="0" dt="0"/>
  <p:txStyles>
    <p:titleStyle>
      <a:lvl1pPr algn="l" defTabSz="593772" rtl="0" eaLnBrk="1" latinLnBrk="0" hangingPunct="1">
        <a:lnSpc>
          <a:spcPts val="5486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A037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164" indent="-239164" algn="l" defTabSz="593772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4203" indent="-228850" algn="l" defTabSz="593772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4203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3056" indent="-228850" algn="l" defTabSz="593772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3056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1916" indent="-228850" algn="l" defTabSz="593772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1916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0763" indent="-228850" algn="l" defTabSz="593772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0763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65835" indent="-296881" algn="l" defTabSz="593772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59617" indent="-296881" algn="l" defTabSz="593772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53400" indent="-296881" algn="l" defTabSz="593772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47194" indent="-296881" algn="l" defTabSz="593772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37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3772" algn="l" defTabSz="5937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7576" algn="l" defTabSz="5937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1367" algn="l" defTabSz="5937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5148" algn="l" defTabSz="5937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68944" algn="l" defTabSz="5937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62725" algn="l" defTabSz="5937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56509" algn="l" defTabSz="5937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50299" algn="l" defTabSz="5937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1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82" y="1854695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2045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81813" y="1855214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75" tIns="46775" rIns="46775" bIns="46775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75" tIns="46775" rIns="46775" bIns="46775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75" tIns="46775" rIns="46775" bIns="46775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75" tIns="46775" rIns="46775" bIns="46775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75" tIns="46775" rIns="46775" bIns="46775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75" tIns="46775" rIns="46775" bIns="46775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75" tIns="46775" rIns="46775" bIns="46775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9223673" y="6781916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3972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57038200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875" r:id="rId1"/>
    <p:sldLayoutId id="2147484876" r:id="rId2"/>
    <p:sldLayoutId id="2147484877" r:id="rId3"/>
    <p:sldLayoutId id="2147484878" r:id="rId4"/>
    <p:sldLayoutId id="2147484879" r:id="rId5"/>
    <p:sldLayoutId id="2147484880" r:id="rId6"/>
    <p:sldLayoutId id="2147484881" r:id="rId7"/>
    <p:sldLayoutId id="2147484882" r:id="rId8"/>
    <p:sldLayoutId id="2147484883" r:id="rId9"/>
    <p:sldLayoutId id="2147484884" r:id="rId10"/>
  </p:sldLayoutIdLst>
  <p:hf sldNum="0" hdr="0" ftr="0" dt="0"/>
  <p:txStyles>
    <p:titleStyle>
      <a:lvl1pPr algn="l" defTabSz="593972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246" indent="-239246" algn="l" defTabSz="593972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4363" indent="-228927" algn="l" defTabSz="593972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4363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3296" indent="-228927" algn="l" defTabSz="593972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3296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2232" indent="-228927" algn="l" defTabSz="593972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2232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1158" indent="-228927" algn="l" defTabSz="593972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1158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66945" indent="-296983" algn="l" defTabSz="593972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60927" indent="-296983" algn="l" defTabSz="593972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54913" indent="-296983" algn="l" defTabSz="593972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48906" indent="-296983" algn="l" defTabSz="593972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3972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7980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1972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5954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69951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63935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57922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51913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1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82" y="1854695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2045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81813" y="1855214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75" tIns="46775" rIns="46775" bIns="46775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75" tIns="46775" rIns="46775" bIns="46775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75" tIns="46775" rIns="46775" bIns="46775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75" tIns="46775" rIns="46775" bIns="46775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75" tIns="46775" rIns="46775" bIns="46775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75" tIns="46775" rIns="46775" bIns="46775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75" tIns="46775" rIns="46775" bIns="46775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9223673" y="6781916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3972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2759729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887" r:id="rId1"/>
    <p:sldLayoutId id="2147484888" r:id="rId2"/>
    <p:sldLayoutId id="2147484889" r:id="rId3"/>
    <p:sldLayoutId id="2147484890" r:id="rId4"/>
    <p:sldLayoutId id="2147484891" r:id="rId5"/>
    <p:sldLayoutId id="2147484892" r:id="rId6"/>
    <p:sldLayoutId id="2147484893" r:id="rId7"/>
    <p:sldLayoutId id="2147484894" r:id="rId8"/>
    <p:sldLayoutId id="2147484895" r:id="rId9"/>
    <p:sldLayoutId id="2147484896" r:id="rId10"/>
  </p:sldLayoutIdLst>
  <p:hf sldNum="0" hdr="0" ftr="0" dt="0"/>
  <p:txStyles>
    <p:titleStyle>
      <a:lvl1pPr algn="l" defTabSz="593972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246" indent="-239246" algn="l" defTabSz="593972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4363" indent="-228927" algn="l" defTabSz="593972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4363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3296" indent="-228927" algn="l" defTabSz="593972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3296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2232" indent="-228927" algn="l" defTabSz="593972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2232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1158" indent="-228927" algn="l" defTabSz="593972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1158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66945" indent="-296983" algn="l" defTabSz="593972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60927" indent="-296983" algn="l" defTabSz="593972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54913" indent="-296983" algn="l" defTabSz="593972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48906" indent="-296983" algn="l" defTabSz="593972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3972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7980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1972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5954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69951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63935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57922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51913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11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945853110"/>
              </p:ext>
            </p:extLst>
          </p:nvPr>
        </p:nvGraphicFramePr>
        <p:xfrm>
          <a:off x="2077" y="2077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13690" name="Slide do think-cell" r:id="rId12" imgW="0" imgH="0" progId="TCLayout.ActiveDocument.1">
                  <p:embed/>
                </p:oleObj>
              </mc:Choice>
              <mc:Fallback>
                <p:oleObj name="Slide do think-cell" r:id="rId12" imgW="0" imgH="0" progId="TCLayout.ActiveDocument.1">
                  <p:embed/>
                  <p:pic>
                    <p:nvPicPr>
                      <p:cNvPr id="0" name="AutoShape 28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77" y="2077"/>
                        <a:ext cx="2074" cy="20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1978" y="358993"/>
            <a:ext cx="7338636" cy="102481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2353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1855245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2353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2353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49" tIns="46649" rIns="46649" bIns="46649" numCol="1" anchor="t" anchorCtr="0" compatLnSpc="1">
            <a:prstTxWarp prst="textNoShape">
              <a:avLst/>
            </a:prstTxWarp>
          </a:bodyPr>
          <a:lstStyle/>
          <a:p>
            <a:pPr defTabSz="59235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235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235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16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49" tIns="46649" rIns="46649" bIns="46649" numCol="1" anchor="t" anchorCtr="0" compatLnSpc="1">
            <a:prstTxWarp prst="textNoShape">
              <a:avLst/>
            </a:prstTxWarp>
          </a:bodyPr>
          <a:lstStyle/>
          <a:p>
            <a:pPr defTabSz="59235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235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235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49" tIns="46649" rIns="46649" bIns="46649" numCol="1" anchor="t" anchorCtr="0" compatLnSpc="1">
            <a:prstTxWarp prst="textNoShape">
              <a:avLst/>
            </a:prstTxWarp>
          </a:bodyPr>
          <a:lstStyle/>
          <a:p>
            <a:pPr defTabSz="59235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235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235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9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49" tIns="46649" rIns="46649" bIns="46649" numCol="1" anchor="t" anchorCtr="0" compatLnSpc="1">
            <a:prstTxWarp prst="textNoShape">
              <a:avLst/>
            </a:prstTxWarp>
          </a:bodyPr>
          <a:lstStyle/>
          <a:p>
            <a:pPr defTabSz="59235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235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235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Freeform 28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49" tIns="46649" rIns="46649" bIns="46649" numCol="1" anchor="t" anchorCtr="0" compatLnSpc="1">
            <a:prstTxWarp prst="textNoShape">
              <a:avLst/>
            </a:prstTxWarp>
          </a:bodyPr>
          <a:lstStyle/>
          <a:p>
            <a:pPr defTabSz="59235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235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235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49" tIns="46649" rIns="46649" bIns="46649" numCol="1" anchor="t" anchorCtr="0" compatLnSpc="1">
            <a:prstTxWarp prst="textNoShape">
              <a:avLst/>
            </a:prstTxWarp>
          </a:bodyPr>
          <a:lstStyle/>
          <a:p>
            <a:pPr defTabSz="59235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235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235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49" tIns="46649" rIns="46649" bIns="46649" numCol="1" anchor="t" anchorCtr="0" compatLnSpc="1">
            <a:prstTxWarp prst="textNoShape">
              <a:avLst/>
            </a:prstTxWarp>
          </a:bodyPr>
          <a:lstStyle/>
          <a:p>
            <a:pPr defTabSz="59235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235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235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2" name="TextBox 39"/>
          <p:cNvSpPr txBox="1"/>
          <p:nvPr userDrawn="1"/>
        </p:nvSpPr>
        <p:spPr>
          <a:xfrm>
            <a:off x="9223673" y="6781949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2353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97" tIns="59248" rIns="118497" bIns="59248" numCol="1" anchor="t" anchorCtr="0" compatLnSpc="1">
            <a:prstTxWarp prst="textNoShape">
              <a:avLst/>
            </a:prstTxWarp>
          </a:bodyPr>
          <a:lstStyle/>
          <a:p>
            <a:pPr defTabSz="59235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97" tIns="59248" rIns="118497" bIns="59248" numCol="1" anchor="t" anchorCtr="0" compatLnSpc="1">
            <a:prstTxWarp prst="textNoShape">
              <a:avLst/>
            </a:prstTxWarp>
          </a:bodyPr>
          <a:lstStyle/>
          <a:p>
            <a:pPr defTabSz="59235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97" tIns="59248" rIns="118497" bIns="59248" numCol="1" anchor="t" anchorCtr="0" compatLnSpc="1">
            <a:prstTxWarp prst="textNoShape">
              <a:avLst/>
            </a:prstTxWarp>
          </a:bodyPr>
          <a:lstStyle/>
          <a:p>
            <a:pPr defTabSz="59235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97" tIns="59248" rIns="118497" bIns="59248" numCol="1" anchor="t" anchorCtr="0" compatLnSpc="1">
            <a:prstTxWarp prst="textNoShape">
              <a:avLst/>
            </a:prstTxWarp>
          </a:bodyPr>
          <a:lstStyle/>
          <a:p>
            <a:pPr defTabSz="59235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97" tIns="59248" rIns="118497" bIns="59248" numCol="1" anchor="t" anchorCtr="0" compatLnSpc="1">
            <a:prstTxWarp prst="textNoShape">
              <a:avLst/>
            </a:prstTxWarp>
          </a:bodyPr>
          <a:lstStyle/>
          <a:p>
            <a:pPr defTabSz="59235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97" tIns="59248" rIns="118497" bIns="59248" numCol="1" anchor="t" anchorCtr="0" compatLnSpc="1">
            <a:prstTxWarp prst="textNoShape">
              <a:avLst/>
            </a:prstTxWarp>
          </a:bodyPr>
          <a:lstStyle/>
          <a:p>
            <a:pPr defTabSz="59235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97" tIns="59248" rIns="118497" bIns="59248" numCol="1" anchor="t" anchorCtr="0" compatLnSpc="1">
            <a:prstTxWarp prst="textNoShape">
              <a:avLst/>
            </a:prstTxWarp>
          </a:bodyPr>
          <a:lstStyle/>
          <a:p>
            <a:pPr defTabSz="59235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97" tIns="59248" rIns="118497" bIns="59248" numCol="1" anchor="t" anchorCtr="0" compatLnSpc="1">
            <a:prstTxWarp prst="textNoShape">
              <a:avLst/>
            </a:prstTxWarp>
          </a:bodyPr>
          <a:lstStyle/>
          <a:p>
            <a:pPr defTabSz="59235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97" tIns="59248" rIns="118497" bIns="59248" numCol="1" anchor="t" anchorCtr="0" compatLnSpc="1">
            <a:prstTxWarp prst="textNoShape">
              <a:avLst/>
            </a:prstTxWarp>
          </a:bodyPr>
          <a:lstStyle/>
          <a:p>
            <a:pPr defTabSz="59235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97" tIns="59248" rIns="118497" bIns="59248" numCol="1" anchor="t" anchorCtr="0" compatLnSpc="1">
            <a:prstTxWarp prst="textNoShape">
              <a:avLst/>
            </a:prstTxWarp>
          </a:bodyPr>
          <a:lstStyle/>
          <a:p>
            <a:pPr defTabSz="59235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3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97" tIns="59248" rIns="118497" bIns="59248" numCol="1" anchor="t" anchorCtr="0" compatLnSpc="1">
            <a:prstTxWarp prst="textNoShape">
              <a:avLst/>
            </a:prstTxWarp>
          </a:bodyPr>
          <a:lstStyle/>
          <a:p>
            <a:pPr defTabSz="59235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97" tIns="59248" rIns="118497" bIns="59248" numCol="1" anchor="t" anchorCtr="0" compatLnSpc="1">
            <a:prstTxWarp prst="textNoShape">
              <a:avLst/>
            </a:prstTxWarp>
          </a:bodyPr>
          <a:lstStyle/>
          <a:p>
            <a:pPr defTabSz="59235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7481355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898" r:id="rId1"/>
    <p:sldLayoutId id="2147484899" r:id="rId2"/>
    <p:sldLayoutId id="2147484900" r:id="rId3"/>
    <p:sldLayoutId id="2147484901" r:id="rId4"/>
    <p:sldLayoutId id="2147484902" r:id="rId5"/>
    <p:sldLayoutId id="2147484903" r:id="rId6"/>
    <p:sldLayoutId id="2147484904" r:id="rId7"/>
    <p:sldLayoutId id="2147484905" r:id="rId8"/>
  </p:sldLayoutIdLst>
  <p:hf hdr="0" dt="0"/>
  <p:txStyles>
    <p:titleStyle>
      <a:lvl1pPr algn="l" defTabSz="592353" rtl="0" eaLnBrk="1" latinLnBrk="0" hangingPunct="1">
        <a:lnSpc>
          <a:spcPts val="5486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A037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8599" indent="-238599" algn="l" defTabSz="59235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3078" indent="-228307" algn="l" defTabSz="59235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3078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1390" indent="-228307" algn="l" defTabSz="59235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1390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29701" indent="-228307" algn="l" defTabSz="59235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29701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57996" indent="-228307" algn="l" defTabSz="59235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57996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58083" indent="-296170" algn="l" defTabSz="59235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50456" indent="-296170" algn="l" defTabSz="59235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42832" indent="-296170" algn="l" defTabSz="59235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35208" indent="-296170" algn="l" defTabSz="59235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235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2353" algn="l" defTabSz="59235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4755" algn="l" defTabSz="59235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77141" algn="l" defTabSz="59235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69516" algn="l" defTabSz="59235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61894" algn="l" defTabSz="59235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54266" algn="l" defTabSz="59235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46648" algn="l" defTabSz="59235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39027" algn="l" defTabSz="59235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11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1978" y="358972"/>
            <a:ext cx="7338636" cy="102481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1855226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16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9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Freeform 28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2" name="TextBox 39"/>
          <p:cNvSpPr txBox="1"/>
          <p:nvPr userDrawn="1"/>
        </p:nvSpPr>
        <p:spPr>
          <a:xfrm>
            <a:off x="9223673" y="6781928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3363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3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97748166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907" r:id="rId1"/>
    <p:sldLayoutId id="2147484908" r:id="rId2"/>
    <p:sldLayoutId id="2147484909" r:id="rId3"/>
    <p:sldLayoutId id="2147484910" r:id="rId4"/>
    <p:sldLayoutId id="2147484911" r:id="rId5"/>
    <p:sldLayoutId id="2147484912" r:id="rId6"/>
    <p:sldLayoutId id="2147484913" r:id="rId7"/>
    <p:sldLayoutId id="2147484914" r:id="rId8"/>
    <p:sldLayoutId id="2147484915" r:id="rId9"/>
  </p:sldLayoutIdLst>
  <p:hf sldNum="0" hdr="0" ftr="0" dt="0"/>
  <p:txStyles>
    <p:titleStyle>
      <a:lvl1pPr algn="l" defTabSz="593363" rtl="0" eaLnBrk="1" latinLnBrk="0" hangingPunct="1">
        <a:lnSpc>
          <a:spcPts val="5486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A037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005" indent="-239005" algn="l" defTabSz="59336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3881" indent="-228695" algn="l" defTabSz="59336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3881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2579" indent="-228695" algn="l" defTabSz="59336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2579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1282" indent="-228695" algn="l" defTabSz="59336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1282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59973" indent="-228695" algn="l" defTabSz="59336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59973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63617" indent="-296677" algn="l" defTabSz="59336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56998" indent="-296677" algn="l" defTabSz="59336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50378" indent="-296677" algn="l" defTabSz="59336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43767" indent="-296677" algn="l" defTabSz="59336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3363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6768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0158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3541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66928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60307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53688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47078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11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2863439312"/>
              </p:ext>
            </p:extLst>
          </p:nvPr>
        </p:nvGraphicFramePr>
        <p:xfrm>
          <a:off x="2077" y="2077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14710" name="Slide do think-cell" r:id="rId15" imgW="0" imgH="0" progId="TCLayout.ActiveDocument.1">
                  <p:embed/>
                </p:oleObj>
              </mc:Choice>
              <mc:Fallback>
                <p:oleObj name="Slide do think-cell" r:id="rId15" imgW="0" imgH="0" progId="TCLayout.ActiveDocument.1">
                  <p:embed/>
                  <p:pic>
                    <p:nvPicPr>
                      <p:cNvPr id="0" name="AutoShape 28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77" y="2077"/>
                        <a:ext cx="2074" cy="20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82" y="1854678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2029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44" name="TextBox 43"/>
          <p:cNvSpPr txBox="1"/>
          <p:nvPr userDrawn="1"/>
        </p:nvSpPr>
        <p:spPr>
          <a:xfrm>
            <a:off x="-281813" y="7363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4786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45" name="TextBox 44"/>
          <p:cNvSpPr txBox="1"/>
          <p:nvPr userDrawn="1"/>
        </p:nvSpPr>
        <p:spPr>
          <a:xfrm>
            <a:off x="-281813" y="1855198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4786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46" name="TextBox 45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4786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47" name="Freeform 5"/>
          <p:cNvSpPr>
            <a:spLocks/>
          </p:cNvSpPr>
          <p:nvPr userDrawn="1"/>
        </p:nvSpPr>
        <p:spPr bwMode="auto">
          <a:xfrm>
            <a:off x="11944818" y="3078502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37" tIns="46837" rIns="46837" bIns="46837" numCol="1" anchor="t" anchorCtr="0" compatLnSpc="1">
            <a:prstTxWarp prst="textNoShape">
              <a:avLst/>
            </a:prstTxWarp>
          </a:bodyPr>
          <a:lstStyle/>
          <a:p>
            <a:pPr defTabSz="594786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4786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4786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48" name="Freeform 47"/>
          <p:cNvSpPr>
            <a:spLocks/>
          </p:cNvSpPr>
          <p:nvPr userDrawn="1"/>
        </p:nvSpPr>
        <p:spPr bwMode="auto">
          <a:xfrm>
            <a:off x="11944818" y="2513906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37" tIns="46837" rIns="46837" bIns="46837" numCol="1" anchor="t" anchorCtr="0" compatLnSpc="1">
            <a:prstTxWarp prst="textNoShape">
              <a:avLst/>
            </a:prstTxWarp>
          </a:bodyPr>
          <a:lstStyle/>
          <a:p>
            <a:pPr defTabSz="594786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4786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4786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4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49" name="Freeform 5"/>
          <p:cNvSpPr>
            <a:spLocks/>
          </p:cNvSpPr>
          <p:nvPr userDrawn="1"/>
        </p:nvSpPr>
        <p:spPr bwMode="auto">
          <a:xfrm>
            <a:off x="11944818" y="1949310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37" tIns="46837" rIns="46837" bIns="46837" numCol="1" anchor="t" anchorCtr="0" compatLnSpc="1">
            <a:prstTxWarp prst="textNoShape">
              <a:avLst/>
            </a:prstTxWarp>
          </a:bodyPr>
          <a:lstStyle/>
          <a:p>
            <a:pPr defTabSz="594786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4786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4786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9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50" name="Freeform 5"/>
          <p:cNvSpPr>
            <a:spLocks/>
          </p:cNvSpPr>
          <p:nvPr userDrawn="1"/>
        </p:nvSpPr>
        <p:spPr bwMode="auto">
          <a:xfrm>
            <a:off x="11944818" y="1384714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37" tIns="46837" rIns="46837" bIns="46837" numCol="1" anchor="t" anchorCtr="0" compatLnSpc="1">
            <a:prstTxWarp prst="textNoShape">
              <a:avLst/>
            </a:prstTxWarp>
          </a:bodyPr>
          <a:lstStyle/>
          <a:p>
            <a:pPr defTabSz="594786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4786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4786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0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51" name="Freeform 50"/>
          <p:cNvSpPr>
            <a:spLocks/>
          </p:cNvSpPr>
          <p:nvPr userDrawn="1"/>
        </p:nvSpPr>
        <p:spPr bwMode="auto">
          <a:xfrm>
            <a:off x="11944818" y="820118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37" tIns="46837" rIns="46837" bIns="46837" numCol="1" anchor="t" anchorCtr="0" compatLnSpc="1">
            <a:prstTxWarp prst="textNoShape">
              <a:avLst/>
            </a:prstTxWarp>
          </a:bodyPr>
          <a:lstStyle/>
          <a:p>
            <a:pPr defTabSz="594786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4786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4786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140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52" name="Freeform 5"/>
          <p:cNvSpPr>
            <a:spLocks/>
          </p:cNvSpPr>
          <p:nvPr userDrawn="1"/>
        </p:nvSpPr>
        <p:spPr bwMode="auto">
          <a:xfrm>
            <a:off x="11944818" y="258729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37" tIns="46837" rIns="46837" bIns="46837" numCol="1" anchor="t" anchorCtr="0" compatLnSpc="1">
            <a:prstTxWarp prst="textNoShape">
              <a:avLst/>
            </a:prstTxWarp>
          </a:bodyPr>
          <a:lstStyle/>
          <a:p>
            <a:pPr defTabSz="594786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4786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4786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53" name="Freeform 5"/>
          <p:cNvSpPr>
            <a:spLocks/>
          </p:cNvSpPr>
          <p:nvPr userDrawn="1"/>
        </p:nvSpPr>
        <p:spPr bwMode="auto">
          <a:xfrm>
            <a:off x="11944818" y="3643098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37" tIns="46837" rIns="46837" bIns="46837" numCol="1" anchor="t" anchorCtr="0" compatLnSpc="1">
            <a:prstTxWarp prst="textNoShape">
              <a:avLst/>
            </a:prstTxWarp>
          </a:bodyPr>
          <a:lstStyle/>
          <a:p>
            <a:pPr defTabSz="594786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4786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4786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54" name="Freeform 5"/>
          <p:cNvSpPr>
            <a:spLocks/>
          </p:cNvSpPr>
          <p:nvPr userDrawn="1"/>
        </p:nvSpPr>
        <p:spPr bwMode="auto">
          <a:xfrm>
            <a:off x="11949114" y="4301731"/>
            <a:ext cx="424105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970" tIns="59485" rIns="118970" bIns="59485" numCol="1" anchor="t" anchorCtr="0" compatLnSpc="1">
            <a:prstTxWarp prst="textNoShape">
              <a:avLst/>
            </a:prstTxWarp>
          </a:bodyPr>
          <a:lstStyle/>
          <a:p>
            <a:pPr defTabSz="594786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5" name="Freeform 5"/>
          <p:cNvSpPr>
            <a:spLocks/>
          </p:cNvSpPr>
          <p:nvPr userDrawn="1"/>
        </p:nvSpPr>
        <p:spPr bwMode="auto">
          <a:xfrm>
            <a:off x="11949112" y="4493139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70" tIns="59485" rIns="118970" bIns="59485" numCol="1" anchor="t" anchorCtr="0" compatLnSpc="1">
            <a:prstTxWarp prst="textNoShape">
              <a:avLst/>
            </a:prstTxWarp>
          </a:bodyPr>
          <a:lstStyle/>
          <a:p>
            <a:pPr defTabSz="594786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6" name="Freeform 5"/>
          <p:cNvSpPr>
            <a:spLocks/>
          </p:cNvSpPr>
          <p:nvPr userDrawn="1"/>
        </p:nvSpPr>
        <p:spPr bwMode="auto">
          <a:xfrm>
            <a:off x="12102362" y="4493138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70" tIns="59485" rIns="118970" bIns="59485" numCol="1" anchor="t" anchorCtr="0" compatLnSpc="1">
            <a:prstTxWarp prst="textNoShape">
              <a:avLst/>
            </a:prstTxWarp>
          </a:bodyPr>
          <a:lstStyle/>
          <a:p>
            <a:pPr defTabSz="594786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7" name="Freeform 5"/>
          <p:cNvSpPr>
            <a:spLocks/>
          </p:cNvSpPr>
          <p:nvPr userDrawn="1"/>
        </p:nvSpPr>
        <p:spPr bwMode="auto">
          <a:xfrm>
            <a:off x="12255608" y="4493135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70" tIns="59485" rIns="118970" bIns="59485" numCol="1" anchor="t" anchorCtr="0" compatLnSpc="1">
            <a:prstTxWarp prst="textNoShape">
              <a:avLst/>
            </a:prstTxWarp>
          </a:bodyPr>
          <a:lstStyle/>
          <a:p>
            <a:pPr defTabSz="594786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8" name="Freeform 5"/>
          <p:cNvSpPr>
            <a:spLocks/>
          </p:cNvSpPr>
          <p:nvPr userDrawn="1"/>
        </p:nvSpPr>
        <p:spPr bwMode="auto">
          <a:xfrm>
            <a:off x="11949114" y="4775433"/>
            <a:ext cx="424105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970" tIns="59485" rIns="118970" bIns="59485" numCol="1" anchor="t" anchorCtr="0" compatLnSpc="1">
            <a:prstTxWarp prst="textNoShape">
              <a:avLst/>
            </a:prstTxWarp>
          </a:bodyPr>
          <a:lstStyle/>
          <a:p>
            <a:pPr defTabSz="594786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9" name="Freeform 5"/>
          <p:cNvSpPr>
            <a:spLocks/>
          </p:cNvSpPr>
          <p:nvPr userDrawn="1"/>
        </p:nvSpPr>
        <p:spPr bwMode="auto">
          <a:xfrm>
            <a:off x="11949112" y="4982131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70" tIns="59485" rIns="118970" bIns="59485" numCol="1" anchor="t" anchorCtr="0" compatLnSpc="1">
            <a:prstTxWarp prst="textNoShape">
              <a:avLst/>
            </a:prstTxWarp>
          </a:bodyPr>
          <a:lstStyle/>
          <a:p>
            <a:pPr defTabSz="594786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0" name="Freeform 5"/>
          <p:cNvSpPr>
            <a:spLocks/>
          </p:cNvSpPr>
          <p:nvPr userDrawn="1"/>
        </p:nvSpPr>
        <p:spPr bwMode="auto">
          <a:xfrm>
            <a:off x="12102362" y="4982128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70" tIns="59485" rIns="118970" bIns="59485" numCol="1" anchor="t" anchorCtr="0" compatLnSpc="1">
            <a:prstTxWarp prst="textNoShape">
              <a:avLst/>
            </a:prstTxWarp>
          </a:bodyPr>
          <a:lstStyle/>
          <a:p>
            <a:pPr defTabSz="594786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1" name="Freeform 5"/>
          <p:cNvSpPr>
            <a:spLocks/>
          </p:cNvSpPr>
          <p:nvPr userDrawn="1"/>
        </p:nvSpPr>
        <p:spPr bwMode="auto">
          <a:xfrm>
            <a:off x="12255608" y="4982127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70" tIns="59485" rIns="118970" bIns="59485" numCol="1" anchor="t" anchorCtr="0" compatLnSpc="1">
            <a:prstTxWarp prst="textNoShape">
              <a:avLst/>
            </a:prstTxWarp>
          </a:bodyPr>
          <a:lstStyle/>
          <a:p>
            <a:pPr defTabSz="594786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2" name="Freeform 5"/>
          <p:cNvSpPr>
            <a:spLocks/>
          </p:cNvSpPr>
          <p:nvPr userDrawn="1"/>
        </p:nvSpPr>
        <p:spPr bwMode="auto">
          <a:xfrm>
            <a:off x="11949114" y="5245930"/>
            <a:ext cx="424105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970" tIns="59485" rIns="118970" bIns="59485" numCol="1" anchor="t" anchorCtr="0" compatLnSpc="1">
            <a:prstTxWarp prst="textNoShape">
              <a:avLst/>
            </a:prstTxWarp>
          </a:bodyPr>
          <a:lstStyle/>
          <a:p>
            <a:pPr defTabSz="594786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3" name="Freeform 5"/>
          <p:cNvSpPr>
            <a:spLocks/>
          </p:cNvSpPr>
          <p:nvPr userDrawn="1"/>
        </p:nvSpPr>
        <p:spPr bwMode="auto">
          <a:xfrm>
            <a:off x="11949112" y="5437334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70" tIns="59485" rIns="118970" bIns="59485" numCol="1" anchor="t" anchorCtr="0" compatLnSpc="1">
            <a:prstTxWarp prst="textNoShape">
              <a:avLst/>
            </a:prstTxWarp>
          </a:bodyPr>
          <a:lstStyle/>
          <a:p>
            <a:pPr defTabSz="594786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4" name="Freeform 5"/>
          <p:cNvSpPr>
            <a:spLocks/>
          </p:cNvSpPr>
          <p:nvPr userDrawn="1"/>
        </p:nvSpPr>
        <p:spPr bwMode="auto">
          <a:xfrm>
            <a:off x="12102362" y="5437333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70" tIns="59485" rIns="118970" bIns="59485" numCol="1" anchor="t" anchorCtr="0" compatLnSpc="1">
            <a:prstTxWarp prst="textNoShape">
              <a:avLst/>
            </a:prstTxWarp>
          </a:bodyPr>
          <a:lstStyle/>
          <a:p>
            <a:pPr defTabSz="594786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5" name="Freeform 5"/>
          <p:cNvSpPr>
            <a:spLocks/>
          </p:cNvSpPr>
          <p:nvPr userDrawn="1"/>
        </p:nvSpPr>
        <p:spPr bwMode="auto">
          <a:xfrm>
            <a:off x="12255608" y="5437333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70" tIns="59485" rIns="118970" bIns="59485" numCol="1" anchor="t" anchorCtr="0" compatLnSpc="1">
            <a:prstTxWarp prst="textNoShape">
              <a:avLst/>
            </a:prstTxWarp>
          </a:bodyPr>
          <a:lstStyle/>
          <a:p>
            <a:pPr defTabSz="594786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6" name="TextBox 39"/>
          <p:cNvSpPr txBox="1"/>
          <p:nvPr userDrawn="1"/>
        </p:nvSpPr>
        <p:spPr>
          <a:xfrm>
            <a:off x="11949113" y="5619122"/>
            <a:ext cx="621766" cy="86593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4786" fontAlgn="auto">
              <a:spcBef>
                <a:spcPts val="1045"/>
              </a:spcBef>
              <a:spcAft>
                <a:spcPts val="0"/>
              </a:spcAft>
            </a:pPr>
            <a:r>
              <a:rPr lang="en-US" sz="9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9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9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9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9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9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9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9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9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9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</a:p>
        </p:txBody>
      </p:sp>
      <p:sp>
        <p:nvSpPr>
          <p:cNvPr id="68" name="Freeform 5"/>
          <p:cNvSpPr>
            <a:spLocks/>
          </p:cNvSpPr>
          <p:nvPr userDrawn="1"/>
        </p:nvSpPr>
        <p:spPr bwMode="auto">
          <a:xfrm>
            <a:off x="12411753" y="25872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BD78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70" tIns="59485" rIns="118970" bIns="59485" numCol="1" anchor="t" anchorCtr="0" compatLnSpc="1">
            <a:prstTxWarp prst="textNoShape">
              <a:avLst/>
            </a:prstTxWarp>
          </a:bodyPr>
          <a:lstStyle/>
          <a:p>
            <a:pPr defTabSz="594786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9" name="Freeform 5"/>
          <p:cNvSpPr>
            <a:spLocks/>
          </p:cNvSpPr>
          <p:nvPr userDrawn="1"/>
        </p:nvSpPr>
        <p:spPr bwMode="auto">
          <a:xfrm>
            <a:off x="12411753" y="537757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7A23C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70" tIns="59485" rIns="118970" bIns="59485" numCol="1" anchor="t" anchorCtr="0" compatLnSpc="1">
            <a:prstTxWarp prst="textNoShape">
              <a:avLst/>
            </a:prstTxWarp>
          </a:bodyPr>
          <a:lstStyle/>
          <a:p>
            <a:pPr defTabSz="594786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0" name="Freeform 5"/>
          <p:cNvSpPr>
            <a:spLocks/>
          </p:cNvSpPr>
          <p:nvPr userDrawn="1"/>
        </p:nvSpPr>
        <p:spPr bwMode="auto">
          <a:xfrm>
            <a:off x="12411753" y="86222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86DB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70" tIns="59485" rIns="118970" bIns="59485" numCol="1" anchor="t" anchorCtr="0" compatLnSpc="1">
            <a:prstTxWarp prst="textNoShape">
              <a:avLst/>
            </a:prstTxWarp>
          </a:bodyPr>
          <a:lstStyle/>
          <a:p>
            <a:pPr defTabSz="594786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1" name="Freeform 5"/>
          <p:cNvSpPr>
            <a:spLocks/>
          </p:cNvSpPr>
          <p:nvPr userDrawn="1"/>
        </p:nvSpPr>
        <p:spPr bwMode="auto">
          <a:xfrm>
            <a:off x="12411753" y="113250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B51F7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70" tIns="59485" rIns="118970" bIns="59485" numCol="1" anchor="t" anchorCtr="0" compatLnSpc="1">
            <a:prstTxWarp prst="textNoShape">
              <a:avLst/>
            </a:prstTxWarp>
          </a:bodyPr>
          <a:lstStyle/>
          <a:p>
            <a:pPr defTabSz="594786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2" name="Freeform 71"/>
          <p:cNvSpPr>
            <a:spLocks/>
          </p:cNvSpPr>
          <p:nvPr userDrawn="1"/>
        </p:nvSpPr>
        <p:spPr bwMode="auto">
          <a:xfrm>
            <a:off x="12411753" y="144158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95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70" tIns="59485" rIns="118970" bIns="59485" numCol="1" anchor="t" anchorCtr="0" compatLnSpc="1">
            <a:prstTxWarp prst="textNoShape">
              <a:avLst/>
            </a:prstTxWarp>
          </a:bodyPr>
          <a:lstStyle/>
          <a:p>
            <a:pPr defTabSz="594786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3" name="Freeform 5"/>
          <p:cNvSpPr>
            <a:spLocks/>
          </p:cNvSpPr>
          <p:nvPr userDrawn="1"/>
        </p:nvSpPr>
        <p:spPr bwMode="auto">
          <a:xfrm>
            <a:off x="12411753" y="171186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CC52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70" tIns="59485" rIns="118970" bIns="59485" numCol="1" anchor="t" anchorCtr="0" compatLnSpc="1">
            <a:prstTxWarp prst="textNoShape">
              <a:avLst/>
            </a:prstTxWarp>
          </a:bodyPr>
          <a:lstStyle/>
          <a:p>
            <a:pPr defTabSz="594786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4" name="Freeform 5"/>
          <p:cNvSpPr>
            <a:spLocks/>
          </p:cNvSpPr>
          <p:nvPr userDrawn="1"/>
        </p:nvSpPr>
        <p:spPr bwMode="auto">
          <a:xfrm>
            <a:off x="12411753" y="200887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C8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70" tIns="59485" rIns="118970" bIns="59485" numCol="1" anchor="t" anchorCtr="0" compatLnSpc="1">
            <a:prstTxWarp prst="textNoShape">
              <a:avLst/>
            </a:prstTxWarp>
          </a:bodyPr>
          <a:lstStyle/>
          <a:p>
            <a:pPr defTabSz="594786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5" name="Freeform 5"/>
          <p:cNvSpPr>
            <a:spLocks/>
          </p:cNvSpPr>
          <p:nvPr userDrawn="1"/>
        </p:nvSpPr>
        <p:spPr bwMode="auto">
          <a:xfrm>
            <a:off x="12411753" y="227915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CCC6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70" tIns="59485" rIns="118970" bIns="59485" numCol="1" anchor="t" anchorCtr="0" compatLnSpc="1">
            <a:prstTxWarp prst="textNoShape">
              <a:avLst/>
            </a:prstTxWarp>
          </a:bodyPr>
          <a:lstStyle/>
          <a:p>
            <a:pPr defTabSz="594786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6" name="Freeform 5"/>
          <p:cNvSpPr>
            <a:spLocks/>
          </p:cNvSpPr>
          <p:nvPr userDrawn="1"/>
        </p:nvSpPr>
        <p:spPr bwMode="auto">
          <a:xfrm>
            <a:off x="12411753" y="256409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69D17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70" tIns="59485" rIns="118970" bIns="59485" numCol="1" anchor="t" anchorCtr="0" compatLnSpc="1">
            <a:prstTxWarp prst="textNoShape">
              <a:avLst/>
            </a:prstTxWarp>
          </a:bodyPr>
          <a:lstStyle/>
          <a:p>
            <a:pPr defTabSz="594786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7" name="Freeform 5"/>
          <p:cNvSpPr>
            <a:spLocks/>
          </p:cNvSpPr>
          <p:nvPr userDrawn="1"/>
        </p:nvSpPr>
        <p:spPr bwMode="auto">
          <a:xfrm>
            <a:off x="12411753" y="283437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9E0B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70" tIns="59485" rIns="118970" bIns="59485" numCol="1" anchor="t" anchorCtr="0" compatLnSpc="1">
            <a:prstTxWarp prst="textNoShape">
              <a:avLst/>
            </a:prstTxWarp>
          </a:bodyPr>
          <a:lstStyle/>
          <a:p>
            <a:pPr defTabSz="594786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8" name="Freeform 5"/>
          <p:cNvSpPr>
            <a:spLocks/>
          </p:cNvSpPr>
          <p:nvPr userDrawn="1"/>
        </p:nvSpPr>
        <p:spPr bwMode="auto">
          <a:xfrm>
            <a:off x="12411753" y="3155524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E6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70" tIns="59485" rIns="118970" bIns="59485" numCol="1" anchor="t" anchorCtr="0" compatLnSpc="1">
            <a:prstTxWarp prst="textNoShape">
              <a:avLst/>
            </a:prstTxWarp>
          </a:bodyPr>
          <a:lstStyle/>
          <a:p>
            <a:pPr defTabSz="594786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9" name="Freeform 5"/>
          <p:cNvSpPr>
            <a:spLocks/>
          </p:cNvSpPr>
          <p:nvPr userDrawn="1"/>
        </p:nvSpPr>
        <p:spPr bwMode="auto">
          <a:xfrm>
            <a:off x="12411753" y="342580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AFC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70" tIns="59485" rIns="118970" bIns="59485" numCol="1" anchor="t" anchorCtr="0" compatLnSpc="1">
            <a:prstTxWarp prst="textNoShape">
              <a:avLst/>
            </a:prstTxWarp>
          </a:bodyPr>
          <a:lstStyle/>
          <a:p>
            <a:pPr defTabSz="594786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80" name="Freeform 5"/>
          <p:cNvSpPr>
            <a:spLocks/>
          </p:cNvSpPr>
          <p:nvPr userDrawn="1"/>
        </p:nvSpPr>
        <p:spPr bwMode="auto">
          <a:xfrm>
            <a:off x="12411753" y="3734884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DEDEDE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70" tIns="59485" rIns="118970" bIns="59485" numCol="1" anchor="t" anchorCtr="0" compatLnSpc="1">
            <a:prstTxWarp prst="textNoShape">
              <a:avLst/>
            </a:prstTxWarp>
          </a:bodyPr>
          <a:lstStyle/>
          <a:p>
            <a:pPr defTabSz="594786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81" name="Freeform 5"/>
          <p:cNvSpPr>
            <a:spLocks/>
          </p:cNvSpPr>
          <p:nvPr userDrawn="1"/>
        </p:nvSpPr>
        <p:spPr bwMode="auto">
          <a:xfrm>
            <a:off x="12411753" y="400516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9C9C9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70" tIns="59485" rIns="118970" bIns="59485" numCol="1" anchor="t" anchorCtr="0" compatLnSpc="1">
            <a:prstTxWarp prst="textNoShape">
              <a:avLst/>
            </a:prstTxWarp>
          </a:bodyPr>
          <a:lstStyle/>
          <a:p>
            <a:pPr defTabSz="594786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43394393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919" r:id="rId1"/>
    <p:sldLayoutId id="2147484920" r:id="rId2"/>
    <p:sldLayoutId id="2147484921" r:id="rId3"/>
    <p:sldLayoutId id="2147484922" r:id="rId4"/>
    <p:sldLayoutId id="2147484923" r:id="rId5"/>
    <p:sldLayoutId id="2147484924" r:id="rId6"/>
    <p:sldLayoutId id="2147484925" r:id="rId7"/>
    <p:sldLayoutId id="2147484926" r:id="rId8"/>
    <p:sldLayoutId id="2147484927" r:id="rId9"/>
    <p:sldLayoutId id="2147484928" r:id="rId10"/>
    <p:sldLayoutId id="2147484929" r:id="rId11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defTabSz="594786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2700" b="0" i="0" kern="1200" noProof="0">
          <a:solidFill>
            <a:srgbClr val="FF7900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570" indent="-239570" algn="l" defTabSz="594786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5008" indent="-229242" algn="l" defTabSz="594786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5008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4252" indent="-229242" algn="l" defTabSz="594786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4252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3501" indent="-229242" algn="l" defTabSz="594786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3501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2742" indent="-229242" algn="l" defTabSz="594786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2742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71386" indent="-297392" algn="l" defTabSz="594786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66175" indent="-297392" algn="l" defTabSz="594786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60965" indent="-297392" algn="l" defTabSz="594786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55763" indent="-297392" algn="l" defTabSz="594786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4786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4786" algn="l" defTabSz="594786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9594" algn="l" defTabSz="594786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4390" algn="l" defTabSz="594786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9184" algn="l" defTabSz="594786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73988" algn="l" defTabSz="594786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68778" algn="l" defTabSz="594786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63572" algn="l" defTabSz="594786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58368" algn="l" defTabSz="594786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11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4153928269"/>
              </p:ext>
            </p:extLst>
          </p:nvPr>
        </p:nvGraphicFramePr>
        <p:xfrm>
          <a:off x="1589" y="1589"/>
          <a:ext cx="158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16758" name="Slide do think-cell" r:id="rId8" imgW="0" imgH="0" progId="TCLayout.ActiveDocument.1">
                  <p:embed/>
                </p:oleObj>
              </mc:Choice>
              <mc:Fallback>
                <p:oleObj name="Slide do think-cell" r:id="rId8" imgW="0" imgH="0" progId="TCLayout.ActiveDocument.1">
                  <p:embed/>
                  <p:pic>
                    <p:nvPicPr>
                      <p:cNvPr id="0" name="AutoShape 28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9"/>
                        <a:ext cx="158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82" y="1854679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2029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471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81813" y="1855201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471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471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32" tIns="46832" rIns="46832" bIns="46832" numCol="1" anchor="t" anchorCtr="0" compatLnSpc="1">
            <a:prstTxWarp prst="textNoShape">
              <a:avLst/>
            </a:prstTxWarp>
          </a:bodyPr>
          <a:lstStyle/>
          <a:p>
            <a:pPr defTabSz="59471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471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471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32" tIns="46832" rIns="46832" bIns="46832" numCol="1" anchor="t" anchorCtr="0" compatLnSpc="1">
            <a:prstTxWarp prst="textNoShape">
              <a:avLst/>
            </a:prstTxWarp>
          </a:bodyPr>
          <a:lstStyle/>
          <a:p>
            <a:pPr defTabSz="59471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471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471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32" tIns="46832" rIns="46832" bIns="46832" numCol="1" anchor="t" anchorCtr="0" compatLnSpc="1">
            <a:prstTxWarp prst="textNoShape">
              <a:avLst/>
            </a:prstTxWarp>
          </a:bodyPr>
          <a:lstStyle/>
          <a:p>
            <a:pPr defTabSz="59471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471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471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32" tIns="46832" rIns="46832" bIns="46832" numCol="1" anchor="t" anchorCtr="0" compatLnSpc="1">
            <a:prstTxWarp prst="textNoShape">
              <a:avLst/>
            </a:prstTxWarp>
          </a:bodyPr>
          <a:lstStyle/>
          <a:p>
            <a:pPr defTabSz="59471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471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471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32" tIns="46832" rIns="46832" bIns="46832" numCol="1" anchor="t" anchorCtr="0" compatLnSpc="1">
            <a:prstTxWarp prst="textNoShape">
              <a:avLst/>
            </a:prstTxWarp>
          </a:bodyPr>
          <a:lstStyle/>
          <a:p>
            <a:pPr defTabSz="59471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471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471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32" tIns="46832" rIns="46832" bIns="46832" numCol="1" anchor="t" anchorCtr="0" compatLnSpc="1">
            <a:prstTxWarp prst="textNoShape">
              <a:avLst/>
            </a:prstTxWarp>
          </a:bodyPr>
          <a:lstStyle/>
          <a:p>
            <a:pPr defTabSz="59471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471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471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32" tIns="46832" rIns="46832" bIns="46832" numCol="1" anchor="t" anchorCtr="0" compatLnSpc="1">
            <a:prstTxWarp prst="textNoShape">
              <a:avLst/>
            </a:prstTxWarp>
          </a:bodyPr>
          <a:lstStyle/>
          <a:p>
            <a:pPr defTabSz="59471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471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471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9223673" y="6781903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4717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958" tIns="59480" rIns="118958" bIns="59480" numCol="1" anchor="t" anchorCtr="0" compatLnSpc="1">
            <a:prstTxWarp prst="textNoShape">
              <a:avLst/>
            </a:prstTxWarp>
          </a:bodyPr>
          <a:lstStyle/>
          <a:p>
            <a:pPr defTabSz="59471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58" tIns="59480" rIns="118958" bIns="59480" numCol="1" anchor="t" anchorCtr="0" compatLnSpc="1">
            <a:prstTxWarp prst="textNoShape">
              <a:avLst/>
            </a:prstTxWarp>
          </a:bodyPr>
          <a:lstStyle/>
          <a:p>
            <a:pPr defTabSz="59471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58" tIns="59480" rIns="118958" bIns="59480" numCol="1" anchor="t" anchorCtr="0" compatLnSpc="1">
            <a:prstTxWarp prst="textNoShape">
              <a:avLst/>
            </a:prstTxWarp>
          </a:bodyPr>
          <a:lstStyle/>
          <a:p>
            <a:pPr defTabSz="59471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58" tIns="59480" rIns="118958" bIns="59480" numCol="1" anchor="t" anchorCtr="0" compatLnSpc="1">
            <a:prstTxWarp prst="textNoShape">
              <a:avLst/>
            </a:prstTxWarp>
          </a:bodyPr>
          <a:lstStyle/>
          <a:p>
            <a:pPr defTabSz="59471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958" tIns="59480" rIns="118958" bIns="59480" numCol="1" anchor="t" anchorCtr="0" compatLnSpc="1">
            <a:prstTxWarp prst="textNoShape">
              <a:avLst/>
            </a:prstTxWarp>
          </a:bodyPr>
          <a:lstStyle/>
          <a:p>
            <a:pPr defTabSz="59471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58" tIns="59480" rIns="118958" bIns="59480" numCol="1" anchor="t" anchorCtr="0" compatLnSpc="1">
            <a:prstTxWarp prst="textNoShape">
              <a:avLst/>
            </a:prstTxWarp>
          </a:bodyPr>
          <a:lstStyle/>
          <a:p>
            <a:pPr defTabSz="59471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58" tIns="59480" rIns="118958" bIns="59480" numCol="1" anchor="t" anchorCtr="0" compatLnSpc="1">
            <a:prstTxWarp prst="textNoShape">
              <a:avLst/>
            </a:prstTxWarp>
          </a:bodyPr>
          <a:lstStyle/>
          <a:p>
            <a:pPr defTabSz="59471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58" tIns="59480" rIns="118958" bIns="59480" numCol="1" anchor="t" anchorCtr="0" compatLnSpc="1">
            <a:prstTxWarp prst="textNoShape">
              <a:avLst/>
            </a:prstTxWarp>
          </a:bodyPr>
          <a:lstStyle/>
          <a:p>
            <a:pPr defTabSz="59471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958" tIns="59480" rIns="118958" bIns="59480" numCol="1" anchor="t" anchorCtr="0" compatLnSpc="1">
            <a:prstTxWarp prst="textNoShape">
              <a:avLst/>
            </a:prstTxWarp>
          </a:bodyPr>
          <a:lstStyle/>
          <a:p>
            <a:pPr defTabSz="59471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58" tIns="59480" rIns="118958" bIns="59480" numCol="1" anchor="t" anchorCtr="0" compatLnSpc="1">
            <a:prstTxWarp prst="textNoShape">
              <a:avLst/>
            </a:prstTxWarp>
          </a:bodyPr>
          <a:lstStyle/>
          <a:p>
            <a:pPr defTabSz="59471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58" tIns="59480" rIns="118958" bIns="59480" numCol="1" anchor="t" anchorCtr="0" compatLnSpc="1">
            <a:prstTxWarp prst="textNoShape">
              <a:avLst/>
            </a:prstTxWarp>
          </a:bodyPr>
          <a:lstStyle/>
          <a:p>
            <a:pPr defTabSz="59471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58" tIns="59480" rIns="118958" bIns="59480" numCol="1" anchor="t" anchorCtr="0" compatLnSpc="1">
            <a:prstTxWarp prst="textNoShape">
              <a:avLst/>
            </a:prstTxWarp>
          </a:bodyPr>
          <a:lstStyle/>
          <a:p>
            <a:pPr defTabSz="59471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811758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931" r:id="rId1"/>
    <p:sldLayoutId id="2147484932" r:id="rId2"/>
    <p:sldLayoutId id="2147484933" r:id="rId3"/>
    <p:sldLayoutId id="2147484934" r:id="rId4"/>
  </p:sldLayoutIdLst>
  <p:hf sldNum="0" hdr="0" ftr="0" dt="0"/>
  <p:txStyles>
    <p:titleStyle>
      <a:lvl1pPr algn="l" defTabSz="594717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544" indent="-239544" algn="l" defTabSz="59471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4953" indent="-229216" algn="l" defTabSz="59471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4953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4171" indent="-229216" algn="l" defTabSz="59471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4171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3395" indent="-229216" algn="l" defTabSz="59471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3395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2610" indent="-229216" algn="l" defTabSz="59471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2610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71015" indent="-297358" algn="l" defTabSz="59471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65737" indent="-297358" algn="l" defTabSz="59471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60460" indent="-297358" algn="l" defTabSz="59471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55191" indent="-297358" algn="l" defTabSz="59471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471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4717" algn="l" defTabSz="59471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9459" algn="l" defTabSz="59471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4190" algn="l" defTabSz="59471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8914" algn="l" defTabSz="59471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73652" algn="l" defTabSz="59471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68374" algn="l" defTabSz="59471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63102" algn="l" defTabSz="59471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57829" algn="l" defTabSz="59471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11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82" y="1854707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2055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81813" y="1855226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9223673" y="6781928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3363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21174108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938" r:id="rId1"/>
    <p:sldLayoutId id="2147484939" r:id="rId2"/>
    <p:sldLayoutId id="2147484940" r:id="rId3"/>
    <p:sldLayoutId id="2147484941" r:id="rId4"/>
  </p:sldLayoutIdLst>
  <p:hf sldNum="0" hdr="0" ftr="0" dt="0"/>
  <p:txStyles>
    <p:titleStyle>
      <a:lvl1pPr algn="l" defTabSz="593363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005" indent="-239005" algn="l" defTabSz="59336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3881" indent="-228695" algn="l" defTabSz="59336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3881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2579" indent="-228695" algn="l" defTabSz="59336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2579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1282" indent="-228695" algn="l" defTabSz="59336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1282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59973" indent="-228695" algn="l" defTabSz="59336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59973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63617" indent="-296677" algn="l" defTabSz="59336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56998" indent="-296677" algn="l" defTabSz="59336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50378" indent="-296677" algn="l" defTabSz="59336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43767" indent="-296677" algn="l" defTabSz="59336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3363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6768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0158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3541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66928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60307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53688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47078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82" y="1854733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2084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81813" y="1855253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9223673" y="6781955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1947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4107039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1" r:id="rId1"/>
    <p:sldLayoutId id="2147483822" r:id="rId2"/>
    <p:sldLayoutId id="2147483823" r:id="rId3"/>
    <p:sldLayoutId id="2147483824" r:id="rId4"/>
  </p:sldLayoutIdLst>
  <p:hf sldNum="0" hdr="0" ftr="0" dt="0"/>
  <p:txStyles>
    <p:titleStyle>
      <a:lvl1pPr algn="l" defTabSz="591947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8434" indent="-238434" algn="l" defTabSz="59194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2756" indent="-228154" algn="l" defTabSz="59194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2756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0913" indent="-228154" algn="l" defTabSz="59194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0913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29070" indent="-228154" algn="l" defTabSz="59194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29070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57207" indent="-228154" algn="l" defTabSz="59194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57207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55872" indent="-295965" algn="l" defTabSz="59194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47841" indent="-295965" algn="l" defTabSz="59194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39815" indent="-295965" algn="l" defTabSz="59194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31791" indent="-295965" algn="l" defTabSz="59194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1947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3950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75935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67908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59881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51854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43833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35810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12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82" y="1854707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2055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81813" y="1855226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9223673" y="6781928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3363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14209595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943" r:id="rId1"/>
    <p:sldLayoutId id="2147484944" r:id="rId2"/>
    <p:sldLayoutId id="2147484945" r:id="rId3"/>
    <p:sldLayoutId id="2147484946" r:id="rId4"/>
  </p:sldLayoutIdLst>
  <p:hf sldNum="0" hdr="0" ftr="0" dt="0"/>
  <p:txStyles>
    <p:titleStyle>
      <a:lvl1pPr algn="l" defTabSz="593363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005" indent="-239005" algn="l" defTabSz="59336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3881" indent="-228695" algn="l" defTabSz="59336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3881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2579" indent="-228695" algn="l" defTabSz="59336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2579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1282" indent="-228695" algn="l" defTabSz="59336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1282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59973" indent="-228695" algn="l" defTabSz="59336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59973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63617" indent="-296677" algn="l" defTabSz="59336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56998" indent="-296677" algn="l" defTabSz="59336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50378" indent="-296677" algn="l" defTabSz="59336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43767" indent="-296677" algn="l" defTabSz="59336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3363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6768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0158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3541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66928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60307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53688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47078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12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82" y="1854725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2076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2353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81813" y="1855245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2353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2353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49" tIns="46649" rIns="46649" bIns="46649" numCol="1" anchor="t" anchorCtr="0" compatLnSpc="1">
            <a:prstTxWarp prst="textNoShape">
              <a:avLst/>
            </a:prstTxWarp>
          </a:bodyPr>
          <a:lstStyle/>
          <a:p>
            <a:pPr defTabSz="59235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235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235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49" tIns="46649" rIns="46649" bIns="46649" numCol="1" anchor="t" anchorCtr="0" compatLnSpc="1">
            <a:prstTxWarp prst="textNoShape">
              <a:avLst/>
            </a:prstTxWarp>
          </a:bodyPr>
          <a:lstStyle/>
          <a:p>
            <a:pPr defTabSz="59235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235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235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49" tIns="46649" rIns="46649" bIns="46649" numCol="1" anchor="t" anchorCtr="0" compatLnSpc="1">
            <a:prstTxWarp prst="textNoShape">
              <a:avLst/>
            </a:prstTxWarp>
          </a:bodyPr>
          <a:lstStyle/>
          <a:p>
            <a:pPr defTabSz="59235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235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235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49" tIns="46649" rIns="46649" bIns="46649" numCol="1" anchor="t" anchorCtr="0" compatLnSpc="1">
            <a:prstTxWarp prst="textNoShape">
              <a:avLst/>
            </a:prstTxWarp>
          </a:bodyPr>
          <a:lstStyle/>
          <a:p>
            <a:pPr defTabSz="59235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235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235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49" tIns="46649" rIns="46649" bIns="46649" numCol="1" anchor="t" anchorCtr="0" compatLnSpc="1">
            <a:prstTxWarp prst="textNoShape">
              <a:avLst/>
            </a:prstTxWarp>
          </a:bodyPr>
          <a:lstStyle/>
          <a:p>
            <a:pPr defTabSz="59235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235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235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49" tIns="46649" rIns="46649" bIns="46649" numCol="1" anchor="t" anchorCtr="0" compatLnSpc="1">
            <a:prstTxWarp prst="textNoShape">
              <a:avLst/>
            </a:prstTxWarp>
          </a:bodyPr>
          <a:lstStyle/>
          <a:p>
            <a:pPr defTabSz="59235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235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235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49" tIns="46649" rIns="46649" bIns="46649" numCol="1" anchor="t" anchorCtr="0" compatLnSpc="1">
            <a:prstTxWarp prst="textNoShape">
              <a:avLst/>
            </a:prstTxWarp>
          </a:bodyPr>
          <a:lstStyle/>
          <a:p>
            <a:pPr defTabSz="59235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235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235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9223673" y="6781949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2353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97" tIns="59248" rIns="118497" bIns="59248" numCol="1" anchor="t" anchorCtr="0" compatLnSpc="1">
            <a:prstTxWarp prst="textNoShape">
              <a:avLst/>
            </a:prstTxWarp>
          </a:bodyPr>
          <a:lstStyle/>
          <a:p>
            <a:pPr defTabSz="59235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97" tIns="59248" rIns="118497" bIns="59248" numCol="1" anchor="t" anchorCtr="0" compatLnSpc="1">
            <a:prstTxWarp prst="textNoShape">
              <a:avLst/>
            </a:prstTxWarp>
          </a:bodyPr>
          <a:lstStyle/>
          <a:p>
            <a:pPr defTabSz="59235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97" tIns="59248" rIns="118497" bIns="59248" numCol="1" anchor="t" anchorCtr="0" compatLnSpc="1">
            <a:prstTxWarp prst="textNoShape">
              <a:avLst/>
            </a:prstTxWarp>
          </a:bodyPr>
          <a:lstStyle/>
          <a:p>
            <a:pPr defTabSz="59235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97" tIns="59248" rIns="118497" bIns="59248" numCol="1" anchor="t" anchorCtr="0" compatLnSpc="1">
            <a:prstTxWarp prst="textNoShape">
              <a:avLst/>
            </a:prstTxWarp>
          </a:bodyPr>
          <a:lstStyle/>
          <a:p>
            <a:pPr defTabSz="59235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97" tIns="59248" rIns="118497" bIns="59248" numCol="1" anchor="t" anchorCtr="0" compatLnSpc="1">
            <a:prstTxWarp prst="textNoShape">
              <a:avLst/>
            </a:prstTxWarp>
          </a:bodyPr>
          <a:lstStyle/>
          <a:p>
            <a:pPr defTabSz="59235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97" tIns="59248" rIns="118497" bIns="59248" numCol="1" anchor="t" anchorCtr="0" compatLnSpc="1">
            <a:prstTxWarp prst="textNoShape">
              <a:avLst/>
            </a:prstTxWarp>
          </a:bodyPr>
          <a:lstStyle/>
          <a:p>
            <a:pPr defTabSz="59235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97" tIns="59248" rIns="118497" bIns="59248" numCol="1" anchor="t" anchorCtr="0" compatLnSpc="1">
            <a:prstTxWarp prst="textNoShape">
              <a:avLst/>
            </a:prstTxWarp>
          </a:bodyPr>
          <a:lstStyle/>
          <a:p>
            <a:pPr defTabSz="59235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97" tIns="59248" rIns="118497" bIns="59248" numCol="1" anchor="t" anchorCtr="0" compatLnSpc="1">
            <a:prstTxWarp prst="textNoShape">
              <a:avLst/>
            </a:prstTxWarp>
          </a:bodyPr>
          <a:lstStyle/>
          <a:p>
            <a:pPr defTabSz="59235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97" tIns="59248" rIns="118497" bIns="59248" numCol="1" anchor="t" anchorCtr="0" compatLnSpc="1">
            <a:prstTxWarp prst="textNoShape">
              <a:avLst/>
            </a:prstTxWarp>
          </a:bodyPr>
          <a:lstStyle/>
          <a:p>
            <a:pPr defTabSz="59235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97" tIns="59248" rIns="118497" bIns="59248" numCol="1" anchor="t" anchorCtr="0" compatLnSpc="1">
            <a:prstTxWarp prst="textNoShape">
              <a:avLst/>
            </a:prstTxWarp>
          </a:bodyPr>
          <a:lstStyle/>
          <a:p>
            <a:pPr defTabSz="59235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97" tIns="59248" rIns="118497" bIns="59248" numCol="1" anchor="t" anchorCtr="0" compatLnSpc="1">
            <a:prstTxWarp prst="textNoShape">
              <a:avLst/>
            </a:prstTxWarp>
          </a:bodyPr>
          <a:lstStyle/>
          <a:p>
            <a:pPr defTabSz="59235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97" tIns="59248" rIns="118497" bIns="59248" numCol="1" anchor="t" anchorCtr="0" compatLnSpc="1">
            <a:prstTxWarp prst="textNoShape">
              <a:avLst/>
            </a:prstTxWarp>
          </a:bodyPr>
          <a:lstStyle/>
          <a:p>
            <a:pPr defTabSz="59235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15855618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948" r:id="rId1"/>
    <p:sldLayoutId id="2147484949" r:id="rId2"/>
    <p:sldLayoutId id="2147484950" r:id="rId3"/>
    <p:sldLayoutId id="2147484951" r:id="rId4"/>
  </p:sldLayoutIdLst>
  <p:hf hdr="0" dt="0"/>
  <p:txStyles>
    <p:titleStyle>
      <a:lvl1pPr algn="l" defTabSz="592353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8599" indent="-238599" algn="l" defTabSz="59235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3078" indent="-228307" algn="l" defTabSz="59235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3078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1390" indent="-228307" algn="l" defTabSz="59235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1390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29701" indent="-228307" algn="l" defTabSz="59235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29701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57996" indent="-228307" algn="l" defTabSz="59235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57996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58083" indent="-296170" algn="l" defTabSz="59235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50456" indent="-296170" algn="l" defTabSz="59235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42832" indent="-296170" algn="l" defTabSz="59235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35208" indent="-296170" algn="l" defTabSz="59235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235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2353" algn="l" defTabSz="59235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4755" algn="l" defTabSz="59235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77141" algn="l" defTabSz="59235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69516" algn="l" defTabSz="59235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61894" algn="l" defTabSz="59235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54266" algn="l" defTabSz="59235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46648" algn="l" defTabSz="59235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39027" algn="l" defTabSz="59235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12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82" y="1854721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2072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81813" y="1855241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65" tIns="46665" rIns="46665" bIns="46665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65" tIns="46665" rIns="46665" bIns="46665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65" tIns="46665" rIns="46665" bIns="46665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65" tIns="46665" rIns="46665" bIns="46665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65" tIns="46665" rIns="46665" bIns="46665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65" tIns="46665" rIns="46665" bIns="46665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25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25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65" tIns="46665" rIns="46665" bIns="46665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9223673" y="6781945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2554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535" tIns="59268" rIns="118535" bIns="59268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35" tIns="59268" rIns="118535" bIns="59268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35" tIns="59268" rIns="118535" bIns="59268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35" tIns="59268" rIns="118535" bIns="59268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535" tIns="59268" rIns="118535" bIns="59268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35" tIns="59268" rIns="118535" bIns="59268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35" tIns="59268" rIns="118535" bIns="59268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35" tIns="59268" rIns="118535" bIns="59268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535" tIns="59268" rIns="118535" bIns="59268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35" tIns="59268" rIns="118535" bIns="59268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35" tIns="59268" rIns="118535" bIns="59268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35" tIns="59268" rIns="118535" bIns="59268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4663828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953" r:id="rId1"/>
    <p:sldLayoutId id="2147484954" r:id="rId2"/>
    <p:sldLayoutId id="2147484955" r:id="rId3"/>
    <p:sldLayoutId id="2147484956" r:id="rId4"/>
  </p:sldLayoutIdLst>
  <p:hf hdr="0" dt="0"/>
  <p:txStyles>
    <p:titleStyle>
      <a:lvl1pPr algn="l" defTabSz="592554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8677" indent="-238677" algn="l" defTabSz="5925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3238" indent="-228385" algn="l" defTabSz="5925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3238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1625" indent="-228385" algn="l" defTabSz="5925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1625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0018" indent="-228385" algn="l" defTabSz="5925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0018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58392" indent="-228385" algn="l" defTabSz="5925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58392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59186" indent="-296272" algn="l" defTabSz="592554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51764" indent="-296272" algn="l" defTabSz="592554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44340" indent="-296272" algn="l" defTabSz="592554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36920" indent="-296272" algn="l" defTabSz="592554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25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2554" algn="l" defTabSz="5925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5157" algn="l" defTabSz="5925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77743" algn="l" defTabSz="5925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0321" algn="l" defTabSz="5925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62900" algn="l" defTabSz="5925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55473" algn="l" defTabSz="5925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48054" algn="l" defTabSz="5925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40637" algn="l" defTabSz="5925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12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480049090"/>
              </p:ext>
            </p:extLst>
          </p:nvPr>
        </p:nvGraphicFramePr>
        <p:xfrm>
          <a:off x="1" y="2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21855" name="Slide do think-cell" r:id="rId12" imgW="0" imgH="0" progId="TCLayout.ActiveDocument.1">
                  <p:embed/>
                </p:oleObj>
              </mc:Choice>
              <mc:Fallback>
                <p:oleObj name="Slide do think-cell" r:id="rId12" imgW="0" imgH="0" progId="TCLayout.ActiveDocument.1">
                  <p:embed/>
                  <p:pic>
                    <p:nvPicPr>
                      <p:cNvPr id="0" name="AutoShape 257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2"/>
                        <a:ext cx="211676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10776432" y="36518"/>
            <a:ext cx="876339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4488"/>
            <a:endParaRPr lang="pt-BR" sz="800" dirty="0">
              <a:solidFill>
                <a:srgbClr val="000000"/>
              </a:solidFill>
              <a:latin typeface="Arial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10519874" y="1932900"/>
            <a:ext cx="267220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1194042"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10682583" y="4106726"/>
            <a:ext cx="234679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1194042"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936841" y="1951039"/>
            <a:ext cx="5736421" cy="11060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ext styles</a:t>
            </a:r>
          </a:p>
          <a:p>
            <a:pPr lvl="1"/>
            <a:r>
              <a:rPr lang="pt-BR" noProof="0" smtClean="0"/>
              <a:t>Second level</a:t>
            </a:r>
          </a:p>
          <a:p>
            <a:pPr lvl="2"/>
            <a:r>
              <a:rPr lang="pt-BR" noProof="0" smtClean="0"/>
              <a:t>Third level</a:t>
            </a:r>
          </a:p>
          <a:p>
            <a:pPr lvl="3"/>
            <a:r>
              <a:rPr lang="pt-BR" noProof="0" smtClean="0"/>
              <a:t>Fourth level</a:t>
            </a:r>
          </a:p>
          <a:p>
            <a:pPr lvl="4"/>
            <a:r>
              <a:rPr lang="pt-BR" noProof="0" smtClean="0"/>
              <a:t>Fifth level</a:t>
            </a:r>
            <a:endParaRPr lang="pt-BR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211676" y="230197"/>
            <a:ext cx="10530036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58768" y="26992"/>
            <a:ext cx="886083" cy="2212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1194042"/>
            <a:r>
              <a:rPr lang="pt-BR" sz="1400" smtClean="0">
                <a:solidFill>
                  <a:srgbClr val="808080"/>
                </a:solidFill>
                <a:latin typeface="Arial"/>
                <a:cs typeface="Arial" panose="020B0604020202020204" pitchFamily="34" charset="0"/>
                <a:sym typeface="Arial" panose="020B0604020202020204" pitchFamily="34" charset="0"/>
              </a:rPr>
              <a:t>TRACKER</a:t>
            </a:r>
            <a:endParaRPr lang="pt-BR" sz="1400" dirty="0">
              <a:solidFill>
                <a:srgbClr val="808080"/>
              </a:solidFill>
              <a:latin typeface="Arial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58790" y="621826"/>
            <a:ext cx="11491891" cy="281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pt-BR" sz="1800" smtClean="0">
                <a:solidFill>
                  <a:srgbClr val="D5E7FF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Unit of measure</a:t>
            </a:r>
            <a:endParaRPr lang="pt-BR" sz="1800" dirty="0" smtClean="0">
              <a:solidFill>
                <a:srgbClr val="D5E7FF">
                  <a:lumMod val="75000"/>
                </a:srgbClr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158761" y="6266426"/>
            <a:ext cx="11398753" cy="358776"/>
            <a:chOff x="75" y="3877"/>
            <a:chExt cx="5385" cy="226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877"/>
              <a:ext cx="5385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pt-BR" sz="100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1 Footnote</a:t>
              </a:r>
              <a:endParaRPr lang="pt-BR" sz="1000" dirty="0" smtClean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06"/>
              <a:ext cx="4323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t" anchorCtr="0">
              <a:spAutoFit/>
            </a:bodyPr>
            <a:lstStyle/>
            <a:p>
              <a:pPr marL="609014" indent="-609014" defTabSz="894488">
                <a:tabLst>
                  <a:tab pos="612186" algn="l"/>
                </a:tabLst>
              </a:pPr>
              <a:r>
                <a:rPr lang="pt-BR" sz="1000" dirty="0" smtClean="0">
                  <a:solidFill>
                    <a:srgbClr val="4D4D4D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FONTE: </a:t>
              </a:r>
              <a:r>
                <a:rPr lang="pt-BR" sz="1000" dirty="0" err="1" smtClean="0">
                  <a:solidFill>
                    <a:srgbClr val="4D4D4D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Source</a:t>
              </a:r>
              <a:endParaRPr lang="pt-BR" sz="1000" dirty="0">
                <a:solidFill>
                  <a:srgbClr val="4D4D4D"/>
                </a:solidFill>
                <a:latin typeface="Arial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936840" y="1123953"/>
            <a:ext cx="5685618" cy="511174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 hidden="1"/>
            <p:cNvSpPr>
              <a:spLocks noChangeArrowheads="1"/>
            </p:cNvSpPr>
            <p:nvPr/>
          </p:nvSpPr>
          <p:spPr bwMode="auto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defTabSz="1194042"/>
              <a:r>
                <a:rPr lang="pt-BR" b="1" smtClean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Title</a:t>
              </a:r>
            </a:p>
            <a:p>
              <a:pPr defTabSz="1194042"/>
              <a:r>
                <a:rPr lang="pt-BR" smtClean="0">
                  <a:solidFill>
                    <a:srgbClr val="80808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Unit of measure</a:t>
              </a:r>
              <a:endParaRPr lang="pt-BR" dirty="0">
                <a:solidFill>
                  <a:srgbClr val="808080"/>
                </a:solidFill>
                <a:latin typeface="Arial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28" name="Group 27"/>
          <p:cNvGrpSpPr/>
          <p:nvPr userDrawn="1"/>
        </p:nvGrpSpPr>
        <p:grpSpPr>
          <a:xfrm>
            <a:off x="12094498" y="60963"/>
            <a:ext cx="613376" cy="655256"/>
            <a:chOff x="5526523" y="2325890"/>
            <a:chExt cx="3423032" cy="3656747"/>
          </a:xfrm>
        </p:grpSpPr>
        <p:sp>
          <p:nvSpPr>
            <p:cNvPr id="29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194042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30" name="Group 29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31" name="Donut 30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194042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2" name="Oval 31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194042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3" name="Oval 32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194042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71676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958" r:id="rId1"/>
    <p:sldLayoutId id="2147484959" r:id="rId2"/>
    <p:sldLayoutId id="2147484960" r:id="rId3"/>
    <p:sldLayoutId id="2147484961" r:id="rId4"/>
    <p:sldLayoutId id="2147484962" r:id="rId5"/>
    <p:sldLayoutId id="2147484963" r:id="rId6"/>
    <p:sldLayoutId id="2147484964" r:id="rId7"/>
    <p:sldLayoutId id="2147484965" r:id="rId8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894488" rtl="0" eaLnBrk="1" fontAlgn="base" hangingPunct="1">
        <a:spcBef>
          <a:spcPct val="0"/>
        </a:spcBef>
        <a:spcAft>
          <a:spcPct val="0"/>
        </a:spcAft>
        <a:tabLst>
          <a:tab pos="269618" algn="l"/>
        </a:tabLst>
        <a:defRPr lang="en-US" sz="2000" b="1" baseline="0" noProof="0" dirty="0" smtClean="0">
          <a:solidFill>
            <a:schemeClr val="accent4"/>
          </a:solidFill>
          <a:latin typeface="Arial" panose="020B0604020202020204" pitchFamily="34" charset="0"/>
          <a:ea typeface="+mj-ea"/>
          <a:cs typeface="Arial" panose="020B0604020202020204" pitchFamily="34" charset="0"/>
          <a:sym typeface="Arial" panose="020B0604020202020204" pitchFamily="34" charset="0"/>
        </a:defRPr>
      </a:lvl1pPr>
      <a:lvl2pPr algn="l" defTabSz="89448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2pPr>
      <a:lvl3pPr algn="l" defTabSz="89448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3pPr>
      <a:lvl4pPr algn="l" defTabSz="89448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4pPr>
      <a:lvl5pPr algn="l" defTabSz="89448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5pPr>
      <a:lvl6pPr marL="456761" algn="l" defTabSz="89448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6pPr>
      <a:lvl7pPr marL="913521" algn="l" defTabSz="89448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7pPr>
      <a:lvl8pPr marL="1370279" algn="l" defTabSz="89448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8pPr>
      <a:lvl9pPr marL="1827044" algn="l" defTabSz="89448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4488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400" baseline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1pPr>
      <a:lvl2pPr marL="193490" indent="-193490" algn="l" defTabSz="894488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15000"/>
        <a:buFont typeface="Simplon BP Regular" pitchFamily="2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2pPr>
      <a:lvl3pPr marL="456761" indent="-261685" algn="l" defTabSz="894488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charset="0"/>
        <a:buChar char="–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3pPr>
      <a:lvl4pPr marL="613773" indent="-155428" algn="l" defTabSz="894488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pitchFamily="34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4pPr>
      <a:lvl5pPr marL="749087" indent="-130052" algn="l" defTabSz="894488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89000"/>
        <a:buFont typeface="Arial" charset="0"/>
        <a:buChar char="-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5pPr>
      <a:lvl6pPr marL="749087" indent="-130052" algn="l" defTabSz="89448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9087" indent="-130052" algn="l" defTabSz="89448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9087" indent="-130052" algn="l" defTabSz="89448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9087" indent="-130052" algn="l" defTabSz="89448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35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761" algn="l" defTabSz="9135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3521" algn="l" defTabSz="9135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0279" algn="l" defTabSz="9135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7044" algn="l" defTabSz="9135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3802" algn="l" defTabSz="9135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0560" algn="l" defTabSz="9135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7326" algn="l" defTabSz="9135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4090" algn="l" defTabSz="9135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78" y="1854632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Click to edit Master text styles</a:t>
            </a:r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Second level</a:t>
            </a:r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Third level</a:t>
            </a:r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Fourth level</a:t>
            </a:r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Fifth 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1982" y="358900"/>
            <a:ext cx="10725159" cy="102481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lvl="0">
              <a:lnSpc>
                <a:spcPct val="100000"/>
              </a:lnSpc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47" name="TextBox 46"/>
          <p:cNvSpPr txBox="1"/>
          <p:nvPr userDrawn="1"/>
        </p:nvSpPr>
        <p:spPr>
          <a:xfrm>
            <a:off x="-281813" y="7363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715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Oi 42pt</a:t>
            </a:r>
          </a:p>
        </p:txBody>
      </p:sp>
      <p:sp>
        <p:nvSpPr>
          <p:cNvPr id="48" name="TextBox 47"/>
          <p:cNvSpPr txBox="1"/>
          <p:nvPr userDrawn="1"/>
        </p:nvSpPr>
        <p:spPr>
          <a:xfrm>
            <a:off x="-281813" y="1855154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715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49" name="TextBox 48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50" name="Freeform 5"/>
          <p:cNvSpPr>
            <a:spLocks/>
          </p:cNvSpPr>
          <p:nvPr userDrawn="1"/>
        </p:nvSpPr>
        <p:spPr bwMode="auto">
          <a:xfrm>
            <a:off x="11944818" y="3078502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20" tIns="47020" rIns="47020" bIns="47020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51" name="Freeform 50"/>
          <p:cNvSpPr>
            <a:spLocks/>
          </p:cNvSpPr>
          <p:nvPr userDrawn="1"/>
        </p:nvSpPr>
        <p:spPr bwMode="auto">
          <a:xfrm>
            <a:off x="11944818" y="2513906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20" tIns="47020" rIns="47020" bIns="47020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4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52" name="Freeform 5"/>
          <p:cNvSpPr>
            <a:spLocks/>
          </p:cNvSpPr>
          <p:nvPr userDrawn="1"/>
        </p:nvSpPr>
        <p:spPr bwMode="auto">
          <a:xfrm>
            <a:off x="11944818" y="1949310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20" tIns="47020" rIns="47020" bIns="47020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9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53" name="Freeform 5"/>
          <p:cNvSpPr>
            <a:spLocks/>
          </p:cNvSpPr>
          <p:nvPr userDrawn="1"/>
        </p:nvSpPr>
        <p:spPr bwMode="auto">
          <a:xfrm>
            <a:off x="11944818" y="1384714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20" tIns="47020" rIns="47020" bIns="47020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0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54" name="Freeform 53"/>
          <p:cNvSpPr>
            <a:spLocks/>
          </p:cNvSpPr>
          <p:nvPr userDrawn="1"/>
        </p:nvSpPr>
        <p:spPr bwMode="auto">
          <a:xfrm>
            <a:off x="11944818" y="820118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20" tIns="47020" rIns="47020" bIns="47020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140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55" name="Freeform 5"/>
          <p:cNvSpPr>
            <a:spLocks/>
          </p:cNvSpPr>
          <p:nvPr userDrawn="1"/>
        </p:nvSpPr>
        <p:spPr bwMode="auto">
          <a:xfrm>
            <a:off x="11944818" y="258729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20" tIns="47020" rIns="47020" bIns="47020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715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715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56" name="Freeform 5"/>
          <p:cNvSpPr>
            <a:spLocks/>
          </p:cNvSpPr>
          <p:nvPr userDrawn="1"/>
        </p:nvSpPr>
        <p:spPr bwMode="auto">
          <a:xfrm>
            <a:off x="11944818" y="3643098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20" tIns="47020" rIns="47020" bIns="47020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57" name="Freeform 5"/>
          <p:cNvSpPr>
            <a:spLocks/>
          </p:cNvSpPr>
          <p:nvPr userDrawn="1"/>
        </p:nvSpPr>
        <p:spPr bwMode="auto">
          <a:xfrm>
            <a:off x="11949114" y="4301731"/>
            <a:ext cx="424105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8" name="Freeform 5"/>
          <p:cNvSpPr>
            <a:spLocks/>
          </p:cNvSpPr>
          <p:nvPr userDrawn="1"/>
        </p:nvSpPr>
        <p:spPr bwMode="auto">
          <a:xfrm>
            <a:off x="11949112" y="4493138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9" name="Freeform 5"/>
          <p:cNvSpPr>
            <a:spLocks/>
          </p:cNvSpPr>
          <p:nvPr userDrawn="1"/>
        </p:nvSpPr>
        <p:spPr bwMode="auto">
          <a:xfrm>
            <a:off x="12102362" y="4493138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0" name="Freeform 5"/>
          <p:cNvSpPr>
            <a:spLocks/>
          </p:cNvSpPr>
          <p:nvPr userDrawn="1"/>
        </p:nvSpPr>
        <p:spPr bwMode="auto">
          <a:xfrm>
            <a:off x="12255608" y="4493135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1" name="Freeform 5"/>
          <p:cNvSpPr>
            <a:spLocks/>
          </p:cNvSpPr>
          <p:nvPr userDrawn="1"/>
        </p:nvSpPr>
        <p:spPr bwMode="auto">
          <a:xfrm>
            <a:off x="11949114" y="4775433"/>
            <a:ext cx="424105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2" name="Freeform 5"/>
          <p:cNvSpPr>
            <a:spLocks/>
          </p:cNvSpPr>
          <p:nvPr userDrawn="1"/>
        </p:nvSpPr>
        <p:spPr bwMode="auto">
          <a:xfrm>
            <a:off x="11949112" y="4982131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3" name="Freeform 5"/>
          <p:cNvSpPr>
            <a:spLocks/>
          </p:cNvSpPr>
          <p:nvPr userDrawn="1"/>
        </p:nvSpPr>
        <p:spPr bwMode="auto">
          <a:xfrm>
            <a:off x="12102362" y="4982128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4" name="Freeform 5"/>
          <p:cNvSpPr>
            <a:spLocks/>
          </p:cNvSpPr>
          <p:nvPr userDrawn="1"/>
        </p:nvSpPr>
        <p:spPr bwMode="auto">
          <a:xfrm>
            <a:off x="12255608" y="4982127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5" name="Freeform 5"/>
          <p:cNvSpPr>
            <a:spLocks/>
          </p:cNvSpPr>
          <p:nvPr userDrawn="1"/>
        </p:nvSpPr>
        <p:spPr bwMode="auto">
          <a:xfrm>
            <a:off x="11949114" y="5245930"/>
            <a:ext cx="424105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6" name="Freeform 5"/>
          <p:cNvSpPr>
            <a:spLocks/>
          </p:cNvSpPr>
          <p:nvPr userDrawn="1"/>
        </p:nvSpPr>
        <p:spPr bwMode="auto">
          <a:xfrm>
            <a:off x="11949112" y="5437334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7" name="Freeform 5"/>
          <p:cNvSpPr>
            <a:spLocks/>
          </p:cNvSpPr>
          <p:nvPr userDrawn="1"/>
        </p:nvSpPr>
        <p:spPr bwMode="auto">
          <a:xfrm>
            <a:off x="12102362" y="5437333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8" name="Freeform 5"/>
          <p:cNvSpPr>
            <a:spLocks/>
          </p:cNvSpPr>
          <p:nvPr userDrawn="1"/>
        </p:nvSpPr>
        <p:spPr bwMode="auto">
          <a:xfrm>
            <a:off x="12255608" y="5437333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9" name="TextBox 39"/>
          <p:cNvSpPr txBox="1"/>
          <p:nvPr userDrawn="1"/>
        </p:nvSpPr>
        <p:spPr>
          <a:xfrm>
            <a:off x="11949113" y="5619122"/>
            <a:ext cx="621766" cy="86593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7158" fontAlgn="auto">
              <a:spcBef>
                <a:spcPts val="1045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 de cores (usar apenas 2 cores dos esquemas abaixo)</a:t>
            </a:r>
          </a:p>
        </p:txBody>
      </p:sp>
      <p:sp>
        <p:nvSpPr>
          <p:cNvPr id="43" name="Freeform 5"/>
          <p:cNvSpPr>
            <a:spLocks/>
          </p:cNvSpPr>
          <p:nvPr userDrawn="1"/>
        </p:nvSpPr>
        <p:spPr bwMode="auto">
          <a:xfrm>
            <a:off x="12411753" y="25872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BD78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" name="Freeform 5"/>
          <p:cNvSpPr>
            <a:spLocks/>
          </p:cNvSpPr>
          <p:nvPr userDrawn="1"/>
        </p:nvSpPr>
        <p:spPr bwMode="auto">
          <a:xfrm>
            <a:off x="12411753" y="537757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7A23C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0" name="Freeform 5"/>
          <p:cNvSpPr>
            <a:spLocks/>
          </p:cNvSpPr>
          <p:nvPr userDrawn="1"/>
        </p:nvSpPr>
        <p:spPr bwMode="auto">
          <a:xfrm>
            <a:off x="12411753" y="86222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86DB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1" name="Freeform 5"/>
          <p:cNvSpPr>
            <a:spLocks/>
          </p:cNvSpPr>
          <p:nvPr userDrawn="1"/>
        </p:nvSpPr>
        <p:spPr bwMode="auto">
          <a:xfrm>
            <a:off x="12411753" y="113250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B51F7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2" name="Freeform 71"/>
          <p:cNvSpPr>
            <a:spLocks/>
          </p:cNvSpPr>
          <p:nvPr userDrawn="1"/>
        </p:nvSpPr>
        <p:spPr bwMode="auto">
          <a:xfrm>
            <a:off x="12411753" y="144158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95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3" name="Freeform 5"/>
          <p:cNvSpPr>
            <a:spLocks/>
          </p:cNvSpPr>
          <p:nvPr userDrawn="1"/>
        </p:nvSpPr>
        <p:spPr bwMode="auto">
          <a:xfrm>
            <a:off x="12411753" y="171186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CC52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4" name="Freeform 5"/>
          <p:cNvSpPr>
            <a:spLocks/>
          </p:cNvSpPr>
          <p:nvPr userDrawn="1"/>
        </p:nvSpPr>
        <p:spPr bwMode="auto">
          <a:xfrm>
            <a:off x="12411753" y="200887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C8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5" name="Freeform 5"/>
          <p:cNvSpPr>
            <a:spLocks/>
          </p:cNvSpPr>
          <p:nvPr userDrawn="1"/>
        </p:nvSpPr>
        <p:spPr bwMode="auto">
          <a:xfrm>
            <a:off x="12411753" y="227915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CCC6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6" name="Freeform 5"/>
          <p:cNvSpPr>
            <a:spLocks/>
          </p:cNvSpPr>
          <p:nvPr userDrawn="1"/>
        </p:nvSpPr>
        <p:spPr bwMode="auto">
          <a:xfrm>
            <a:off x="12411753" y="256409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69D17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7" name="Freeform 5"/>
          <p:cNvSpPr>
            <a:spLocks/>
          </p:cNvSpPr>
          <p:nvPr userDrawn="1"/>
        </p:nvSpPr>
        <p:spPr bwMode="auto">
          <a:xfrm>
            <a:off x="12411753" y="283437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9E0B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8" name="Freeform 5"/>
          <p:cNvSpPr>
            <a:spLocks/>
          </p:cNvSpPr>
          <p:nvPr userDrawn="1"/>
        </p:nvSpPr>
        <p:spPr bwMode="auto">
          <a:xfrm>
            <a:off x="12411753" y="3155524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E6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9" name="Freeform 5"/>
          <p:cNvSpPr>
            <a:spLocks/>
          </p:cNvSpPr>
          <p:nvPr userDrawn="1"/>
        </p:nvSpPr>
        <p:spPr bwMode="auto">
          <a:xfrm>
            <a:off x="12411753" y="342580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AFC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80" name="Freeform 5"/>
          <p:cNvSpPr>
            <a:spLocks/>
          </p:cNvSpPr>
          <p:nvPr userDrawn="1"/>
        </p:nvSpPr>
        <p:spPr bwMode="auto">
          <a:xfrm>
            <a:off x="12411753" y="3734884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DEDEDE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81" name="Freeform 5"/>
          <p:cNvSpPr>
            <a:spLocks/>
          </p:cNvSpPr>
          <p:nvPr userDrawn="1"/>
        </p:nvSpPr>
        <p:spPr bwMode="auto">
          <a:xfrm>
            <a:off x="12411753" y="400516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9C9C9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1704608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025" r:id="rId1"/>
    <p:sldLayoutId id="2147485026" r:id="rId2"/>
    <p:sldLayoutId id="2147485027" r:id="rId3"/>
  </p:sldLayoutIdLst>
  <p:hf hdr="0" dt="0"/>
  <p:txStyles>
    <p:titleStyle>
      <a:lvl1pPr algn="l" defTabSz="597158" rtl="0" eaLnBrk="1" latinLnBrk="0" hangingPunct="1">
        <a:lnSpc>
          <a:spcPts val="5487"/>
        </a:lnSpc>
        <a:spcBef>
          <a:spcPct val="0"/>
        </a:spcBef>
        <a:spcAft>
          <a:spcPts val="0"/>
        </a:spcAft>
        <a:buNone/>
        <a:defRPr lang="en-US" sz="5500" b="0" i="0" kern="1200" noProof="0" dirty="0">
          <a:solidFill>
            <a:srgbClr val="A037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40523" indent="-240523" algn="l" defTabSz="59715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6895" indent="-230154" algn="l" defTabSz="59715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6895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7051" indent="-230154" algn="l" defTabSz="59715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7051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7204" indent="-230154" algn="l" defTabSz="59715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7204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7360" indent="-230154" algn="l" defTabSz="59715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7360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84366" indent="-298578" algn="l" defTabSz="59715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81521" indent="-298578" algn="l" defTabSz="59715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78678" indent="-298578" algn="l" defTabSz="59715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75834" indent="-298578" algn="l" defTabSz="59715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715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7158" algn="l" defTabSz="59715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94313" algn="l" defTabSz="59715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91473" algn="l" defTabSz="59715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88628" algn="l" defTabSz="59715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85786" algn="l" defTabSz="59715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82943" algn="l" defTabSz="59715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80101" algn="l" defTabSz="59715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77257" algn="l" defTabSz="59715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12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1817356843"/>
              </p:ext>
            </p:extLst>
          </p:nvPr>
        </p:nvGraphicFramePr>
        <p:xfrm>
          <a:off x="1" y="2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27987" name="Slide do think-cell" r:id="rId13" imgW="0" imgH="0" progId="TCLayout.ActiveDocument.1">
                  <p:embed/>
                </p:oleObj>
              </mc:Choice>
              <mc:Fallback>
                <p:oleObj name="Slide do think-cell" r:id="rId13" imgW="0" imgH="0" progId="TCLayout.ActiveDocument.1">
                  <p:embed/>
                  <p:pic>
                    <p:nvPicPr>
                      <p:cNvPr id="0" name="AutoShape 24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2"/>
                        <a:ext cx="211676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10776432" y="36518"/>
            <a:ext cx="876339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88028"/>
            <a:endParaRPr lang="pt-BR" sz="8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10519874" y="1932900"/>
            <a:ext cx="267220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10682583" y="4106726"/>
            <a:ext cx="234679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936841" y="1951039"/>
            <a:ext cx="5736421" cy="11060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ext styles</a:t>
            </a:r>
          </a:p>
          <a:p>
            <a:pPr lvl="1"/>
            <a:r>
              <a:rPr lang="pt-BR" noProof="0" smtClean="0"/>
              <a:t>Second level</a:t>
            </a:r>
          </a:p>
          <a:p>
            <a:pPr lvl="2"/>
            <a:r>
              <a:rPr lang="pt-BR" noProof="0" smtClean="0"/>
              <a:t>Third level</a:t>
            </a:r>
          </a:p>
          <a:p>
            <a:pPr lvl="3"/>
            <a:r>
              <a:rPr lang="pt-BR" noProof="0" smtClean="0"/>
              <a:t>Fourth level</a:t>
            </a:r>
          </a:p>
          <a:p>
            <a:pPr lvl="4"/>
            <a:r>
              <a:rPr lang="pt-BR" noProof="0" smtClean="0"/>
              <a:t>Fifth level</a:t>
            </a:r>
            <a:endParaRPr lang="pt-BR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211676" y="230280"/>
            <a:ext cx="10530036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58852" y="26992"/>
            <a:ext cx="886083" cy="2212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pt-BR" sz="1400" smtClean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TRACKER</a:t>
            </a:r>
            <a:endParaRPr lang="pt-BR" sz="1400" dirty="0">
              <a:solidFill>
                <a:srgbClr val="80808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58875" y="621826"/>
            <a:ext cx="11491891" cy="281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pt-BR" sz="1800" smtClean="0">
                <a:solidFill>
                  <a:srgbClr val="D5E7FF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Unit of measure</a:t>
            </a:r>
            <a:endParaRPr lang="pt-BR" sz="1800" dirty="0" smtClean="0">
              <a:solidFill>
                <a:srgbClr val="D5E7FF">
                  <a:lumMod val="75000"/>
                </a:srgbClr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158761" y="6265675"/>
            <a:ext cx="11398753" cy="358776"/>
            <a:chOff x="75" y="3877"/>
            <a:chExt cx="5385" cy="226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877"/>
              <a:ext cx="5385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pt-BR" sz="100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1 Footnote</a:t>
              </a:r>
              <a:endParaRPr lang="pt-BR" sz="1000" dirty="0" smtClean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06"/>
              <a:ext cx="4323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t" anchorCtr="0">
              <a:spAutoFit/>
            </a:bodyPr>
            <a:lstStyle/>
            <a:p>
              <a:pPr marL="604644" indent="-604644" defTabSz="888028">
                <a:tabLst>
                  <a:tab pos="607774" algn="l"/>
                </a:tabLst>
              </a:pPr>
              <a:r>
                <a:rPr lang="pt-BR" sz="1000" dirty="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FONTE: </a:t>
              </a:r>
              <a:r>
                <a:rPr lang="pt-BR" sz="1000" dirty="0" err="1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ource</a:t>
              </a:r>
              <a:endParaRPr lang="pt-BR" sz="1000" dirty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936840" y="1123953"/>
            <a:ext cx="5685618" cy="511174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 hidden="1"/>
            <p:cNvSpPr>
              <a:spLocks noChangeArrowheads="1"/>
            </p:cNvSpPr>
            <p:nvPr/>
          </p:nvSpPr>
          <p:spPr bwMode="auto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pt-BR" b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itle</a:t>
              </a:r>
            </a:p>
            <a:p>
              <a:r>
                <a:rPr lang="pt-BR" smtClean="0">
                  <a:solidFill>
                    <a:srgbClr val="80808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Unit of measure</a:t>
              </a:r>
              <a:endParaRPr lang="pt-BR" dirty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28" name="Group 27"/>
          <p:cNvGrpSpPr/>
          <p:nvPr userDrawn="1"/>
        </p:nvGrpSpPr>
        <p:grpSpPr>
          <a:xfrm>
            <a:off x="11335740" y="60963"/>
            <a:ext cx="613376" cy="655256"/>
            <a:chOff x="5526523" y="2325890"/>
            <a:chExt cx="3423032" cy="3656747"/>
          </a:xfrm>
        </p:grpSpPr>
        <p:sp>
          <p:nvSpPr>
            <p:cNvPr id="29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30" name="Group 29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31" name="Donut 30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2" name="Oval 31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3" name="Oval 32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2332455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030" r:id="rId1"/>
    <p:sldLayoutId id="2147485031" r:id="rId2"/>
    <p:sldLayoutId id="2147485032" r:id="rId3"/>
    <p:sldLayoutId id="2147485033" r:id="rId4"/>
    <p:sldLayoutId id="2147485034" r:id="rId5"/>
    <p:sldLayoutId id="2147485035" r:id="rId6"/>
    <p:sldLayoutId id="2147485036" r:id="rId7"/>
    <p:sldLayoutId id="2147485037" r:id="rId8"/>
    <p:sldLayoutId id="2147485038" r:id="rId9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defTabSz="888028" rtl="0" eaLnBrk="1" fontAlgn="base" hangingPunct="1">
        <a:spcBef>
          <a:spcPct val="0"/>
        </a:spcBef>
        <a:spcAft>
          <a:spcPct val="0"/>
        </a:spcAft>
        <a:tabLst>
          <a:tab pos="267688" algn="l"/>
        </a:tabLst>
        <a:defRPr lang="en-US" sz="2000" b="1" baseline="0" noProof="0" dirty="0" smtClean="0">
          <a:solidFill>
            <a:schemeClr val="accent4"/>
          </a:solidFill>
          <a:latin typeface="Arial" panose="020B0604020202020204" pitchFamily="34" charset="0"/>
          <a:ea typeface="+mj-ea"/>
          <a:cs typeface="Arial" panose="020B0604020202020204" pitchFamily="34" charset="0"/>
          <a:sym typeface="Arial" panose="020B0604020202020204" pitchFamily="34" charset="0"/>
        </a:defRPr>
      </a:lvl1pPr>
      <a:lvl2pPr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2pPr>
      <a:lvl3pPr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3pPr>
      <a:lvl4pPr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4pPr>
      <a:lvl5pPr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5pPr>
      <a:lvl6pPr marL="453493"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6pPr>
      <a:lvl7pPr marL="906935"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7pPr>
      <a:lvl8pPr marL="1360390"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8pPr>
      <a:lvl9pPr marL="1813863"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88028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400" baseline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1pPr>
      <a:lvl2pPr marL="192114" indent="-192114" algn="l" defTabSz="888028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15000"/>
        <a:buFont typeface="Simplon BP Regular" pitchFamily="2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2pPr>
      <a:lvl3pPr marL="453493" indent="-259777" algn="l" defTabSz="888028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charset="0"/>
        <a:buChar char="–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3pPr>
      <a:lvl4pPr marL="609346" indent="-154337" algn="l" defTabSz="888028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pitchFamily="34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4pPr>
      <a:lvl5pPr marL="743666" indent="-129115" algn="l" defTabSz="888028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89000"/>
        <a:buFont typeface="Arial" charset="0"/>
        <a:buChar char="-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5pPr>
      <a:lvl6pPr marL="743666" indent="-129115" algn="l" defTabSz="88802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3666" indent="-129115" algn="l" defTabSz="88802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3666" indent="-129115" algn="l" defTabSz="88802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3666" indent="-129115" algn="l" defTabSz="88802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3493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06935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0390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13863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67322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20778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74250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27718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1978" y="358980"/>
            <a:ext cx="7338636" cy="102481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302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1855232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302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302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01" tIns="46701" rIns="46701" bIns="46701" numCol="1" anchor="t" anchorCtr="0" compatLnSpc="1">
            <a:prstTxWarp prst="textNoShape">
              <a:avLst/>
            </a:prstTxWarp>
          </a:bodyPr>
          <a:lstStyle/>
          <a:p>
            <a:pPr defTabSz="59302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02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302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16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01" tIns="46701" rIns="46701" bIns="46701" numCol="1" anchor="t" anchorCtr="0" compatLnSpc="1">
            <a:prstTxWarp prst="textNoShape">
              <a:avLst/>
            </a:prstTxWarp>
          </a:bodyPr>
          <a:lstStyle/>
          <a:p>
            <a:pPr defTabSz="59302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02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302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01" tIns="46701" rIns="46701" bIns="46701" numCol="1" anchor="t" anchorCtr="0" compatLnSpc="1">
            <a:prstTxWarp prst="textNoShape">
              <a:avLst/>
            </a:prstTxWarp>
          </a:bodyPr>
          <a:lstStyle/>
          <a:p>
            <a:pPr defTabSz="59302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02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302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9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01" tIns="46701" rIns="46701" bIns="46701" numCol="1" anchor="t" anchorCtr="0" compatLnSpc="1">
            <a:prstTxWarp prst="textNoShape">
              <a:avLst/>
            </a:prstTxWarp>
          </a:bodyPr>
          <a:lstStyle/>
          <a:p>
            <a:pPr defTabSz="59302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02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302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Freeform 28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01" tIns="46701" rIns="46701" bIns="46701" numCol="1" anchor="t" anchorCtr="0" compatLnSpc="1">
            <a:prstTxWarp prst="textNoShape">
              <a:avLst/>
            </a:prstTxWarp>
          </a:bodyPr>
          <a:lstStyle/>
          <a:p>
            <a:pPr defTabSz="59302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302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302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01" tIns="46701" rIns="46701" bIns="46701" numCol="1" anchor="t" anchorCtr="0" compatLnSpc="1">
            <a:prstTxWarp prst="textNoShape">
              <a:avLst/>
            </a:prstTxWarp>
          </a:bodyPr>
          <a:lstStyle/>
          <a:p>
            <a:pPr defTabSz="59302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302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302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01" tIns="46701" rIns="46701" bIns="46701" numCol="1" anchor="t" anchorCtr="0" compatLnSpc="1">
            <a:prstTxWarp prst="textNoShape">
              <a:avLst/>
            </a:prstTxWarp>
          </a:bodyPr>
          <a:lstStyle/>
          <a:p>
            <a:pPr defTabSz="59302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302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302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2" name="TextBox 39"/>
          <p:cNvSpPr txBox="1"/>
          <p:nvPr userDrawn="1"/>
        </p:nvSpPr>
        <p:spPr>
          <a:xfrm>
            <a:off x="9223673" y="6781936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3028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627" tIns="59315" rIns="118627" bIns="59315" numCol="1" anchor="t" anchorCtr="0" compatLnSpc="1">
            <a:prstTxWarp prst="textNoShape">
              <a:avLst/>
            </a:prstTxWarp>
          </a:bodyPr>
          <a:lstStyle/>
          <a:p>
            <a:pPr defTabSz="59302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27" tIns="59315" rIns="118627" bIns="59315" numCol="1" anchor="t" anchorCtr="0" compatLnSpc="1">
            <a:prstTxWarp prst="textNoShape">
              <a:avLst/>
            </a:prstTxWarp>
          </a:bodyPr>
          <a:lstStyle/>
          <a:p>
            <a:pPr defTabSz="59302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27" tIns="59315" rIns="118627" bIns="59315" numCol="1" anchor="t" anchorCtr="0" compatLnSpc="1">
            <a:prstTxWarp prst="textNoShape">
              <a:avLst/>
            </a:prstTxWarp>
          </a:bodyPr>
          <a:lstStyle/>
          <a:p>
            <a:pPr defTabSz="59302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27" tIns="59315" rIns="118627" bIns="59315" numCol="1" anchor="t" anchorCtr="0" compatLnSpc="1">
            <a:prstTxWarp prst="textNoShape">
              <a:avLst/>
            </a:prstTxWarp>
          </a:bodyPr>
          <a:lstStyle/>
          <a:p>
            <a:pPr defTabSz="59302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627" tIns="59315" rIns="118627" bIns="59315" numCol="1" anchor="t" anchorCtr="0" compatLnSpc="1">
            <a:prstTxWarp prst="textNoShape">
              <a:avLst/>
            </a:prstTxWarp>
          </a:bodyPr>
          <a:lstStyle/>
          <a:p>
            <a:pPr defTabSz="59302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27" tIns="59315" rIns="118627" bIns="59315" numCol="1" anchor="t" anchorCtr="0" compatLnSpc="1">
            <a:prstTxWarp prst="textNoShape">
              <a:avLst/>
            </a:prstTxWarp>
          </a:bodyPr>
          <a:lstStyle/>
          <a:p>
            <a:pPr defTabSz="59302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27" tIns="59315" rIns="118627" bIns="59315" numCol="1" anchor="t" anchorCtr="0" compatLnSpc="1">
            <a:prstTxWarp prst="textNoShape">
              <a:avLst/>
            </a:prstTxWarp>
          </a:bodyPr>
          <a:lstStyle/>
          <a:p>
            <a:pPr defTabSz="59302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27" tIns="59315" rIns="118627" bIns="59315" numCol="1" anchor="t" anchorCtr="0" compatLnSpc="1">
            <a:prstTxWarp prst="textNoShape">
              <a:avLst/>
            </a:prstTxWarp>
          </a:bodyPr>
          <a:lstStyle/>
          <a:p>
            <a:pPr defTabSz="59302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627" tIns="59315" rIns="118627" bIns="59315" numCol="1" anchor="t" anchorCtr="0" compatLnSpc="1">
            <a:prstTxWarp prst="textNoShape">
              <a:avLst/>
            </a:prstTxWarp>
          </a:bodyPr>
          <a:lstStyle/>
          <a:p>
            <a:pPr defTabSz="59302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27" tIns="59315" rIns="118627" bIns="59315" numCol="1" anchor="t" anchorCtr="0" compatLnSpc="1">
            <a:prstTxWarp prst="textNoShape">
              <a:avLst/>
            </a:prstTxWarp>
          </a:bodyPr>
          <a:lstStyle/>
          <a:p>
            <a:pPr defTabSz="59302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3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27" tIns="59315" rIns="118627" bIns="59315" numCol="1" anchor="t" anchorCtr="0" compatLnSpc="1">
            <a:prstTxWarp prst="textNoShape">
              <a:avLst/>
            </a:prstTxWarp>
          </a:bodyPr>
          <a:lstStyle/>
          <a:p>
            <a:pPr defTabSz="59302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27" tIns="59315" rIns="118627" bIns="59315" numCol="1" anchor="t" anchorCtr="0" compatLnSpc="1">
            <a:prstTxWarp prst="textNoShape">
              <a:avLst/>
            </a:prstTxWarp>
          </a:bodyPr>
          <a:lstStyle/>
          <a:p>
            <a:pPr defTabSz="59302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5957030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042" r:id="rId1"/>
    <p:sldLayoutId id="2147485043" r:id="rId2"/>
    <p:sldLayoutId id="2147485044" r:id="rId3"/>
    <p:sldLayoutId id="2147485045" r:id="rId4"/>
    <p:sldLayoutId id="2147485046" r:id="rId5"/>
    <p:sldLayoutId id="2147485047" r:id="rId6"/>
    <p:sldLayoutId id="2147485048" r:id="rId7"/>
    <p:sldLayoutId id="2147485049" r:id="rId8"/>
  </p:sldLayoutIdLst>
  <p:hf sldNum="0" hdr="0" ftr="0" dt="0"/>
  <p:txStyles>
    <p:titleStyle>
      <a:lvl1pPr algn="l" defTabSz="593028" rtl="0" eaLnBrk="1" latinLnBrk="0" hangingPunct="1">
        <a:lnSpc>
          <a:spcPts val="5486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A037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8867" indent="-238867" algn="l" defTabSz="59302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3613" indent="-228567" algn="l" defTabSz="59302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3613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2183" indent="-228567" algn="l" defTabSz="59302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2183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0757" indent="-228567" algn="l" defTabSz="59302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0757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59313" indent="-228567" algn="l" defTabSz="59302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59313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61771" indent="-296509" algn="l" defTabSz="59302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54816" indent="-296509" algn="l" defTabSz="59302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47862" indent="-296509" algn="l" defTabSz="59302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40914" indent="-296509" algn="l" defTabSz="59302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302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3028" algn="l" defTabSz="59302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6096" algn="l" defTabSz="59302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79152" algn="l" defTabSz="59302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2200" algn="l" defTabSz="59302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65249" algn="l" defTabSz="59302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58289" algn="l" defTabSz="59302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51341" algn="l" defTabSz="59302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44392" algn="l" defTabSz="59302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12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82" y="1854711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2059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3163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81813" y="1855230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3163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3163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12" tIns="46712" rIns="46712" bIns="46712" numCol="1" anchor="t" anchorCtr="0" compatLnSpc="1">
            <a:prstTxWarp prst="textNoShape">
              <a:avLst/>
            </a:prstTxWarp>
          </a:bodyPr>
          <a:lstStyle/>
          <a:p>
            <a:pPr defTabSz="5931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1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31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12" tIns="46712" rIns="46712" bIns="46712" numCol="1" anchor="t" anchorCtr="0" compatLnSpc="1">
            <a:prstTxWarp prst="textNoShape">
              <a:avLst/>
            </a:prstTxWarp>
          </a:bodyPr>
          <a:lstStyle/>
          <a:p>
            <a:pPr defTabSz="5931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1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31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12" tIns="46712" rIns="46712" bIns="46712" numCol="1" anchor="t" anchorCtr="0" compatLnSpc="1">
            <a:prstTxWarp prst="textNoShape">
              <a:avLst/>
            </a:prstTxWarp>
          </a:bodyPr>
          <a:lstStyle/>
          <a:p>
            <a:pPr defTabSz="5931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1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31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12" tIns="46712" rIns="46712" bIns="46712" numCol="1" anchor="t" anchorCtr="0" compatLnSpc="1">
            <a:prstTxWarp prst="textNoShape">
              <a:avLst/>
            </a:prstTxWarp>
          </a:bodyPr>
          <a:lstStyle/>
          <a:p>
            <a:pPr defTabSz="5931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1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31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12" tIns="46712" rIns="46712" bIns="46712" numCol="1" anchor="t" anchorCtr="0" compatLnSpc="1">
            <a:prstTxWarp prst="textNoShape">
              <a:avLst/>
            </a:prstTxWarp>
          </a:bodyPr>
          <a:lstStyle/>
          <a:p>
            <a:pPr defTabSz="5931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31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31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12" tIns="46712" rIns="46712" bIns="46712" numCol="1" anchor="t" anchorCtr="0" compatLnSpc="1">
            <a:prstTxWarp prst="textNoShape">
              <a:avLst/>
            </a:prstTxWarp>
          </a:bodyPr>
          <a:lstStyle/>
          <a:p>
            <a:pPr defTabSz="59316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316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316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12" tIns="46712" rIns="46712" bIns="46712" numCol="1" anchor="t" anchorCtr="0" compatLnSpc="1">
            <a:prstTxWarp prst="textNoShape">
              <a:avLst/>
            </a:prstTxWarp>
          </a:bodyPr>
          <a:lstStyle/>
          <a:p>
            <a:pPr defTabSz="5931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31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31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9223673" y="6781933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3163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655" tIns="59328" rIns="118655" bIns="59328" numCol="1" anchor="t" anchorCtr="0" compatLnSpc="1">
            <a:prstTxWarp prst="textNoShape">
              <a:avLst/>
            </a:prstTxWarp>
          </a:bodyPr>
          <a:lstStyle/>
          <a:p>
            <a:pPr defTabSz="5931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55" tIns="59328" rIns="118655" bIns="59328" numCol="1" anchor="t" anchorCtr="0" compatLnSpc="1">
            <a:prstTxWarp prst="textNoShape">
              <a:avLst/>
            </a:prstTxWarp>
          </a:bodyPr>
          <a:lstStyle/>
          <a:p>
            <a:pPr defTabSz="5931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55" tIns="59328" rIns="118655" bIns="59328" numCol="1" anchor="t" anchorCtr="0" compatLnSpc="1">
            <a:prstTxWarp prst="textNoShape">
              <a:avLst/>
            </a:prstTxWarp>
          </a:bodyPr>
          <a:lstStyle/>
          <a:p>
            <a:pPr defTabSz="5931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55" tIns="59328" rIns="118655" bIns="59328" numCol="1" anchor="t" anchorCtr="0" compatLnSpc="1">
            <a:prstTxWarp prst="textNoShape">
              <a:avLst/>
            </a:prstTxWarp>
          </a:bodyPr>
          <a:lstStyle/>
          <a:p>
            <a:pPr defTabSz="5931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655" tIns="59328" rIns="118655" bIns="59328" numCol="1" anchor="t" anchorCtr="0" compatLnSpc="1">
            <a:prstTxWarp prst="textNoShape">
              <a:avLst/>
            </a:prstTxWarp>
          </a:bodyPr>
          <a:lstStyle/>
          <a:p>
            <a:pPr defTabSz="5931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55" tIns="59328" rIns="118655" bIns="59328" numCol="1" anchor="t" anchorCtr="0" compatLnSpc="1">
            <a:prstTxWarp prst="textNoShape">
              <a:avLst/>
            </a:prstTxWarp>
          </a:bodyPr>
          <a:lstStyle/>
          <a:p>
            <a:pPr defTabSz="5931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55" tIns="59328" rIns="118655" bIns="59328" numCol="1" anchor="t" anchorCtr="0" compatLnSpc="1">
            <a:prstTxWarp prst="textNoShape">
              <a:avLst/>
            </a:prstTxWarp>
          </a:bodyPr>
          <a:lstStyle/>
          <a:p>
            <a:pPr defTabSz="5931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55" tIns="59328" rIns="118655" bIns="59328" numCol="1" anchor="t" anchorCtr="0" compatLnSpc="1">
            <a:prstTxWarp prst="textNoShape">
              <a:avLst/>
            </a:prstTxWarp>
          </a:bodyPr>
          <a:lstStyle/>
          <a:p>
            <a:pPr defTabSz="5931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655" tIns="59328" rIns="118655" bIns="59328" numCol="1" anchor="t" anchorCtr="0" compatLnSpc="1">
            <a:prstTxWarp prst="textNoShape">
              <a:avLst/>
            </a:prstTxWarp>
          </a:bodyPr>
          <a:lstStyle/>
          <a:p>
            <a:pPr defTabSz="5931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55" tIns="59328" rIns="118655" bIns="59328" numCol="1" anchor="t" anchorCtr="0" compatLnSpc="1">
            <a:prstTxWarp prst="textNoShape">
              <a:avLst/>
            </a:prstTxWarp>
          </a:bodyPr>
          <a:lstStyle/>
          <a:p>
            <a:pPr defTabSz="5931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55" tIns="59328" rIns="118655" bIns="59328" numCol="1" anchor="t" anchorCtr="0" compatLnSpc="1">
            <a:prstTxWarp prst="textNoShape">
              <a:avLst/>
            </a:prstTxWarp>
          </a:bodyPr>
          <a:lstStyle/>
          <a:p>
            <a:pPr defTabSz="5931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55" tIns="59328" rIns="118655" bIns="59328" numCol="1" anchor="t" anchorCtr="0" compatLnSpc="1">
            <a:prstTxWarp prst="textNoShape">
              <a:avLst/>
            </a:prstTxWarp>
          </a:bodyPr>
          <a:lstStyle/>
          <a:p>
            <a:pPr defTabSz="5931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5246348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051" r:id="rId1"/>
    <p:sldLayoutId id="2147485052" r:id="rId2"/>
    <p:sldLayoutId id="2147485053" r:id="rId3"/>
    <p:sldLayoutId id="2147485054" r:id="rId4"/>
  </p:sldLayoutIdLst>
  <p:hf sldNum="0" hdr="0" ftr="0" dt="0"/>
  <p:txStyles>
    <p:titleStyle>
      <a:lvl1pPr algn="l" defTabSz="593163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8921" indent="-238921" algn="l" defTabSz="59316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3721" indent="-228618" algn="l" defTabSz="59316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3721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2342" indent="-228618" algn="l" defTabSz="59316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2342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0968" indent="-228618" algn="l" defTabSz="59316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0968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59577" indent="-228618" algn="l" defTabSz="59316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59577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62508" indent="-296574" algn="l" defTabSz="59316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55688" indent="-296574" algn="l" defTabSz="59316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48868" indent="-296574" algn="l" defTabSz="59316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42055" indent="-296574" algn="l" defTabSz="59316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31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3163" algn="l" defTabSz="5931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6365" algn="l" defTabSz="5931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79554" algn="l" defTabSz="5931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2736" algn="l" defTabSz="5931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65920" algn="l" defTabSz="5931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59097" algn="l" defTabSz="5931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52280" algn="l" defTabSz="5931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45467" algn="l" defTabSz="5931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12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3305694388"/>
              </p:ext>
            </p:extLst>
          </p:nvPr>
        </p:nvGraphicFramePr>
        <p:xfrm>
          <a:off x="2077" y="2077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35154" name="Slide do think-cell" r:id="rId12" imgW="0" imgH="0" progId="TCLayout.ActiveDocument.1">
                  <p:embed/>
                </p:oleObj>
              </mc:Choice>
              <mc:Fallback>
                <p:oleObj name="Slide do think-cell" r:id="rId12" imgW="0" imgH="0" progId="TCLayout.ActiveDocument.1">
                  <p:embed/>
                  <p:pic>
                    <p:nvPicPr>
                      <p:cNvPr id="0" name="AutoShape 24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77" y="2077"/>
                        <a:ext cx="2074" cy="20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1978" y="358997"/>
            <a:ext cx="7338636" cy="102481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1855249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34" tIns="46634" rIns="46634" bIns="46634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16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34" tIns="46634" rIns="46634" bIns="46634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34" tIns="46634" rIns="46634" bIns="46634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9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34" tIns="46634" rIns="46634" bIns="46634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Freeform 28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34" tIns="46634" rIns="46634" bIns="46634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34" tIns="46634" rIns="46634" bIns="46634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34" tIns="46634" rIns="46634" bIns="46634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2" name="TextBox 39"/>
          <p:cNvSpPr txBox="1"/>
          <p:nvPr userDrawn="1"/>
        </p:nvSpPr>
        <p:spPr>
          <a:xfrm>
            <a:off x="9223673" y="6781953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2149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3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1071686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056" r:id="rId1"/>
    <p:sldLayoutId id="2147485057" r:id="rId2"/>
    <p:sldLayoutId id="2147485058" r:id="rId3"/>
    <p:sldLayoutId id="2147485059" r:id="rId4"/>
    <p:sldLayoutId id="2147485060" r:id="rId5"/>
    <p:sldLayoutId id="2147485061" r:id="rId6"/>
    <p:sldLayoutId id="2147485062" r:id="rId7"/>
    <p:sldLayoutId id="2147485063" r:id="rId8"/>
  </p:sldLayoutIdLst>
  <p:hf hdr="0" dt="0"/>
  <p:txStyles>
    <p:titleStyle>
      <a:lvl1pPr algn="l" defTabSz="592149" rtl="0" eaLnBrk="1" latinLnBrk="0" hangingPunct="1">
        <a:lnSpc>
          <a:spcPts val="5486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A037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8518" indent="-238518" algn="l" defTabSz="59214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2916" indent="-228231" algn="l" defTabSz="59214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2916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1150" indent="-228231" algn="l" defTabSz="59214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1150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29386" indent="-228231" algn="l" defTabSz="59214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29386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57600" indent="-228231" algn="l" defTabSz="59214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57600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56977" indent="-296068" algn="l" defTabSz="592149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49145" indent="-296068" algn="l" defTabSz="592149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41324" indent="-296068" algn="l" defTabSz="592149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33500" indent="-296068" algn="l" defTabSz="592149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2149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4352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76537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68711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60888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53058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45240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37417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12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2674063333"/>
              </p:ext>
            </p:extLst>
          </p:nvPr>
        </p:nvGraphicFramePr>
        <p:xfrm>
          <a:off x="1" y="2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38224" name="Slide do think-cell" r:id="rId12" imgW="0" imgH="0" progId="TCLayout.ActiveDocument.1">
                  <p:embed/>
                </p:oleObj>
              </mc:Choice>
              <mc:Fallback>
                <p:oleObj name="Slide do think-cell" r:id="rId12" imgW="0" imgH="0" progId="TCLayout.ActiveDocument.1">
                  <p:embed/>
                  <p:pic>
                    <p:nvPicPr>
                      <p:cNvPr id="0" name="AutoShape 24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2"/>
                        <a:ext cx="211676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10776432" y="36518"/>
            <a:ext cx="876339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88028"/>
            <a:endParaRPr lang="pt-BR" sz="8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10519874" y="1932900"/>
            <a:ext cx="267220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10682583" y="4106726"/>
            <a:ext cx="234679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936841" y="1951039"/>
            <a:ext cx="5736421" cy="11060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ext styles</a:t>
            </a:r>
          </a:p>
          <a:p>
            <a:pPr lvl="1"/>
            <a:r>
              <a:rPr lang="pt-BR" noProof="0" smtClean="0"/>
              <a:t>Second level</a:t>
            </a:r>
          </a:p>
          <a:p>
            <a:pPr lvl="2"/>
            <a:r>
              <a:rPr lang="pt-BR" noProof="0" smtClean="0"/>
              <a:t>Third level</a:t>
            </a:r>
          </a:p>
          <a:p>
            <a:pPr lvl="3"/>
            <a:r>
              <a:rPr lang="pt-BR" noProof="0" smtClean="0"/>
              <a:t>Fourth level</a:t>
            </a:r>
          </a:p>
          <a:p>
            <a:pPr lvl="4"/>
            <a:r>
              <a:rPr lang="pt-BR" noProof="0" smtClean="0"/>
              <a:t>Fifth level</a:t>
            </a:r>
            <a:endParaRPr lang="pt-BR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211676" y="230280"/>
            <a:ext cx="10530036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58852" y="26992"/>
            <a:ext cx="886083" cy="2212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pt-BR" sz="1400" smtClean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TRACKER</a:t>
            </a:r>
            <a:endParaRPr lang="pt-BR" sz="1400" dirty="0">
              <a:solidFill>
                <a:srgbClr val="80808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58875" y="621826"/>
            <a:ext cx="11491891" cy="281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pt-BR" sz="1800" smtClean="0">
                <a:solidFill>
                  <a:srgbClr val="D5E7FF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Unit of measure</a:t>
            </a:r>
            <a:endParaRPr lang="pt-BR" sz="1800" dirty="0" smtClean="0">
              <a:solidFill>
                <a:srgbClr val="D5E7FF">
                  <a:lumMod val="75000"/>
                </a:srgbClr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158761" y="6265675"/>
            <a:ext cx="11398753" cy="358776"/>
            <a:chOff x="75" y="3877"/>
            <a:chExt cx="5385" cy="226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877"/>
              <a:ext cx="5385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pt-BR" sz="100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1 Footnote</a:t>
              </a:r>
              <a:endParaRPr lang="pt-BR" sz="1000" dirty="0" smtClean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06"/>
              <a:ext cx="4323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t" anchorCtr="0">
              <a:spAutoFit/>
            </a:bodyPr>
            <a:lstStyle/>
            <a:p>
              <a:pPr marL="604644" indent="-604644" defTabSz="888028">
                <a:tabLst>
                  <a:tab pos="607774" algn="l"/>
                </a:tabLst>
              </a:pPr>
              <a:r>
                <a:rPr lang="pt-BR" sz="1000" dirty="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FONTE: </a:t>
              </a:r>
              <a:r>
                <a:rPr lang="pt-BR" sz="1000" dirty="0" err="1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ource</a:t>
              </a:r>
              <a:endParaRPr lang="pt-BR" sz="1000" dirty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936840" y="1123953"/>
            <a:ext cx="5685618" cy="511174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 hidden="1"/>
            <p:cNvSpPr>
              <a:spLocks noChangeArrowheads="1"/>
            </p:cNvSpPr>
            <p:nvPr/>
          </p:nvSpPr>
          <p:spPr bwMode="auto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pt-BR" b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itle</a:t>
              </a:r>
            </a:p>
            <a:p>
              <a:r>
                <a:rPr lang="pt-BR" smtClean="0">
                  <a:solidFill>
                    <a:srgbClr val="80808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Unit of measure</a:t>
              </a:r>
              <a:endParaRPr lang="pt-BR" dirty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28" name="Group 27"/>
          <p:cNvGrpSpPr/>
          <p:nvPr userDrawn="1"/>
        </p:nvGrpSpPr>
        <p:grpSpPr>
          <a:xfrm>
            <a:off x="11335740" y="60963"/>
            <a:ext cx="613376" cy="655256"/>
            <a:chOff x="5526523" y="2325890"/>
            <a:chExt cx="3423032" cy="3656747"/>
          </a:xfrm>
        </p:grpSpPr>
        <p:sp>
          <p:nvSpPr>
            <p:cNvPr id="29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30" name="Group 29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31" name="Donut 30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2" name="Oval 31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3" name="Oval 32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48190743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066" r:id="rId1"/>
    <p:sldLayoutId id="2147485067" r:id="rId2"/>
    <p:sldLayoutId id="2147485068" r:id="rId3"/>
    <p:sldLayoutId id="2147485069" r:id="rId4"/>
    <p:sldLayoutId id="2147485070" r:id="rId5"/>
    <p:sldLayoutId id="2147485071" r:id="rId6"/>
    <p:sldLayoutId id="2147485072" r:id="rId7"/>
    <p:sldLayoutId id="2147485073" r:id="rId8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888028" rtl="0" eaLnBrk="1" fontAlgn="base" hangingPunct="1">
        <a:spcBef>
          <a:spcPct val="0"/>
        </a:spcBef>
        <a:spcAft>
          <a:spcPct val="0"/>
        </a:spcAft>
        <a:tabLst>
          <a:tab pos="267688" algn="l"/>
        </a:tabLst>
        <a:defRPr lang="en-US" sz="2000" b="1" baseline="0" noProof="0" dirty="0" smtClean="0">
          <a:solidFill>
            <a:schemeClr val="accent4"/>
          </a:solidFill>
          <a:latin typeface="Arial" panose="020B0604020202020204" pitchFamily="34" charset="0"/>
          <a:ea typeface="+mj-ea"/>
          <a:cs typeface="Arial" panose="020B0604020202020204" pitchFamily="34" charset="0"/>
          <a:sym typeface="Arial" panose="020B0604020202020204" pitchFamily="34" charset="0"/>
        </a:defRPr>
      </a:lvl1pPr>
      <a:lvl2pPr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2pPr>
      <a:lvl3pPr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3pPr>
      <a:lvl4pPr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4pPr>
      <a:lvl5pPr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5pPr>
      <a:lvl6pPr marL="453493"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6pPr>
      <a:lvl7pPr marL="906935"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7pPr>
      <a:lvl8pPr marL="1360390"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8pPr>
      <a:lvl9pPr marL="1813863"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88028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400" baseline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1pPr>
      <a:lvl2pPr marL="192114" indent="-192114" algn="l" defTabSz="888028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15000"/>
        <a:buFont typeface="Simplon BP Regular" pitchFamily="2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2pPr>
      <a:lvl3pPr marL="453493" indent="-259777" algn="l" defTabSz="888028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charset="0"/>
        <a:buChar char="–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3pPr>
      <a:lvl4pPr marL="609346" indent="-154337" algn="l" defTabSz="888028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pitchFamily="34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4pPr>
      <a:lvl5pPr marL="743666" indent="-129115" algn="l" defTabSz="888028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89000"/>
        <a:buFont typeface="Arial" charset="0"/>
        <a:buChar char="-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5pPr>
      <a:lvl6pPr marL="743666" indent="-129115" algn="l" defTabSz="88802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3666" indent="-129115" algn="l" defTabSz="88802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3666" indent="-129115" algn="l" defTabSz="88802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3666" indent="-129115" algn="l" defTabSz="88802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3493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06935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0390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13863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67322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20778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74250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27718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1978" y="358997"/>
            <a:ext cx="7338636" cy="102481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1855249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34" tIns="46634" rIns="46634" bIns="46634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16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34" tIns="46634" rIns="46634" bIns="46634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34" tIns="46634" rIns="46634" bIns="46634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9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34" tIns="46634" rIns="46634" bIns="46634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Freeform 28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34" tIns="46634" rIns="46634" bIns="46634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34" tIns="46634" rIns="46634" bIns="46634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34" tIns="46634" rIns="46634" bIns="46634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2" name="TextBox 39"/>
          <p:cNvSpPr txBox="1"/>
          <p:nvPr userDrawn="1"/>
        </p:nvSpPr>
        <p:spPr>
          <a:xfrm>
            <a:off x="9223673" y="6781953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2149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3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7468869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6" r:id="rId1"/>
    <p:sldLayoutId id="2147483827" r:id="rId2"/>
    <p:sldLayoutId id="2147483828" r:id="rId3"/>
    <p:sldLayoutId id="2147483829" r:id="rId4"/>
    <p:sldLayoutId id="2147483830" r:id="rId5"/>
    <p:sldLayoutId id="2147483831" r:id="rId6"/>
    <p:sldLayoutId id="2147483832" r:id="rId7"/>
    <p:sldLayoutId id="2147483833" r:id="rId8"/>
  </p:sldLayoutIdLst>
  <p:hf sldNum="0" hdr="0" ftr="0" dt="0"/>
  <p:txStyles>
    <p:titleStyle>
      <a:lvl1pPr algn="l" defTabSz="592149" rtl="0" eaLnBrk="1" latinLnBrk="0" hangingPunct="1">
        <a:lnSpc>
          <a:spcPts val="5486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A037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8518" indent="-238518" algn="l" defTabSz="59214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2916" indent="-228231" algn="l" defTabSz="59214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2916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1150" indent="-228231" algn="l" defTabSz="59214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1150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29386" indent="-228231" algn="l" defTabSz="59214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29386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57600" indent="-228231" algn="l" defTabSz="59214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57600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56977" indent="-296068" algn="l" defTabSz="592149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49145" indent="-296068" algn="l" defTabSz="592149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41324" indent="-296068" algn="l" defTabSz="592149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33500" indent="-296068" algn="l" defTabSz="592149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2149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4352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76537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68711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60888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53058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45240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37417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13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1278661374"/>
              </p:ext>
            </p:extLst>
          </p:nvPr>
        </p:nvGraphicFramePr>
        <p:xfrm>
          <a:off x="2077" y="2077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43344" name="Slide do think-cell" r:id="rId12" imgW="0" imgH="0" progId="TCLayout.ActiveDocument.1">
                  <p:embed/>
                </p:oleObj>
              </mc:Choice>
              <mc:Fallback>
                <p:oleObj name="Slide do think-cell" r:id="rId12" imgW="0" imgH="0" progId="TCLayout.ActiveDocument.1">
                  <p:embed/>
                  <p:pic>
                    <p:nvPicPr>
                      <p:cNvPr id="0" name="AutoShape 24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77" y="2077"/>
                        <a:ext cx="2074" cy="20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1978" y="358989"/>
            <a:ext cx="7338636" cy="102481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1855241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65" tIns="46665" rIns="46665" bIns="46665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16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65" tIns="46665" rIns="46665" bIns="46665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65" tIns="46665" rIns="46665" bIns="46665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9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65" tIns="46665" rIns="46665" bIns="46665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Freeform 28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65" tIns="46665" rIns="46665" bIns="46665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65" tIns="46665" rIns="46665" bIns="46665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25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25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65" tIns="46665" rIns="46665" bIns="46665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2" name="TextBox 39"/>
          <p:cNvSpPr txBox="1"/>
          <p:nvPr userDrawn="1"/>
        </p:nvSpPr>
        <p:spPr>
          <a:xfrm>
            <a:off x="9223673" y="6781945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2554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535" tIns="59268" rIns="118535" bIns="59268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35" tIns="59268" rIns="118535" bIns="59268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35" tIns="59268" rIns="118535" bIns="59268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35" tIns="59268" rIns="118535" bIns="59268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535" tIns="59268" rIns="118535" bIns="59268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35" tIns="59268" rIns="118535" bIns="59268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35" tIns="59268" rIns="118535" bIns="59268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35" tIns="59268" rIns="118535" bIns="59268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535" tIns="59268" rIns="118535" bIns="59268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35" tIns="59268" rIns="118535" bIns="59268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3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35" tIns="59268" rIns="118535" bIns="59268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35" tIns="59268" rIns="118535" bIns="59268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3356559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076" r:id="rId1"/>
    <p:sldLayoutId id="2147485077" r:id="rId2"/>
    <p:sldLayoutId id="2147485078" r:id="rId3"/>
    <p:sldLayoutId id="2147485079" r:id="rId4"/>
    <p:sldLayoutId id="2147485080" r:id="rId5"/>
    <p:sldLayoutId id="2147485081" r:id="rId6"/>
    <p:sldLayoutId id="2147485082" r:id="rId7"/>
    <p:sldLayoutId id="2147485083" r:id="rId8"/>
  </p:sldLayoutIdLst>
  <p:hf sldNum="0" hdr="0" ftr="0" dt="0"/>
  <p:txStyles>
    <p:titleStyle>
      <a:lvl1pPr algn="l" defTabSz="592554" rtl="0" eaLnBrk="1" latinLnBrk="0" hangingPunct="1">
        <a:lnSpc>
          <a:spcPts val="5486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A037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8677" indent="-238677" algn="l" defTabSz="5925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3238" indent="-228385" algn="l" defTabSz="5925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3238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1625" indent="-228385" algn="l" defTabSz="5925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1625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0018" indent="-228385" algn="l" defTabSz="5925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0018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58392" indent="-228385" algn="l" defTabSz="5925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58392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59186" indent="-296272" algn="l" defTabSz="592554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51764" indent="-296272" algn="l" defTabSz="592554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44340" indent="-296272" algn="l" defTabSz="592554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36920" indent="-296272" algn="l" defTabSz="592554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25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2554" algn="l" defTabSz="5925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5157" algn="l" defTabSz="5925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77743" algn="l" defTabSz="5925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0321" algn="l" defTabSz="5925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62900" algn="l" defTabSz="5925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55473" algn="l" defTabSz="5925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48054" algn="l" defTabSz="5925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40637" algn="l" defTabSz="5925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13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1978" y="358941"/>
            <a:ext cx="7338636" cy="102481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1855194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58" tIns="46858" rIns="46858" bIns="46858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16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58" tIns="46858" rIns="46858" bIns="46858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58" tIns="46858" rIns="46858" bIns="46858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9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58" tIns="46858" rIns="46858" bIns="46858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Freeform 28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58" tIns="46858" rIns="46858" bIns="46858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58" tIns="46858" rIns="46858" bIns="46858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58" tIns="46858" rIns="46858" bIns="46858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2" name="TextBox 39"/>
          <p:cNvSpPr txBox="1"/>
          <p:nvPr userDrawn="1"/>
        </p:nvSpPr>
        <p:spPr>
          <a:xfrm>
            <a:off x="9223673" y="6781895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5054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022" tIns="59511" rIns="119022" bIns="59511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22" tIns="59511" rIns="119022" bIns="59511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22" tIns="59511" rIns="119022" bIns="59511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22" tIns="59511" rIns="119022" bIns="59511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022" tIns="59511" rIns="119022" bIns="59511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22" tIns="59511" rIns="119022" bIns="59511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22" tIns="59511" rIns="119022" bIns="59511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22" tIns="59511" rIns="119022" bIns="59511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022" tIns="59511" rIns="119022" bIns="59511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22" tIns="59511" rIns="119022" bIns="59511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3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22" tIns="59511" rIns="119022" bIns="59511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22" tIns="59511" rIns="119022" bIns="59511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1040123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086" r:id="rId1"/>
    <p:sldLayoutId id="2147485087" r:id="rId2"/>
    <p:sldLayoutId id="2147485088" r:id="rId3"/>
    <p:sldLayoutId id="2147485089" r:id="rId4"/>
    <p:sldLayoutId id="2147485090" r:id="rId5"/>
    <p:sldLayoutId id="2147485091" r:id="rId6"/>
    <p:sldLayoutId id="2147485092" r:id="rId7"/>
    <p:sldLayoutId id="2147485093" r:id="rId8"/>
  </p:sldLayoutIdLst>
  <p:hf sldNum="0" hdr="0" ftr="0" dt="0"/>
  <p:txStyles>
    <p:titleStyle>
      <a:lvl1pPr algn="l" defTabSz="595054" rtl="0" eaLnBrk="1" latinLnBrk="0" hangingPunct="1">
        <a:lnSpc>
          <a:spcPts val="5486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A037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679" indent="-239679" algn="l" defTabSz="5950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5222" indent="-229347" algn="l" defTabSz="5950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5222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4571" indent="-229347" algn="l" defTabSz="5950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4571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3925" indent="-229347" algn="l" defTabSz="5950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3925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3270" indent="-229347" algn="l" defTabSz="5950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3270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72868" indent="-297524" algn="l" defTabSz="595054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67925" indent="-297524" algn="l" defTabSz="595054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62986" indent="-297524" algn="l" defTabSz="595054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58051" indent="-297524" algn="l" defTabSz="595054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50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5054" algn="l" defTabSz="5950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90131" algn="l" defTabSz="5950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5197" algn="l" defTabSz="5950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80261" algn="l" defTabSz="5950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75334" algn="l" defTabSz="5950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70394" algn="l" defTabSz="5950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65458" algn="l" defTabSz="5950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60522" algn="l" defTabSz="5950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13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241473884"/>
              </p:ext>
            </p:extLst>
          </p:nvPr>
        </p:nvGraphicFramePr>
        <p:xfrm>
          <a:off x="2077" y="2077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46412" name="Slide do think-cell" r:id="rId12" imgW="0" imgH="0" progId="TCLayout.ActiveDocument.1">
                  <p:embed/>
                </p:oleObj>
              </mc:Choice>
              <mc:Fallback>
                <p:oleObj name="Slide do think-cell" r:id="rId12" imgW="0" imgH="0" progId="TCLayout.ActiveDocument.1">
                  <p:embed/>
                  <p:pic>
                    <p:nvPicPr>
                      <p:cNvPr id="0" name="AutoShape 23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77" y="2077"/>
                        <a:ext cx="2074" cy="20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1978" y="358997"/>
            <a:ext cx="7338636" cy="102481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1855249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34" tIns="46634" rIns="46634" bIns="46634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16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34" tIns="46634" rIns="46634" bIns="46634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34" tIns="46634" rIns="46634" bIns="46634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9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34" tIns="46634" rIns="46634" bIns="46634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Freeform 28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34" tIns="46634" rIns="46634" bIns="46634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34" tIns="46634" rIns="46634" bIns="46634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34" tIns="46634" rIns="46634" bIns="46634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2" name="TextBox 39"/>
          <p:cNvSpPr txBox="1"/>
          <p:nvPr userDrawn="1"/>
        </p:nvSpPr>
        <p:spPr>
          <a:xfrm>
            <a:off x="9223673" y="6781953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2149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3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1494082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096" r:id="rId1"/>
    <p:sldLayoutId id="2147485097" r:id="rId2"/>
    <p:sldLayoutId id="2147485098" r:id="rId3"/>
    <p:sldLayoutId id="2147485099" r:id="rId4"/>
    <p:sldLayoutId id="2147485100" r:id="rId5"/>
    <p:sldLayoutId id="2147485101" r:id="rId6"/>
    <p:sldLayoutId id="2147485102" r:id="rId7"/>
    <p:sldLayoutId id="2147485103" r:id="rId8"/>
  </p:sldLayoutIdLst>
  <p:hf hdr="0" dt="0"/>
  <p:txStyles>
    <p:titleStyle>
      <a:lvl1pPr algn="l" defTabSz="592149" rtl="0" eaLnBrk="1" latinLnBrk="0" hangingPunct="1">
        <a:lnSpc>
          <a:spcPts val="5486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A037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8518" indent="-238518" algn="l" defTabSz="59214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2916" indent="-228231" algn="l" defTabSz="59214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2916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1150" indent="-228231" algn="l" defTabSz="59214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1150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29386" indent="-228231" algn="l" defTabSz="59214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29386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57600" indent="-228231" algn="l" defTabSz="59214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57600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56977" indent="-296068" algn="l" defTabSz="592149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49145" indent="-296068" algn="l" defTabSz="592149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41324" indent="-296068" algn="l" defTabSz="592149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33500" indent="-296068" algn="l" defTabSz="592149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2149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4352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76537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68711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60888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53058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45240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37417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13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82" y="1854704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2054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3499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81813" y="1855223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3499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38" tIns="46738" rIns="46738" bIns="46738" numCol="1" anchor="t" anchorCtr="0" compatLnSpc="1">
            <a:prstTxWarp prst="textNoShape">
              <a:avLst/>
            </a:prstTxWarp>
          </a:bodyPr>
          <a:lstStyle/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38" tIns="46738" rIns="46738" bIns="46738" numCol="1" anchor="t" anchorCtr="0" compatLnSpc="1">
            <a:prstTxWarp prst="textNoShape">
              <a:avLst/>
            </a:prstTxWarp>
          </a:bodyPr>
          <a:lstStyle/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38" tIns="46738" rIns="46738" bIns="46738" numCol="1" anchor="t" anchorCtr="0" compatLnSpc="1">
            <a:prstTxWarp prst="textNoShape">
              <a:avLst/>
            </a:prstTxWarp>
          </a:bodyPr>
          <a:lstStyle/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38" tIns="46738" rIns="46738" bIns="46738" numCol="1" anchor="t" anchorCtr="0" compatLnSpc="1">
            <a:prstTxWarp prst="textNoShape">
              <a:avLst/>
            </a:prstTxWarp>
          </a:bodyPr>
          <a:lstStyle/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38" tIns="46738" rIns="46738" bIns="46738" numCol="1" anchor="t" anchorCtr="0" compatLnSpc="1">
            <a:prstTxWarp prst="textNoShape">
              <a:avLst/>
            </a:prstTxWarp>
          </a:bodyPr>
          <a:lstStyle/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38" tIns="46738" rIns="46738" bIns="46738" numCol="1" anchor="t" anchorCtr="0" compatLnSpc="1">
            <a:prstTxWarp prst="textNoShape">
              <a:avLst/>
            </a:prstTxWarp>
          </a:bodyPr>
          <a:lstStyle/>
          <a:p>
            <a:pPr defTabSz="59349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349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349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38" tIns="46738" rIns="46738" bIns="46738" numCol="1" anchor="t" anchorCtr="0" compatLnSpc="1">
            <a:prstTxWarp prst="textNoShape">
              <a:avLst/>
            </a:prstTxWarp>
          </a:bodyPr>
          <a:lstStyle/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9223673" y="6781925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3499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719" tIns="59361" rIns="118719" bIns="59361" numCol="1" anchor="t" anchorCtr="0" compatLnSpc="1">
            <a:prstTxWarp prst="textNoShape">
              <a:avLst/>
            </a:prstTxWarp>
          </a:bodyPr>
          <a:lstStyle/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19" tIns="59361" rIns="118719" bIns="59361" numCol="1" anchor="t" anchorCtr="0" compatLnSpc="1">
            <a:prstTxWarp prst="textNoShape">
              <a:avLst/>
            </a:prstTxWarp>
          </a:bodyPr>
          <a:lstStyle/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19" tIns="59361" rIns="118719" bIns="59361" numCol="1" anchor="t" anchorCtr="0" compatLnSpc="1">
            <a:prstTxWarp prst="textNoShape">
              <a:avLst/>
            </a:prstTxWarp>
          </a:bodyPr>
          <a:lstStyle/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19" tIns="59361" rIns="118719" bIns="59361" numCol="1" anchor="t" anchorCtr="0" compatLnSpc="1">
            <a:prstTxWarp prst="textNoShape">
              <a:avLst/>
            </a:prstTxWarp>
          </a:bodyPr>
          <a:lstStyle/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719" tIns="59361" rIns="118719" bIns="59361" numCol="1" anchor="t" anchorCtr="0" compatLnSpc="1">
            <a:prstTxWarp prst="textNoShape">
              <a:avLst/>
            </a:prstTxWarp>
          </a:bodyPr>
          <a:lstStyle/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19" tIns="59361" rIns="118719" bIns="59361" numCol="1" anchor="t" anchorCtr="0" compatLnSpc="1">
            <a:prstTxWarp prst="textNoShape">
              <a:avLst/>
            </a:prstTxWarp>
          </a:bodyPr>
          <a:lstStyle/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19" tIns="59361" rIns="118719" bIns="59361" numCol="1" anchor="t" anchorCtr="0" compatLnSpc="1">
            <a:prstTxWarp prst="textNoShape">
              <a:avLst/>
            </a:prstTxWarp>
          </a:bodyPr>
          <a:lstStyle/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19" tIns="59361" rIns="118719" bIns="59361" numCol="1" anchor="t" anchorCtr="0" compatLnSpc="1">
            <a:prstTxWarp prst="textNoShape">
              <a:avLst/>
            </a:prstTxWarp>
          </a:bodyPr>
          <a:lstStyle/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719" tIns="59361" rIns="118719" bIns="59361" numCol="1" anchor="t" anchorCtr="0" compatLnSpc="1">
            <a:prstTxWarp prst="textNoShape">
              <a:avLst/>
            </a:prstTxWarp>
          </a:bodyPr>
          <a:lstStyle/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19" tIns="59361" rIns="118719" bIns="59361" numCol="1" anchor="t" anchorCtr="0" compatLnSpc="1">
            <a:prstTxWarp prst="textNoShape">
              <a:avLst/>
            </a:prstTxWarp>
          </a:bodyPr>
          <a:lstStyle/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19" tIns="59361" rIns="118719" bIns="59361" numCol="1" anchor="t" anchorCtr="0" compatLnSpc="1">
            <a:prstTxWarp prst="textNoShape">
              <a:avLst/>
            </a:prstTxWarp>
          </a:bodyPr>
          <a:lstStyle/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19" tIns="59361" rIns="118719" bIns="59361" numCol="1" anchor="t" anchorCtr="0" compatLnSpc="1">
            <a:prstTxWarp prst="textNoShape">
              <a:avLst/>
            </a:prstTxWarp>
          </a:bodyPr>
          <a:lstStyle/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4798976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106" r:id="rId1"/>
    <p:sldLayoutId id="2147485107" r:id="rId2"/>
    <p:sldLayoutId id="2147485108" r:id="rId3"/>
    <p:sldLayoutId id="2147485109" r:id="rId4"/>
  </p:sldLayoutIdLst>
  <p:hf sldNum="0" hdr="0" ftr="0" dt="0"/>
  <p:txStyles>
    <p:titleStyle>
      <a:lvl1pPr algn="l" defTabSz="593499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059" indent="-239059" algn="l" defTabSz="59349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3988" indent="-228747" algn="l" defTabSz="59349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3988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2739" indent="-228747" algn="l" defTabSz="59349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2739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1495" indent="-228747" algn="l" defTabSz="59349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1495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0237" indent="-228747" algn="l" defTabSz="59349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0237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64357" indent="-296745" algn="l" defTabSz="593499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57871" indent="-296745" algn="l" defTabSz="593499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51385" indent="-296745" algn="l" defTabSz="593499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44909" indent="-296745" algn="l" defTabSz="593499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349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3499" algn="l" defTabSz="59349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7040" algn="l" defTabSz="59349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0560" algn="l" defTabSz="59349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4078" algn="l" defTabSz="59349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67599" algn="l" defTabSz="59349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61112" algn="l" defTabSz="59349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54630" algn="l" defTabSz="59349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48151" algn="l" defTabSz="59349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13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1978" y="358941"/>
            <a:ext cx="7338636" cy="102481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1855194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58" tIns="46858" rIns="46858" bIns="46858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16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58" tIns="46858" rIns="46858" bIns="46858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58" tIns="46858" rIns="46858" bIns="46858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9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58" tIns="46858" rIns="46858" bIns="46858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Freeform 28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58" tIns="46858" rIns="46858" bIns="46858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58" tIns="46858" rIns="46858" bIns="46858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58" tIns="46858" rIns="46858" bIns="46858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2" name="TextBox 39"/>
          <p:cNvSpPr txBox="1"/>
          <p:nvPr userDrawn="1"/>
        </p:nvSpPr>
        <p:spPr>
          <a:xfrm>
            <a:off x="9223673" y="6781895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5054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022" tIns="59511" rIns="119022" bIns="59511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22" tIns="59511" rIns="119022" bIns="59511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22" tIns="59511" rIns="119022" bIns="59511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22" tIns="59511" rIns="119022" bIns="59511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022" tIns="59511" rIns="119022" bIns="59511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22" tIns="59511" rIns="119022" bIns="59511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22" tIns="59511" rIns="119022" bIns="59511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22" tIns="59511" rIns="119022" bIns="59511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022" tIns="59511" rIns="119022" bIns="59511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22" tIns="59511" rIns="119022" bIns="59511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3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22" tIns="59511" rIns="119022" bIns="59511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22" tIns="59511" rIns="119022" bIns="59511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387230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111" r:id="rId1"/>
    <p:sldLayoutId id="2147485112" r:id="rId2"/>
    <p:sldLayoutId id="2147485113" r:id="rId3"/>
    <p:sldLayoutId id="2147485114" r:id="rId4"/>
    <p:sldLayoutId id="2147485115" r:id="rId5"/>
    <p:sldLayoutId id="2147485116" r:id="rId6"/>
    <p:sldLayoutId id="2147485117" r:id="rId7"/>
    <p:sldLayoutId id="2147485118" r:id="rId8"/>
  </p:sldLayoutIdLst>
  <p:hf sldNum="0" hdr="0" ftr="0" dt="0"/>
  <p:txStyles>
    <p:titleStyle>
      <a:lvl1pPr algn="l" defTabSz="595054" rtl="0" eaLnBrk="1" latinLnBrk="0" hangingPunct="1">
        <a:lnSpc>
          <a:spcPts val="5486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A037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679" indent="-239679" algn="l" defTabSz="5950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5222" indent="-229347" algn="l" defTabSz="5950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5222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4571" indent="-229347" algn="l" defTabSz="5950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4571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3925" indent="-229347" algn="l" defTabSz="5950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3925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3270" indent="-229347" algn="l" defTabSz="5950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3270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72868" indent="-297524" algn="l" defTabSz="595054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67925" indent="-297524" algn="l" defTabSz="595054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62986" indent="-297524" algn="l" defTabSz="595054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58051" indent="-297524" algn="l" defTabSz="595054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50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5054" algn="l" defTabSz="5950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90131" algn="l" defTabSz="5950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5197" algn="l" defTabSz="5950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80261" algn="l" defTabSz="5950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75334" algn="l" defTabSz="5950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70394" algn="l" defTabSz="5950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65458" algn="l" defTabSz="5950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60522" algn="l" defTabSz="5950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13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82" y="1854721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2072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81813" y="1855241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65" tIns="46665" rIns="46665" bIns="46665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65" tIns="46665" rIns="46665" bIns="46665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65" tIns="46665" rIns="46665" bIns="46665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65" tIns="46665" rIns="46665" bIns="46665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65" tIns="46665" rIns="46665" bIns="46665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65" tIns="46665" rIns="46665" bIns="46665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25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25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65" tIns="46665" rIns="46665" bIns="46665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9223673" y="6781945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2554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535" tIns="59268" rIns="118535" bIns="59268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35" tIns="59268" rIns="118535" bIns="59268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35" tIns="59268" rIns="118535" bIns="59268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35" tIns="59268" rIns="118535" bIns="59268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535" tIns="59268" rIns="118535" bIns="59268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35" tIns="59268" rIns="118535" bIns="59268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35" tIns="59268" rIns="118535" bIns="59268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35" tIns="59268" rIns="118535" bIns="59268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535" tIns="59268" rIns="118535" bIns="59268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35" tIns="59268" rIns="118535" bIns="59268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35" tIns="59268" rIns="118535" bIns="59268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35" tIns="59268" rIns="118535" bIns="59268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608244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121" r:id="rId1"/>
    <p:sldLayoutId id="2147485122" r:id="rId2"/>
    <p:sldLayoutId id="2147485123" r:id="rId3"/>
    <p:sldLayoutId id="2147485124" r:id="rId4"/>
  </p:sldLayoutIdLst>
  <p:hf hdr="0" dt="0"/>
  <p:txStyles>
    <p:titleStyle>
      <a:lvl1pPr algn="l" defTabSz="592554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8677" indent="-238677" algn="l" defTabSz="5925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3238" indent="-228385" algn="l" defTabSz="5925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3238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1625" indent="-228385" algn="l" defTabSz="5925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1625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0018" indent="-228385" algn="l" defTabSz="5925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0018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58392" indent="-228385" algn="l" defTabSz="5925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58392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59186" indent="-296272" algn="l" defTabSz="592554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51764" indent="-296272" algn="l" defTabSz="592554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44340" indent="-296272" algn="l" defTabSz="592554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36920" indent="-296272" algn="l" defTabSz="592554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25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2554" algn="l" defTabSz="5925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5157" algn="l" defTabSz="5925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77743" algn="l" defTabSz="5925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0321" algn="l" defTabSz="5925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62900" algn="l" defTabSz="5925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55473" algn="l" defTabSz="5925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48054" algn="l" defTabSz="5925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40637" algn="l" defTabSz="5925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13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82" y="1854717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2067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275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81813" y="1855239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275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275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81" tIns="46681" rIns="46681" bIns="46681" numCol="1" anchor="t" anchorCtr="0" compatLnSpc="1">
            <a:prstTxWarp prst="textNoShape">
              <a:avLst/>
            </a:prstTxWarp>
          </a:bodyPr>
          <a:lstStyle/>
          <a:p>
            <a:pPr defTabSz="59275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275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275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81" tIns="46681" rIns="46681" bIns="46681" numCol="1" anchor="t" anchorCtr="0" compatLnSpc="1">
            <a:prstTxWarp prst="textNoShape">
              <a:avLst/>
            </a:prstTxWarp>
          </a:bodyPr>
          <a:lstStyle/>
          <a:p>
            <a:pPr defTabSz="59275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275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275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81" tIns="46681" rIns="46681" bIns="46681" numCol="1" anchor="t" anchorCtr="0" compatLnSpc="1">
            <a:prstTxWarp prst="textNoShape">
              <a:avLst/>
            </a:prstTxWarp>
          </a:bodyPr>
          <a:lstStyle/>
          <a:p>
            <a:pPr defTabSz="59275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275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275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81" tIns="46681" rIns="46681" bIns="46681" numCol="1" anchor="t" anchorCtr="0" compatLnSpc="1">
            <a:prstTxWarp prst="textNoShape">
              <a:avLst/>
            </a:prstTxWarp>
          </a:bodyPr>
          <a:lstStyle/>
          <a:p>
            <a:pPr defTabSz="59275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275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275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81" tIns="46681" rIns="46681" bIns="46681" numCol="1" anchor="t" anchorCtr="0" compatLnSpc="1">
            <a:prstTxWarp prst="textNoShape">
              <a:avLst/>
            </a:prstTxWarp>
          </a:bodyPr>
          <a:lstStyle/>
          <a:p>
            <a:pPr defTabSz="59275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275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275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81" tIns="46681" rIns="46681" bIns="46681" numCol="1" anchor="t" anchorCtr="0" compatLnSpc="1">
            <a:prstTxWarp prst="textNoShape">
              <a:avLst/>
            </a:prstTxWarp>
          </a:bodyPr>
          <a:lstStyle/>
          <a:p>
            <a:pPr defTabSz="59275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275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275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81" tIns="46681" rIns="46681" bIns="46681" numCol="1" anchor="t" anchorCtr="0" compatLnSpc="1">
            <a:prstTxWarp prst="textNoShape">
              <a:avLst/>
            </a:prstTxWarp>
          </a:bodyPr>
          <a:lstStyle/>
          <a:p>
            <a:pPr defTabSz="59275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275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275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9223673" y="6781941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2758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574" tIns="59289" rIns="118574" bIns="59289" numCol="1" anchor="t" anchorCtr="0" compatLnSpc="1">
            <a:prstTxWarp prst="textNoShape">
              <a:avLst/>
            </a:prstTxWarp>
          </a:bodyPr>
          <a:lstStyle/>
          <a:p>
            <a:pPr defTabSz="59275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74" tIns="59289" rIns="118574" bIns="59289" numCol="1" anchor="t" anchorCtr="0" compatLnSpc="1">
            <a:prstTxWarp prst="textNoShape">
              <a:avLst/>
            </a:prstTxWarp>
          </a:bodyPr>
          <a:lstStyle/>
          <a:p>
            <a:pPr defTabSz="59275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74" tIns="59289" rIns="118574" bIns="59289" numCol="1" anchor="t" anchorCtr="0" compatLnSpc="1">
            <a:prstTxWarp prst="textNoShape">
              <a:avLst/>
            </a:prstTxWarp>
          </a:bodyPr>
          <a:lstStyle/>
          <a:p>
            <a:pPr defTabSz="59275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74" tIns="59289" rIns="118574" bIns="59289" numCol="1" anchor="t" anchorCtr="0" compatLnSpc="1">
            <a:prstTxWarp prst="textNoShape">
              <a:avLst/>
            </a:prstTxWarp>
          </a:bodyPr>
          <a:lstStyle/>
          <a:p>
            <a:pPr defTabSz="59275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574" tIns="59289" rIns="118574" bIns="59289" numCol="1" anchor="t" anchorCtr="0" compatLnSpc="1">
            <a:prstTxWarp prst="textNoShape">
              <a:avLst/>
            </a:prstTxWarp>
          </a:bodyPr>
          <a:lstStyle/>
          <a:p>
            <a:pPr defTabSz="59275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74" tIns="59289" rIns="118574" bIns="59289" numCol="1" anchor="t" anchorCtr="0" compatLnSpc="1">
            <a:prstTxWarp prst="textNoShape">
              <a:avLst/>
            </a:prstTxWarp>
          </a:bodyPr>
          <a:lstStyle/>
          <a:p>
            <a:pPr defTabSz="59275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74" tIns="59289" rIns="118574" bIns="59289" numCol="1" anchor="t" anchorCtr="0" compatLnSpc="1">
            <a:prstTxWarp prst="textNoShape">
              <a:avLst/>
            </a:prstTxWarp>
          </a:bodyPr>
          <a:lstStyle/>
          <a:p>
            <a:pPr defTabSz="59275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74" tIns="59289" rIns="118574" bIns="59289" numCol="1" anchor="t" anchorCtr="0" compatLnSpc="1">
            <a:prstTxWarp prst="textNoShape">
              <a:avLst/>
            </a:prstTxWarp>
          </a:bodyPr>
          <a:lstStyle/>
          <a:p>
            <a:pPr defTabSz="59275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574" tIns="59289" rIns="118574" bIns="59289" numCol="1" anchor="t" anchorCtr="0" compatLnSpc="1">
            <a:prstTxWarp prst="textNoShape">
              <a:avLst/>
            </a:prstTxWarp>
          </a:bodyPr>
          <a:lstStyle/>
          <a:p>
            <a:pPr defTabSz="59275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74" tIns="59289" rIns="118574" bIns="59289" numCol="1" anchor="t" anchorCtr="0" compatLnSpc="1">
            <a:prstTxWarp prst="textNoShape">
              <a:avLst/>
            </a:prstTxWarp>
          </a:bodyPr>
          <a:lstStyle/>
          <a:p>
            <a:pPr defTabSz="59275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74" tIns="59289" rIns="118574" bIns="59289" numCol="1" anchor="t" anchorCtr="0" compatLnSpc="1">
            <a:prstTxWarp prst="textNoShape">
              <a:avLst/>
            </a:prstTxWarp>
          </a:bodyPr>
          <a:lstStyle/>
          <a:p>
            <a:pPr defTabSz="59275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74" tIns="59289" rIns="118574" bIns="59289" numCol="1" anchor="t" anchorCtr="0" compatLnSpc="1">
            <a:prstTxWarp prst="textNoShape">
              <a:avLst/>
            </a:prstTxWarp>
          </a:bodyPr>
          <a:lstStyle/>
          <a:p>
            <a:pPr defTabSz="59275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2912953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126" r:id="rId1"/>
    <p:sldLayoutId id="2147485127" r:id="rId2"/>
    <p:sldLayoutId id="2147485128" r:id="rId3"/>
    <p:sldLayoutId id="2147485129" r:id="rId4"/>
  </p:sldLayoutIdLst>
  <p:hf hdr="0" dt="0"/>
  <p:txStyles>
    <p:titleStyle>
      <a:lvl1pPr algn="l" defTabSz="592758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8762" indent="-238762" algn="l" defTabSz="59275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3398" indent="-228465" algn="l" defTabSz="59275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3398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1863" indent="-228465" algn="l" defTabSz="59275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1863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0333" indent="-228465" algn="l" defTabSz="59275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0333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58785" indent="-228465" algn="l" defTabSz="59275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58785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60294" indent="-296374" algn="l" defTabSz="59275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53069" indent="-296374" algn="l" defTabSz="59275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45852" indent="-296374" algn="l" defTabSz="59275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38631" indent="-296374" algn="l" defTabSz="59275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275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2758" algn="l" defTabSz="59275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5560" algn="l" defTabSz="59275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78348" algn="l" defTabSz="59275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1126" algn="l" defTabSz="59275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63907" algn="l" defTabSz="59275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56679" algn="l" defTabSz="59275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49462" algn="l" defTabSz="59275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42247" algn="l" defTabSz="59275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13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2954280829"/>
              </p:ext>
            </p:extLst>
          </p:nvPr>
        </p:nvGraphicFramePr>
        <p:xfrm>
          <a:off x="1" y="2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49474" name="Slide do think-cell" r:id="rId14" imgW="0" imgH="0" progId="TCLayout.ActiveDocument.1">
                  <p:embed/>
                </p:oleObj>
              </mc:Choice>
              <mc:Fallback>
                <p:oleObj name="Slide do think-cell" r:id="rId14" imgW="0" imgH="0" progId="TCLayout.ActiveDocument.1">
                  <p:embed/>
                  <p:pic>
                    <p:nvPicPr>
                      <p:cNvPr id="0" name="AutoShape 22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2"/>
                        <a:ext cx="211676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10776432" y="36518"/>
            <a:ext cx="876339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87726"/>
            <a:endParaRPr lang="pt-BR" sz="8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10519874" y="1932900"/>
            <a:ext cx="267220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10682583" y="4106726"/>
            <a:ext cx="234679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936841" y="1951039"/>
            <a:ext cx="5736421" cy="11060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ext styles</a:t>
            </a:r>
          </a:p>
          <a:p>
            <a:pPr lvl="1"/>
            <a:r>
              <a:rPr lang="pt-BR" noProof="0" smtClean="0"/>
              <a:t>Second level</a:t>
            </a:r>
          </a:p>
          <a:p>
            <a:pPr lvl="2"/>
            <a:r>
              <a:rPr lang="pt-BR" noProof="0" smtClean="0"/>
              <a:t>Third level</a:t>
            </a:r>
          </a:p>
          <a:p>
            <a:pPr lvl="3"/>
            <a:r>
              <a:rPr lang="pt-BR" noProof="0" smtClean="0"/>
              <a:t>Fourth level</a:t>
            </a:r>
          </a:p>
          <a:p>
            <a:pPr lvl="4"/>
            <a:r>
              <a:rPr lang="pt-BR" noProof="0" smtClean="0"/>
              <a:t>Fifth level</a:t>
            </a:r>
            <a:endParaRPr lang="pt-BR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211676" y="230284"/>
            <a:ext cx="10530036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58857" y="26992"/>
            <a:ext cx="886083" cy="2212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pt-BR" sz="1400" smtClean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TRACKER</a:t>
            </a:r>
            <a:endParaRPr lang="pt-BR" sz="1400" dirty="0">
              <a:solidFill>
                <a:srgbClr val="80808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58879" y="621826"/>
            <a:ext cx="11491891" cy="281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pt-BR" sz="1800" smtClean="0">
                <a:solidFill>
                  <a:srgbClr val="D5E7FF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Unit of measure</a:t>
            </a:r>
            <a:endParaRPr lang="pt-BR" sz="1800" dirty="0" smtClean="0">
              <a:solidFill>
                <a:srgbClr val="D5E7FF">
                  <a:lumMod val="75000"/>
                </a:srgbClr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158761" y="6265638"/>
            <a:ext cx="11398753" cy="358776"/>
            <a:chOff x="75" y="3877"/>
            <a:chExt cx="5385" cy="226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877"/>
              <a:ext cx="5385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pt-BR" sz="100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1 Footnote</a:t>
              </a:r>
              <a:endParaRPr lang="pt-BR" sz="1000" dirty="0" smtClean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06"/>
              <a:ext cx="4323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t" anchorCtr="0">
              <a:spAutoFit/>
            </a:bodyPr>
            <a:lstStyle/>
            <a:p>
              <a:pPr marL="604440" indent="-604440" defTabSz="887726">
                <a:tabLst>
                  <a:tab pos="607566" algn="l"/>
                </a:tabLst>
              </a:pPr>
              <a:r>
                <a:rPr lang="pt-BR" sz="1000" dirty="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FONTE: </a:t>
              </a:r>
              <a:r>
                <a:rPr lang="pt-BR" sz="1000" dirty="0" err="1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ource</a:t>
              </a:r>
              <a:endParaRPr lang="pt-BR" sz="1000" dirty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936840" y="1123953"/>
            <a:ext cx="5685618" cy="511174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 hidden="1"/>
            <p:cNvSpPr>
              <a:spLocks noChangeArrowheads="1"/>
            </p:cNvSpPr>
            <p:nvPr/>
          </p:nvSpPr>
          <p:spPr bwMode="auto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pt-BR" b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itle</a:t>
              </a:r>
            </a:p>
            <a:p>
              <a:r>
                <a:rPr lang="pt-BR" smtClean="0">
                  <a:solidFill>
                    <a:srgbClr val="80808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Unit of measure</a:t>
              </a:r>
              <a:endParaRPr lang="pt-BR" dirty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28" name="Group 27"/>
          <p:cNvGrpSpPr/>
          <p:nvPr userDrawn="1"/>
        </p:nvGrpSpPr>
        <p:grpSpPr>
          <a:xfrm>
            <a:off x="11335740" y="60963"/>
            <a:ext cx="613376" cy="655256"/>
            <a:chOff x="5526523" y="2325890"/>
            <a:chExt cx="3423032" cy="3656747"/>
          </a:xfrm>
        </p:grpSpPr>
        <p:sp>
          <p:nvSpPr>
            <p:cNvPr id="29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30" name="Group 29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31" name="Donut 30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2" name="Oval 31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3" name="Oval 32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4522268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131" r:id="rId1"/>
    <p:sldLayoutId id="2147485132" r:id="rId2"/>
    <p:sldLayoutId id="2147485133" r:id="rId3"/>
    <p:sldLayoutId id="2147485134" r:id="rId4"/>
    <p:sldLayoutId id="2147485135" r:id="rId5"/>
    <p:sldLayoutId id="2147485136" r:id="rId6"/>
    <p:sldLayoutId id="2147485137" r:id="rId7"/>
    <p:sldLayoutId id="2147485138" r:id="rId8"/>
    <p:sldLayoutId id="2147485139" r:id="rId9"/>
    <p:sldLayoutId id="2147485140" r:id="rId10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defTabSz="887726" rtl="0" eaLnBrk="1" fontAlgn="base" hangingPunct="1">
        <a:spcBef>
          <a:spcPct val="0"/>
        </a:spcBef>
        <a:spcAft>
          <a:spcPct val="0"/>
        </a:spcAft>
        <a:tabLst>
          <a:tab pos="267599" algn="l"/>
        </a:tabLst>
        <a:defRPr lang="en-US" sz="2000" b="1" baseline="0" noProof="0" dirty="0" smtClean="0">
          <a:solidFill>
            <a:schemeClr val="accent4"/>
          </a:solidFill>
          <a:latin typeface="Arial" panose="020B0604020202020204" pitchFamily="34" charset="0"/>
          <a:ea typeface="+mj-ea"/>
          <a:cs typeface="Arial" panose="020B0604020202020204" pitchFamily="34" charset="0"/>
          <a:sym typeface="Arial" panose="020B0604020202020204" pitchFamily="34" charset="0"/>
        </a:defRPr>
      </a:lvl1pPr>
      <a:lvl2pPr algn="l" defTabSz="887726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2pPr>
      <a:lvl3pPr algn="l" defTabSz="887726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3pPr>
      <a:lvl4pPr algn="l" defTabSz="887726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4pPr>
      <a:lvl5pPr algn="l" defTabSz="887726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5pPr>
      <a:lvl6pPr marL="453340" algn="l" defTabSz="887726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6pPr>
      <a:lvl7pPr marL="906629" algn="l" defTabSz="887726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7pPr>
      <a:lvl8pPr marL="1359927" algn="l" defTabSz="887726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8pPr>
      <a:lvl9pPr marL="1813245" algn="l" defTabSz="887726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87726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400" baseline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1pPr>
      <a:lvl2pPr marL="192050" indent="-192050" algn="l" defTabSz="887726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15000"/>
        <a:buFont typeface="Simplon BP Regular" pitchFamily="2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2pPr>
      <a:lvl3pPr marL="453340" indent="-259687" algn="l" defTabSz="887726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charset="0"/>
        <a:buChar char="–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3pPr>
      <a:lvl4pPr marL="609138" indent="-154286" algn="l" defTabSz="887726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pitchFamily="34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4pPr>
      <a:lvl5pPr marL="743414" indent="-129072" algn="l" defTabSz="887726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89000"/>
        <a:buFont typeface="Arial" charset="0"/>
        <a:buChar char="-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5pPr>
      <a:lvl6pPr marL="743414" indent="-129072" algn="l" defTabSz="8877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3414" indent="-129072" algn="l" defTabSz="8877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3414" indent="-129072" algn="l" defTabSz="8877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3414" indent="-129072" algn="l" defTabSz="8877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066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3340" algn="l" defTabSz="9066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06629" algn="l" defTabSz="9066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59927" algn="l" defTabSz="9066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13245" algn="l" defTabSz="9066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66555" algn="l" defTabSz="9066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19859" algn="l" defTabSz="9066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73172" algn="l" defTabSz="9066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26486" algn="l" defTabSz="9066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3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1726886931"/>
              </p:ext>
            </p:extLst>
          </p:nvPr>
        </p:nvGraphicFramePr>
        <p:xfrm>
          <a:off x="1591" y="1591"/>
          <a:ext cx="158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4592" name="Slide do think-cell" r:id="rId8" imgW="0" imgH="0" progId="TCLayout.ActiveDocument.1">
                  <p:embed/>
                </p:oleObj>
              </mc:Choice>
              <mc:Fallback>
                <p:oleObj name="Slide do think-cell" r:id="rId8" imgW="0" imgH="0" progId="TCLayout.ActiveDocument.1">
                  <p:embed/>
                  <p:pic>
                    <p:nvPicPr>
                      <p:cNvPr id="0" name="AutoShape 22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1" y="1591"/>
                        <a:ext cx="158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82" y="1854676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2025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81813" y="1855197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48" tIns="46848" rIns="46848" bIns="46848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48" tIns="46848" rIns="46848" bIns="46848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48" tIns="46848" rIns="46848" bIns="46848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48" tIns="46848" rIns="46848" bIns="46848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48" tIns="46848" rIns="46848" bIns="46848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48" tIns="46848" rIns="46848" bIns="46848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48" tIns="46848" rIns="46848" bIns="46848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9223673" y="6781899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4918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999" tIns="59497" rIns="118999" bIns="59497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99" tIns="59497" rIns="118999" bIns="59497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99" tIns="59497" rIns="118999" bIns="59497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99" tIns="59497" rIns="118999" bIns="59497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999" tIns="59497" rIns="118999" bIns="59497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99" tIns="59497" rIns="118999" bIns="59497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99" tIns="59497" rIns="118999" bIns="59497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99" tIns="59497" rIns="118999" bIns="59497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999" tIns="59497" rIns="118999" bIns="59497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99" tIns="59497" rIns="118999" bIns="59497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99" tIns="59497" rIns="118999" bIns="59497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99" tIns="59497" rIns="118999" bIns="59497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18885930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143" r:id="rId1"/>
    <p:sldLayoutId id="2147485144" r:id="rId2"/>
    <p:sldLayoutId id="2147485145" r:id="rId3"/>
    <p:sldLayoutId id="2147485146" r:id="rId4"/>
  </p:sldLayoutIdLst>
  <p:hf sldNum="0" hdr="0" ftr="0" dt="0"/>
  <p:txStyles>
    <p:titleStyle>
      <a:lvl1pPr algn="l" defTabSz="594918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625" indent="-239625" algn="l" defTabSz="59491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5115" indent="-229293" algn="l" defTabSz="59491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5115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4412" indent="-229293" algn="l" defTabSz="59491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4412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3714" indent="-229293" algn="l" defTabSz="59491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3714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3006" indent="-229293" algn="l" defTabSz="59491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3006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72127" indent="-297456" algn="l" defTabSz="59491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67049" indent="-297456" algn="l" defTabSz="59491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61975" indent="-297456" algn="l" defTabSz="59491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56908" indent="-297456" algn="l" defTabSz="59491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49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4918" algn="l" defTabSz="5949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9863" algn="l" defTabSz="5949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4793" algn="l" defTabSz="5949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9723" algn="l" defTabSz="5949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74661" algn="l" defTabSz="5949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69588" algn="l" defTabSz="5949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64514" algn="l" defTabSz="5949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59444" algn="l" defTabSz="5949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13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3712232222"/>
              </p:ext>
            </p:extLst>
          </p:nvPr>
        </p:nvGraphicFramePr>
        <p:xfrm>
          <a:off x="1591" y="1591"/>
          <a:ext cx="158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6640" name="Slide do think-cell" r:id="rId8" imgW="0" imgH="0" progId="TCLayout.ActiveDocument.1">
                  <p:embed/>
                </p:oleObj>
              </mc:Choice>
              <mc:Fallback>
                <p:oleObj name="Slide do think-cell" r:id="rId8" imgW="0" imgH="0" progId="TCLayout.ActiveDocument.1">
                  <p:embed/>
                  <p:pic>
                    <p:nvPicPr>
                      <p:cNvPr id="0" name="AutoShape 22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1" y="1591"/>
                        <a:ext cx="158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82" y="1854676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2025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81813" y="1855197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48" tIns="46848" rIns="46848" bIns="46848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48" tIns="46848" rIns="46848" bIns="46848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48" tIns="46848" rIns="46848" bIns="46848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48" tIns="46848" rIns="46848" bIns="46848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48" tIns="46848" rIns="46848" bIns="46848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48" tIns="46848" rIns="46848" bIns="46848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48" tIns="46848" rIns="46848" bIns="46848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9223673" y="6781899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4918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999" tIns="59497" rIns="118999" bIns="59497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99" tIns="59497" rIns="118999" bIns="59497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99" tIns="59497" rIns="118999" bIns="59497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99" tIns="59497" rIns="118999" bIns="59497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999" tIns="59497" rIns="118999" bIns="59497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99" tIns="59497" rIns="118999" bIns="59497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99" tIns="59497" rIns="118999" bIns="59497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99" tIns="59497" rIns="118999" bIns="59497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999" tIns="59497" rIns="118999" bIns="59497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99" tIns="59497" rIns="118999" bIns="59497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99" tIns="59497" rIns="118999" bIns="59497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99" tIns="59497" rIns="118999" bIns="59497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05499407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149" r:id="rId1"/>
    <p:sldLayoutId id="2147485150" r:id="rId2"/>
    <p:sldLayoutId id="2147485151" r:id="rId3"/>
    <p:sldLayoutId id="2147485152" r:id="rId4"/>
  </p:sldLayoutIdLst>
  <p:hf sldNum="0" hdr="0" ftr="0" dt="0"/>
  <p:txStyles>
    <p:titleStyle>
      <a:lvl1pPr algn="l" defTabSz="594918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625" indent="-239625" algn="l" defTabSz="59491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5115" indent="-229293" algn="l" defTabSz="59491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5115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4412" indent="-229293" algn="l" defTabSz="59491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4412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3714" indent="-229293" algn="l" defTabSz="59491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3714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3006" indent="-229293" algn="l" defTabSz="59491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3006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72127" indent="-297456" algn="l" defTabSz="59491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67049" indent="-297456" algn="l" defTabSz="59491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61975" indent="-297456" algn="l" defTabSz="59491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56908" indent="-297456" algn="l" defTabSz="59491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49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4918" algn="l" defTabSz="5949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9863" algn="l" defTabSz="5949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4793" algn="l" defTabSz="5949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9723" algn="l" defTabSz="5949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74661" algn="l" defTabSz="5949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69588" algn="l" defTabSz="5949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64514" algn="l" defTabSz="5949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59444" algn="l" defTabSz="5949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82" y="1854729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2080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81813" y="1855249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34" tIns="46634" rIns="46634" bIns="46634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34" tIns="46634" rIns="46634" bIns="46634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34" tIns="46634" rIns="46634" bIns="46634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34" tIns="46634" rIns="46634" bIns="46634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34" tIns="46634" rIns="46634" bIns="46634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34" tIns="46634" rIns="46634" bIns="46634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34" tIns="46634" rIns="46634" bIns="46634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9223673" y="6781953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2149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99939507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5" r:id="rId1"/>
    <p:sldLayoutId id="2147483836" r:id="rId2"/>
    <p:sldLayoutId id="2147483837" r:id="rId3"/>
    <p:sldLayoutId id="2147483838" r:id="rId4"/>
  </p:sldLayoutIdLst>
  <p:hf sldNum="0" hdr="0" ftr="0" dt="0"/>
  <p:txStyles>
    <p:titleStyle>
      <a:lvl1pPr algn="l" defTabSz="592149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8518" indent="-238518" algn="l" defTabSz="59214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2916" indent="-228231" algn="l" defTabSz="59214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2916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1150" indent="-228231" algn="l" defTabSz="59214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1150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29386" indent="-228231" algn="l" defTabSz="59214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29386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57600" indent="-228231" algn="l" defTabSz="59214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57600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56977" indent="-296068" algn="l" defTabSz="592149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49145" indent="-296068" algn="l" defTabSz="592149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41324" indent="-296068" algn="l" defTabSz="592149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33500" indent="-296068" algn="l" defTabSz="592149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2149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4352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76537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68711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60888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53058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45240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37417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14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1545127915"/>
              </p:ext>
            </p:extLst>
          </p:nvPr>
        </p:nvGraphicFramePr>
        <p:xfrm>
          <a:off x="1" y="2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60732" name="Slide do think-cell" r:id="rId12" imgW="0" imgH="0" progId="TCLayout.ActiveDocument.1">
                  <p:embed/>
                </p:oleObj>
              </mc:Choice>
              <mc:Fallback>
                <p:oleObj name="Slide do think-cell" r:id="rId12" imgW="0" imgH="0" progId="TCLayout.ActiveDocument.1">
                  <p:embed/>
                  <p:pic>
                    <p:nvPicPr>
                      <p:cNvPr id="0" name="AutoShape 22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2"/>
                        <a:ext cx="211676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10776432" y="36518"/>
            <a:ext cx="876339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88028"/>
            <a:endParaRPr lang="pt-BR" sz="8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10519874" y="1932900"/>
            <a:ext cx="267220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10682583" y="4106726"/>
            <a:ext cx="234679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936841" y="1951039"/>
            <a:ext cx="5736421" cy="11060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ext styles</a:t>
            </a:r>
          </a:p>
          <a:p>
            <a:pPr lvl="1"/>
            <a:r>
              <a:rPr lang="pt-BR" noProof="0" smtClean="0"/>
              <a:t>Second level</a:t>
            </a:r>
          </a:p>
          <a:p>
            <a:pPr lvl="2"/>
            <a:r>
              <a:rPr lang="pt-BR" noProof="0" smtClean="0"/>
              <a:t>Third level</a:t>
            </a:r>
          </a:p>
          <a:p>
            <a:pPr lvl="3"/>
            <a:r>
              <a:rPr lang="pt-BR" noProof="0" smtClean="0"/>
              <a:t>Fourth level</a:t>
            </a:r>
          </a:p>
          <a:p>
            <a:pPr lvl="4"/>
            <a:r>
              <a:rPr lang="pt-BR" noProof="0" smtClean="0"/>
              <a:t>Fifth level</a:t>
            </a:r>
            <a:endParaRPr lang="pt-BR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211676" y="230280"/>
            <a:ext cx="10530036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58852" y="26992"/>
            <a:ext cx="886083" cy="2212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pt-BR" sz="1400" smtClean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TRACKER</a:t>
            </a:r>
            <a:endParaRPr lang="pt-BR" sz="1400" dirty="0">
              <a:solidFill>
                <a:srgbClr val="80808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58875" y="621826"/>
            <a:ext cx="11491891" cy="281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pt-BR" sz="1800" smtClean="0">
                <a:solidFill>
                  <a:srgbClr val="D5E7FF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Unit of measure</a:t>
            </a:r>
            <a:endParaRPr lang="pt-BR" sz="1800" dirty="0" smtClean="0">
              <a:solidFill>
                <a:srgbClr val="D5E7FF">
                  <a:lumMod val="75000"/>
                </a:srgbClr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158761" y="6265675"/>
            <a:ext cx="11398753" cy="358776"/>
            <a:chOff x="75" y="3877"/>
            <a:chExt cx="5385" cy="226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877"/>
              <a:ext cx="5385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pt-BR" sz="100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1 Footnote</a:t>
              </a:r>
              <a:endParaRPr lang="pt-BR" sz="1000" dirty="0" smtClean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06"/>
              <a:ext cx="4323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t" anchorCtr="0">
              <a:spAutoFit/>
            </a:bodyPr>
            <a:lstStyle/>
            <a:p>
              <a:pPr marL="604644" indent="-604644" defTabSz="888028">
                <a:tabLst>
                  <a:tab pos="607774" algn="l"/>
                </a:tabLst>
              </a:pPr>
              <a:r>
                <a:rPr lang="pt-BR" sz="1000" dirty="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FONTE: </a:t>
              </a:r>
              <a:r>
                <a:rPr lang="pt-BR" sz="1000" dirty="0" err="1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ource</a:t>
              </a:r>
              <a:endParaRPr lang="pt-BR" sz="1000" dirty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936840" y="1123953"/>
            <a:ext cx="5685618" cy="511174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 hidden="1"/>
            <p:cNvSpPr>
              <a:spLocks noChangeArrowheads="1"/>
            </p:cNvSpPr>
            <p:nvPr/>
          </p:nvSpPr>
          <p:spPr bwMode="auto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pt-BR" b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itle</a:t>
              </a:r>
            </a:p>
            <a:p>
              <a:r>
                <a:rPr lang="pt-BR" smtClean="0">
                  <a:solidFill>
                    <a:srgbClr val="80808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Unit of measure</a:t>
              </a:r>
              <a:endParaRPr lang="pt-BR" dirty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28" name="Group 27"/>
          <p:cNvGrpSpPr/>
          <p:nvPr userDrawn="1"/>
        </p:nvGrpSpPr>
        <p:grpSpPr>
          <a:xfrm>
            <a:off x="11335740" y="60963"/>
            <a:ext cx="613376" cy="655256"/>
            <a:chOff x="5526523" y="2325890"/>
            <a:chExt cx="3423032" cy="3656747"/>
          </a:xfrm>
        </p:grpSpPr>
        <p:sp>
          <p:nvSpPr>
            <p:cNvPr id="29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30" name="Group 29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31" name="Donut 30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2" name="Oval 31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3" name="Oval 32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86684336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156" r:id="rId1"/>
    <p:sldLayoutId id="2147485157" r:id="rId2"/>
    <p:sldLayoutId id="2147485158" r:id="rId3"/>
    <p:sldLayoutId id="2147485159" r:id="rId4"/>
    <p:sldLayoutId id="2147485160" r:id="rId5"/>
    <p:sldLayoutId id="2147485161" r:id="rId6"/>
    <p:sldLayoutId id="2147485162" r:id="rId7"/>
    <p:sldLayoutId id="2147485163" r:id="rId8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888028" rtl="0" eaLnBrk="1" fontAlgn="base" hangingPunct="1">
        <a:spcBef>
          <a:spcPct val="0"/>
        </a:spcBef>
        <a:spcAft>
          <a:spcPct val="0"/>
        </a:spcAft>
        <a:tabLst>
          <a:tab pos="267688" algn="l"/>
        </a:tabLst>
        <a:defRPr lang="en-US" sz="2000" b="1" baseline="0" noProof="0" dirty="0" smtClean="0">
          <a:solidFill>
            <a:schemeClr val="accent4"/>
          </a:solidFill>
          <a:latin typeface="Arial" panose="020B0604020202020204" pitchFamily="34" charset="0"/>
          <a:ea typeface="+mj-ea"/>
          <a:cs typeface="Arial" panose="020B0604020202020204" pitchFamily="34" charset="0"/>
          <a:sym typeface="Arial" panose="020B0604020202020204" pitchFamily="34" charset="0"/>
        </a:defRPr>
      </a:lvl1pPr>
      <a:lvl2pPr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2pPr>
      <a:lvl3pPr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3pPr>
      <a:lvl4pPr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4pPr>
      <a:lvl5pPr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5pPr>
      <a:lvl6pPr marL="453493"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6pPr>
      <a:lvl7pPr marL="906935"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7pPr>
      <a:lvl8pPr marL="1360390"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8pPr>
      <a:lvl9pPr marL="1813863"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88028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400" baseline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1pPr>
      <a:lvl2pPr marL="192114" indent="-192114" algn="l" defTabSz="888028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15000"/>
        <a:buFont typeface="Simplon BP Regular" pitchFamily="2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2pPr>
      <a:lvl3pPr marL="453493" indent="-259777" algn="l" defTabSz="888028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charset="0"/>
        <a:buChar char="–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3pPr>
      <a:lvl4pPr marL="609346" indent="-154337" algn="l" defTabSz="888028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pitchFamily="34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4pPr>
      <a:lvl5pPr marL="743666" indent="-129115" algn="l" defTabSz="888028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89000"/>
        <a:buFont typeface="Arial" charset="0"/>
        <a:buChar char="-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5pPr>
      <a:lvl6pPr marL="743666" indent="-129115" algn="l" defTabSz="88802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3666" indent="-129115" algn="l" defTabSz="88802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3666" indent="-129115" algn="l" defTabSz="88802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3666" indent="-129115" algn="l" defTabSz="88802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3493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06935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0390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13863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67322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20778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74250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27718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4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1440185692"/>
              </p:ext>
            </p:extLst>
          </p:nvPr>
        </p:nvGraphicFramePr>
        <p:xfrm>
          <a:off x="1" y="2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65851" name="Slide do think-cell" r:id="rId14" imgW="0" imgH="0" progId="TCLayout.ActiveDocument.1">
                  <p:embed/>
                </p:oleObj>
              </mc:Choice>
              <mc:Fallback>
                <p:oleObj name="Slide do think-cell" r:id="rId14" imgW="0" imgH="0" progId="TCLayout.ActiveDocument.1">
                  <p:embed/>
                  <p:pic>
                    <p:nvPicPr>
                      <p:cNvPr id="0" name="AutoShape 22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2"/>
                        <a:ext cx="211676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10776432" y="36518"/>
            <a:ext cx="876339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88028"/>
            <a:endParaRPr lang="pt-BR" sz="8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10519874" y="1932900"/>
            <a:ext cx="267220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10682583" y="4106726"/>
            <a:ext cx="234679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936841" y="1951039"/>
            <a:ext cx="5736421" cy="11060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ext styles</a:t>
            </a:r>
          </a:p>
          <a:p>
            <a:pPr lvl="1"/>
            <a:r>
              <a:rPr lang="pt-BR" noProof="0" smtClean="0"/>
              <a:t>Second level</a:t>
            </a:r>
          </a:p>
          <a:p>
            <a:pPr lvl="2"/>
            <a:r>
              <a:rPr lang="pt-BR" noProof="0" smtClean="0"/>
              <a:t>Third level</a:t>
            </a:r>
          </a:p>
          <a:p>
            <a:pPr lvl="3"/>
            <a:r>
              <a:rPr lang="pt-BR" noProof="0" smtClean="0"/>
              <a:t>Fourth level</a:t>
            </a:r>
          </a:p>
          <a:p>
            <a:pPr lvl="4"/>
            <a:r>
              <a:rPr lang="pt-BR" noProof="0" smtClean="0"/>
              <a:t>Fifth level</a:t>
            </a:r>
            <a:endParaRPr lang="pt-BR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211676" y="230280"/>
            <a:ext cx="10530036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58852" y="26992"/>
            <a:ext cx="886083" cy="2212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pt-BR" sz="1400" smtClean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TRACKER</a:t>
            </a:r>
            <a:endParaRPr lang="pt-BR" sz="1400" dirty="0">
              <a:solidFill>
                <a:srgbClr val="80808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58875" y="621826"/>
            <a:ext cx="11491891" cy="281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pt-BR" sz="1800" smtClean="0">
                <a:solidFill>
                  <a:srgbClr val="D5E7FF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Unit of measure</a:t>
            </a:r>
            <a:endParaRPr lang="pt-BR" sz="1800" dirty="0" smtClean="0">
              <a:solidFill>
                <a:srgbClr val="D5E7FF">
                  <a:lumMod val="75000"/>
                </a:srgbClr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158761" y="6265675"/>
            <a:ext cx="11398753" cy="358776"/>
            <a:chOff x="75" y="3877"/>
            <a:chExt cx="5385" cy="226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877"/>
              <a:ext cx="5385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pt-BR" sz="100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1 Footnote</a:t>
              </a:r>
              <a:endParaRPr lang="pt-BR" sz="1000" dirty="0" smtClean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06"/>
              <a:ext cx="4323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t" anchorCtr="0">
              <a:spAutoFit/>
            </a:bodyPr>
            <a:lstStyle/>
            <a:p>
              <a:pPr marL="604644" indent="-604644" defTabSz="888028">
                <a:tabLst>
                  <a:tab pos="607774" algn="l"/>
                </a:tabLst>
              </a:pPr>
              <a:r>
                <a:rPr lang="pt-BR" sz="1000" dirty="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FONTE: </a:t>
              </a:r>
              <a:r>
                <a:rPr lang="pt-BR" sz="1000" dirty="0" err="1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ource</a:t>
              </a:r>
              <a:endParaRPr lang="pt-BR" sz="1000" dirty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936840" y="1123953"/>
            <a:ext cx="5685618" cy="511174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 hidden="1"/>
            <p:cNvSpPr>
              <a:spLocks noChangeArrowheads="1"/>
            </p:cNvSpPr>
            <p:nvPr/>
          </p:nvSpPr>
          <p:spPr bwMode="auto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pt-BR" b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itle</a:t>
              </a:r>
            </a:p>
            <a:p>
              <a:r>
                <a:rPr lang="pt-BR" smtClean="0">
                  <a:solidFill>
                    <a:srgbClr val="80808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Unit of measure</a:t>
              </a:r>
              <a:endParaRPr lang="pt-BR" dirty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28" name="Group 27"/>
          <p:cNvGrpSpPr/>
          <p:nvPr userDrawn="1"/>
        </p:nvGrpSpPr>
        <p:grpSpPr>
          <a:xfrm>
            <a:off x="11335740" y="60963"/>
            <a:ext cx="613376" cy="655256"/>
            <a:chOff x="5526523" y="2325890"/>
            <a:chExt cx="3423032" cy="3656747"/>
          </a:xfrm>
        </p:grpSpPr>
        <p:sp>
          <p:nvSpPr>
            <p:cNvPr id="29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30" name="Group 29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31" name="Donut 30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2" name="Oval 31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3" name="Oval 32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3466017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166" r:id="rId1"/>
    <p:sldLayoutId id="2147485167" r:id="rId2"/>
    <p:sldLayoutId id="2147485168" r:id="rId3"/>
    <p:sldLayoutId id="2147485169" r:id="rId4"/>
    <p:sldLayoutId id="2147485170" r:id="rId5"/>
    <p:sldLayoutId id="2147485171" r:id="rId6"/>
    <p:sldLayoutId id="2147485172" r:id="rId7"/>
    <p:sldLayoutId id="2147485173" r:id="rId8"/>
    <p:sldLayoutId id="2147485174" r:id="rId9"/>
    <p:sldLayoutId id="2147485175" r:id="rId10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defTabSz="888028" rtl="0" eaLnBrk="1" fontAlgn="base" hangingPunct="1">
        <a:spcBef>
          <a:spcPct val="0"/>
        </a:spcBef>
        <a:spcAft>
          <a:spcPct val="0"/>
        </a:spcAft>
        <a:tabLst>
          <a:tab pos="267688" algn="l"/>
        </a:tabLst>
        <a:defRPr lang="en-US" sz="2000" b="1" baseline="0" noProof="0" dirty="0" smtClean="0">
          <a:solidFill>
            <a:schemeClr val="accent4"/>
          </a:solidFill>
          <a:latin typeface="Arial" panose="020B0604020202020204" pitchFamily="34" charset="0"/>
          <a:ea typeface="+mj-ea"/>
          <a:cs typeface="Arial" panose="020B0604020202020204" pitchFamily="34" charset="0"/>
          <a:sym typeface="Arial" panose="020B0604020202020204" pitchFamily="34" charset="0"/>
        </a:defRPr>
      </a:lvl1pPr>
      <a:lvl2pPr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2pPr>
      <a:lvl3pPr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3pPr>
      <a:lvl4pPr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4pPr>
      <a:lvl5pPr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5pPr>
      <a:lvl6pPr marL="453493"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6pPr>
      <a:lvl7pPr marL="906935"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7pPr>
      <a:lvl8pPr marL="1360390"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8pPr>
      <a:lvl9pPr marL="1813863"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88028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400" baseline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1pPr>
      <a:lvl2pPr marL="192114" indent="-192114" algn="l" defTabSz="888028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15000"/>
        <a:buFont typeface="Simplon BP Regular" pitchFamily="2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2pPr>
      <a:lvl3pPr marL="453493" indent="-259777" algn="l" defTabSz="888028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charset="0"/>
        <a:buChar char="–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3pPr>
      <a:lvl4pPr marL="609346" indent="-154337" algn="l" defTabSz="888028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pitchFamily="34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4pPr>
      <a:lvl5pPr marL="743666" indent="-129115" algn="l" defTabSz="888028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89000"/>
        <a:buFont typeface="Arial" charset="0"/>
        <a:buChar char="-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5pPr>
      <a:lvl6pPr marL="743666" indent="-129115" algn="l" defTabSz="88802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3666" indent="-129115" algn="l" defTabSz="88802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3666" indent="-129115" algn="l" defTabSz="88802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3666" indent="-129115" algn="l" defTabSz="88802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3493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06935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0390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13863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67322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20778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74250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27718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4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82" y="1854695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2045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81813" y="1855214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75" tIns="46775" rIns="46775" bIns="46775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75" tIns="46775" rIns="46775" bIns="46775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75" tIns="46775" rIns="46775" bIns="46775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75" tIns="46775" rIns="46775" bIns="46775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75" tIns="46775" rIns="46775" bIns="46775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75" tIns="46775" rIns="46775" bIns="46775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75" tIns="46775" rIns="46775" bIns="46775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9223673" y="6781916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3972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1769845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178" r:id="rId1"/>
    <p:sldLayoutId id="2147485179" r:id="rId2"/>
    <p:sldLayoutId id="2147485180" r:id="rId3"/>
    <p:sldLayoutId id="2147485181" r:id="rId4"/>
    <p:sldLayoutId id="2147485182" r:id="rId5"/>
    <p:sldLayoutId id="2147485183" r:id="rId6"/>
    <p:sldLayoutId id="2147485184" r:id="rId7"/>
    <p:sldLayoutId id="2147485185" r:id="rId8"/>
    <p:sldLayoutId id="2147485186" r:id="rId9"/>
    <p:sldLayoutId id="2147485187" r:id="rId10"/>
  </p:sldLayoutIdLst>
  <p:hf sldNum="0" hdr="0" ftr="0" dt="0"/>
  <p:txStyles>
    <p:titleStyle>
      <a:lvl1pPr algn="l" defTabSz="593972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246" indent="-239246" algn="l" defTabSz="593972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4363" indent="-228927" algn="l" defTabSz="593972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4363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3296" indent="-228927" algn="l" defTabSz="593972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3296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2232" indent="-228927" algn="l" defTabSz="593972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2232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1158" indent="-228927" algn="l" defTabSz="593972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1158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66945" indent="-296983" algn="l" defTabSz="593972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60927" indent="-296983" algn="l" defTabSz="593972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54913" indent="-296983" algn="l" defTabSz="593972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48906" indent="-296983" algn="l" defTabSz="593972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3972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7980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1972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5954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69951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63935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57922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51913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14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1978" y="358964"/>
            <a:ext cx="7338636" cy="102481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3772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1855218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3772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59" tIns="46759" rIns="46759" bIns="46759" numCol="1" anchor="t" anchorCtr="0" compatLnSpc="1">
            <a:prstTxWarp prst="textNoShape">
              <a:avLst/>
            </a:prstTxWarp>
          </a:bodyPr>
          <a:lstStyle/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16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59" tIns="46759" rIns="46759" bIns="46759" numCol="1" anchor="t" anchorCtr="0" compatLnSpc="1">
            <a:prstTxWarp prst="textNoShape">
              <a:avLst/>
            </a:prstTxWarp>
          </a:bodyPr>
          <a:lstStyle/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59" tIns="46759" rIns="46759" bIns="46759" numCol="1" anchor="t" anchorCtr="0" compatLnSpc="1">
            <a:prstTxWarp prst="textNoShape">
              <a:avLst/>
            </a:prstTxWarp>
          </a:bodyPr>
          <a:lstStyle/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9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59" tIns="46759" rIns="46759" bIns="46759" numCol="1" anchor="t" anchorCtr="0" compatLnSpc="1">
            <a:prstTxWarp prst="textNoShape">
              <a:avLst/>
            </a:prstTxWarp>
          </a:bodyPr>
          <a:lstStyle/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Freeform 28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59" tIns="46759" rIns="46759" bIns="46759" numCol="1" anchor="t" anchorCtr="0" compatLnSpc="1">
            <a:prstTxWarp prst="textNoShape">
              <a:avLst/>
            </a:prstTxWarp>
          </a:bodyPr>
          <a:lstStyle/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59" tIns="46759" rIns="46759" bIns="46759" numCol="1" anchor="t" anchorCtr="0" compatLnSpc="1">
            <a:prstTxWarp prst="textNoShape">
              <a:avLst/>
            </a:prstTxWarp>
          </a:bodyPr>
          <a:lstStyle/>
          <a:p>
            <a:pPr defTabSz="59377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377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377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59" tIns="46759" rIns="46759" bIns="46759" numCol="1" anchor="t" anchorCtr="0" compatLnSpc="1">
            <a:prstTxWarp prst="textNoShape">
              <a:avLst/>
            </a:prstTxWarp>
          </a:bodyPr>
          <a:lstStyle/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2" name="TextBox 39"/>
          <p:cNvSpPr txBox="1"/>
          <p:nvPr userDrawn="1"/>
        </p:nvSpPr>
        <p:spPr>
          <a:xfrm>
            <a:off x="9223673" y="6781920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3772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772" tIns="59387" rIns="118772" bIns="59387" numCol="1" anchor="t" anchorCtr="0" compatLnSpc="1">
            <a:prstTxWarp prst="textNoShape">
              <a:avLst/>
            </a:prstTxWarp>
          </a:bodyPr>
          <a:lstStyle/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72" tIns="59387" rIns="118772" bIns="59387" numCol="1" anchor="t" anchorCtr="0" compatLnSpc="1">
            <a:prstTxWarp prst="textNoShape">
              <a:avLst/>
            </a:prstTxWarp>
          </a:bodyPr>
          <a:lstStyle/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72" tIns="59387" rIns="118772" bIns="59387" numCol="1" anchor="t" anchorCtr="0" compatLnSpc="1">
            <a:prstTxWarp prst="textNoShape">
              <a:avLst/>
            </a:prstTxWarp>
          </a:bodyPr>
          <a:lstStyle/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72" tIns="59387" rIns="118772" bIns="59387" numCol="1" anchor="t" anchorCtr="0" compatLnSpc="1">
            <a:prstTxWarp prst="textNoShape">
              <a:avLst/>
            </a:prstTxWarp>
          </a:bodyPr>
          <a:lstStyle/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772" tIns="59387" rIns="118772" bIns="59387" numCol="1" anchor="t" anchorCtr="0" compatLnSpc="1">
            <a:prstTxWarp prst="textNoShape">
              <a:avLst/>
            </a:prstTxWarp>
          </a:bodyPr>
          <a:lstStyle/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72" tIns="59387" rIns="118772" bIns="59387" numCol="1" anchor="t" anchorCtr="0" compatLnSpc="1">
            <a:prstTxWarp prst="textNoShape">
              <a:avLst/>
            </a:prstTxWarp>
          </a:bodyPr>
          <a:lstStyle/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72" tIns="59387" rIns="118772" bIns="59387" numCol="1" anchor="t" anchorCtr="0" compatLnSpc="1">
            <a:prstTxWarp prst="textNoShape">
              <a:avLst/>
            </a:prstTxWarp>
          </a:bodyPr>
          <a:lstStyle/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72" tIns="59387" rIns="118772" bIns="59387" numCol="1" anchor="t" anchorCtr="0" compatLnSpc="1">
            <a:prstTxWarp prst="textNoShape">
              <a:avLst/>
            </a:prstTxWarp>
          </a:bodyPr>
          <a:lstStyle/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772" tIns="59387" rIns="118772" bIns="59387" numCol="1" anchor="t" anchorCtr="0" compatLnSpc="1">
            <a:prstTxWarp prst="textNoShape">
              <a:avLst/>
            </a:prstTxWarp>
          </a:bodyPr>
          <a:lstStyle/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72" tIns="59387" rIns="118772" bIns="59387" numCol="1" anchor="t" anchorCtr="0" compatLnSpc="1">
            <a:prstTxWarp prst="textNoShape">
              <a:avLst/>
            </a:prstTxWarp>
          </a:bodyPr>
          <a:lstStyle/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3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72" tIns="59387" rIns="118772" bIns="59387" numCol="1" anchor="t" anchorCtr="0" compatLnSpc="1">
            <a:prstTxWarp prst="textNoShape">
              <a:avLst/>
            </a:prstTxWarp>
          </a:bodyPr>
          <a:lstStyle/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72" tIns="59387" rIns="118772" bIns="59387" numCol="1" anchor="t" anchorCtr="0" compatLnSpc="1">
            <a:prstTxWarp prst="textNoShape">
              <a:avLst/>
            </a:prstTxWarp>
          </a:bodyPr>
          <a:lstStyle/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9149589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189" r:id="rId1"/>
    <p:sldLayoutId id="2147485190" r:id="rId2"/>
    <p:sldLayoutId id="2147485191" r:id="rId3"/>
    <p:sldLayoutId id="2147485192" r:id="rId4"/>
    <p:sldLayoutId id="2147485193" r:id="rId5"/>
    <p:sldLayoutId id="2147485194" r:id="rId6"/>
    <p:sldLayoutId id="2147485195" r:id="rId7"/>
    <p:sldLayoutId id="2147485196" r:id="rId8"/>
  </p:sldLayoutIdLst>
  <p:hf sldNum="0" hdr="0" ftr="0" dt="0"/>
  <p:txStyles>
    <p:titleStyle>
      <a:lvl1pPr algn="l" defTabSz="593772" rtl="0" eaLnBrk="1" latinLnBrk="0" hangingPunct="1">
        <a:lnSpc>
          <a:spcPts val="5486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A037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164" indent="-239164" algn="l" defTabSz="593772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4203" indent="-228850" algn="l" defTabSz="593772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4203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3056" indent="-228850" algn="l" defTabSz="593772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3056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1916" indent="-228850" algn="l" defTabSz="593772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1916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0763" indent="-228850" algn="l" defTabSz="593772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0763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65835" indent="-296881" algn="l" defTabSz="593772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59617" indent="-296881" algn="l" defTabSz="593772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53400" indent="-296881" algn="l" defTabSz="593772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47194" indent="-296881" algn="l" defTabSz="593772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37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3772" algn="l" defTabSz="5937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7576" algn="l" defTabSz="5937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1367" algn="l" defTabSz="5937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5148" algn="l" defTabSz="5937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68944" algn="l" defTabSz="5937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62725" algn="l" defTabSz="5937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56509" algn="l" defTabSz="5937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50299" algn="l" defTabSz="5937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14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82" y="1854695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2045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81813" y="1855214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75" tIns="46775" rIns="46775" bIns="46775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75" tIns="46775" rIns="46775" bIns="46775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75" tIns="46775" rIns="46775" bIns="46775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75" tIns="46775" rIns="46775" bIns="46775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75" tIns="46775" rIns="46775" bIns="46775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75" tIns="46775" rIns="46775" bIns="46775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75" tIns="46775" rIns="46775" bIns="46775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9223673" y="6781916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3972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7674454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199" r:id="rId1"/>
    <p:sldLayoutId id="2147485200" r:id="rId2"/>
    <p:sldLayoutId id="2147485201" r:id="rId3"/>
    <p:sldLayoutId id="2147485202" r:id="rId4"/>
    <p:sldLayoutId id="2147485203" r:id="rId5"/>
    <p:sldLayoutId id="2147485204" r:id="rId6"/>
    <p:sldLayoutId id="2147485205" r:id="rId7"/>
    <p:sldLayoutId id="2147485206" r:id="rId8"/>
    <p:sldLayoutId id="2147485207" r:id="rId9"/>
    <p:sldLayoutId id="2147485208" r:id="rId10"/>
  </p:sldLayoutIdLst>
  <p:hf sldNum="0" hdr="0" ftr="0" dt="0"/>
  <p:txStyles>
    <p:titleStyle>
      <a:lvl1pPr algn="l" defTabSz="593972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246" indent="-239246" algn="l" defTabSz="593972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4363" indent="-228927" algn="l" defTabSz="593972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4363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3296" indent="-228927" algn="l" defTabSz="593972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3296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2232" indent="-228927" algn="l" defTabSz="593972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2232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1158" indent="-228927" algn="l" defTabSz="593972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1158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66945" indent="-296983" algn="l" defTabSz="593972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60927" indent="-296983" algn="l" defTabSz="593972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54913" indent="-296983" algn="l" defTabSz="593972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48906" indent="-296983" algn="l" defTabSz="593972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3972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7980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1972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5954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69951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63935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57922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51913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14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82" y="1854691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2041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81813" y="1855210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90" tIns="46790" rIns="46790" bIns="46790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90" tIns="46790" rIns="46790" bIns="46790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90" tIns="46790" rIns="46790" bIns="46790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90" tIns="46790" rIns="46790" bIns="46790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90" tIns="46790" rIns="46790" bIns="46790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90" tIns="46790" rIns="46790" bIns="46790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417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417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90" tIns="46790" rIns="46790" bIns="46790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9223673" y="6781912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4177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51" tIns="59426" rIns="118851" bIns="59426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51" tIns="59426" rIns="118851" bIns="59426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51" tIns="59426" rIns="118851" bIns="59426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51" tIns="59426" rIns="118851" bIns="59426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51" tIns="59426" rIns="118851" bIns="59426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51" tIns="59426" rIns="118851" bIns="59426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51" tIns="59426" rIns="118851" bIns="59426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51" tIns="59426" rIns="118851" bIns="59426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51" tIns="59426" rIns="118851" bIns="59426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51" tIns="59426" rIns="118851" bIns="59426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51" tIns="59426" rIns="118851" bIns="59426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51" tIns="59426" rIns="118851" bIns="59426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7113023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210" r:id="rId1"/>
    <p:sldLayoutId id="2147485211" r:id="rId2"/>
    <p:sldLayoutId id="2147485212" r:id="rId3"/>
    <p:sldLayoutId id="2147485213" r:id="rId4"/>
    <p:sldLayoutId id="2147485214" r:id="rId5"/>
    <p:sldLayoutId id="2147485215" r:id="rId6"/>
    <p:sldLayoutId id="2147485216" r:id="rId7"/>
    <p:sldLayoutId id="2147485217" r:id="rId8"/>
    <p:sldLayoutId id="2147485218" r:id="rId9"/>
    <p:sldLayoutId id="2147485219" r:id="rId10"/>
  </p:sldLayoutIdLst>
  <p:hf sldNum="0" hdr="0" ftr="0" dt="0"/>
  <p:txStyles>
    <p:titleStyle>
      <a:lvl1pPr algn="l" defTabSz="594177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327" indent="-239327" algn="l" defTabSz="59417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4524" indent="-229007" algn="l" defTabSz="59417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4524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3535" indent="-229007" algn="l" defTabSz="59417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3535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2550" indent="-229007" algn="l" defTabSz="59417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2550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1554" indent="-229007" algn="l" defTabSz="59417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1554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68054" indent="-297085" algn="l" defTabSz="59417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62237" indent="-297085" algn="l" defTabSz="59417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56426" indent="-297085" algn="l" defTabSz="59417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50618" indent="-297085" algn="l" defTabSz="59417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41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4177" algn="l" defTabSz="5941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8384" algn="l" defTabSz="5941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2577" algn="l" defTabSz="5941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6763" algn="l" defTabSz="5941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70960" algn="l" defTabSz="5941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65145" algn="l" defTabSz="5941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59333" algn="l" defTabSz="5941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53524" algn="l" defTabSz="5941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14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1978" y="358962"/>
            <a:ext cx="7338636" cy="102481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1855214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75" tIns="46775" rIns="46775" bIns="46775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16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75" tIns="46775" rIns="46775" bIns="46775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75" tIns="46775" rIns="46775" bIns="46775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9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75" tIns="46775" rIns="46775" bIns="46775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Freeform 28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75" tIns="46775" rIns="46775" bIns="46775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75" tIns="46775" rIns="46775" bIns="46775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75" tIns="46775" rIns="46775" bIns="46775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2" name="TextBox 39"/>
          <p:cNvSpPr txBox="1"/>
          <p:nvPr userDrawn="1"/>
        </p:nvSpPr>
        <p:spPr>
          <a:xfrm>
            <a:off x="9223673" y="6781916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3972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3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4168327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221" r:id="rId1"/>
    <p:sldLayoutId id="2147485222" r:id="rId2"/>
    <p:sldLayoutId id="2147485223" r:id="rId3"/>
    <p:sldLayoutId id="2147485224" r:id="rId4"/>
    <p:sldLayoutId id="2147485225" r:id="rId5"/>
    <p:sldLayoutId id="2147485226" r:id="rId6"/>
    <p:sldLayoutId id="2147485227" r:id="rId7"/>
    <p:sldLayoutId id="2147485228" r:id="rId8"/>
  </p:sldLayoutIdLst>
  <p:hf sldNum="0" hdr="0" ftr="0" dt="0"/>
  <p:txStyles>
    <p:titleStyle>
      <a:lvl1pPr algn="l" defTabSz="593972" rtl="0" eaLnBrk="1" latinLnBrk="0" hangingPunct="1">
        <a:lnSpc>
          <a:spcPts val="5486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A037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246" indent="-239246" algn="l" defTabSz="593972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4363" indent="-228927" algn="l" defTabSz="593972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4363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3296" indent="-228927" algn="l" defTabSz="593972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3296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2232" indent="-228927" algn="l" defTabSz="593972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2232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1158" indent="-228927" algn="l" defTabSz="593972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1158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66945" indent="-296983" algn="l" defTabSz="593972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60927" indent="-296983" algn="l" defTabSz="593972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54913" indent="-296983" algn="l" defTabSz="593972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48906" indent="-296983" algn="l" defTabSz="593972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3972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7980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1972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5954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69951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63935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57922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51913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14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82" y="1854691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2041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81813" y="1855210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90" tIns="46790" rIns="46790" bIns="46790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90" tIns="46790" rIns="46790" bIns="46790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90" tIns="46790" rIns="46790" bIns="46790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90" tIns="46790" rIns="46790" bIns="46790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90" tIns="46790" rIns="46790" bIns="46790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90" tIns="46790" rIns="46790" bIns="46790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417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417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90" tIns="46790" rIns="46790" bIns="46790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9223673" y="6781912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4177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51" tIns="59426" rIns="118851" bIns="59426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51" tIns="59426" rIns="118851" bIns="59426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51" tIns="59426" rIns="118851" bIns="59426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51" tIns="59426" rIns="118851" bIns="59426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51" tIns="59426" rIns="118851" bIns="59426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51" tIns="59426" rIns="118851" bIns="59426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51" tIns="59426" rIns="118851" bIns="59426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51" tIns="59426" rIns="118851" bIns="59426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51" tIns="59426" rIns="118851" bIns="59426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51" tIns="59426" rIns="118851" bIns="59426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51" tIns="59426" rIns="118851" bIns="59426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51" tIns="59426" rIns="118851" bIns="59426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41729541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231" r:id="rId1"/>
    <p:sldLayoutId id="2147485232" r:id="rId2"/>
    <p:sldLayoutId id="2147485233" r:id="rId3"/>
    <p:sldLayoutId id="2147485234" r:id="rId4"/>
    <p:sldLayoutId id="2147485235" r:id="rId5"/>
    <p:sldLayoutId id="2147485236" r:id="rId6"/>
    <p:sldLayoutId id="2147485237" r:id="rId7"/>
    <p:sldLayoutId id="2147485238" r:id="rId8"/>
    <p:sldLayoutId id="2147485239" r:id="rId9"/>
    <p:sldLayoutId id="2147485240" r:id="rId10"/>
  </p:sldLayoutIdLst>
  <p:hf sldNum="0" hdr="0" ftr="0" dt="0"/>
  <p:txStyles>
    <p:titleStyle>
      <a:lvl1pPr algn="l" defTabSz="594177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327" indent="-239327" algn="l" defTabSz="59417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4524" indent="-229007" algn="l" defTabSz="59417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4524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3535" indent="-229007" algn="l" defTabSz="59417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3535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2550" indent="-229007" algn="l" defTabSz="59417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2550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1554" indent="-229007" algn="l" defTabSz="59417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1554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68054" indent="-297085" algn="l" defTabSz="59417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62237" indent="-297085" algn="l" defTabSz="59417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56426" indent="-297085" algn="l" defTabSz="59417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50618" indent="-297085" algn="l" defTabSz="59417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41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4177" algn="l" defTabSz="5941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8384" algn="l" defTabSz="5941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2577" algn="l" defTabSz="5941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6763" algn="l" defTabSz="5941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70960" algn="l" defTabSz="5941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65145" algn="l" defTabSz="5941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59333" algn="l" defTabSz="5941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53524" algn="l" defTabSz="5941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14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1978" y="358941"/>
            <a:ext cx="7338636" cy="102481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1855194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58" tIns="46858" rIns="46858" bIns="46858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16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58" tIns="46858" rIns="46858" bIns="46858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58" tIns="46858" rIns="46858" bIns="46858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9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58" tIns="46858" rIns="46858" bIns="46858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Freeform 28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58" tIns="46858" rIns="46858" bIns="46858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58" tIns="46858" rIns="46858" bIns="46858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58" tIns="46858" rIns="46858" bIns="46858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2" name="TextBox 39"/>
          <p:cNvSpPr txBox="1"/>
          <p:nvPr userDrawn="1"/>
        </p:nvSpPr>
        <p:spPr>
          <a:xfrm>
            <a:off x="9223673" y="6781895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5054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022" tIns="59511" rIns="119022" bIns="59511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22" tIns="59511" rIns="119022" bIns="59511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22" tIns="59511" rIns="119022" bIns="59511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22" tIns="59511" rIns="119022" bIns="59511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022" tIns="59511" rIns="119022" bIns="59511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22" tIns="59511" rIns="119022" bIns="59511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22" tIns="59511" rIns="119022" bIns="59511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22" tIns="59511" rIns="119022" bIns="59511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022" tIns="59511" rIns="119022" bIns="59511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22" tIns="59511" rIns="119022" bIns="59511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3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22" tIns="59511" rIns="119022" bIns="59511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22" tIns="59511" rIns="119022" bIns="59511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76522027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243" r:id="rId1"/>
    <p:sldLayoutId id="2147485244" r:id="rId2"/>
    <p:sldLayoutId id="2147485245" r:id="rId3"/>
    <p:sldLayoutId id="2147485246" r:id="rId4"/>
    <p:sldLayoutId id="2147485247" r:id="rId5"/>
    <p:sldLayoutId id="2147485248" r:id="rId6"/>
    <p:sldLayoutId id="2147485249" r:id="rId7"/>
    <p:sldLayoutId id="2147485250" r:id="rId8"/>
  </p:sldLayoutIdLst>
  <p:hf sldNum="0" hdr="0" ftr="0" dt="0"/>
  <p:txStyles>
    <p:titleStyle>
      <a:lvl1pPr algn="l" defTabSz="595054" rtl="0" eaLnBrk="1" latinLnBrk="0" hangingPunct="1">
        <a:lnSpc>
          <a:spcPts val="5486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A037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679" indent="-239679" algn="l" defTabSz="5950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5222" indent="-229347" algn="l" defTabSz="5950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5222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4571" indent="-229347" algn="l" defTabSz="5950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4571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3925" indent="-229347" algn="l" defTabSz="5950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3925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3270" indent="-229347" algn="l" defTabSz="5950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3270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72868" indent="-297524" algn="l" defTabSz="595054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67925" indent="-297524" algn="l" defTabSz="595054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62986" indent="-297524" algn="l" defTabSz="595054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58051" indent="-297524" algn="l" defTabSz="595054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50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5054" algn="l" defTabSz="5950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90131" algn="l" defTabSz="5950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5197" algn="l" defTabSz="5950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80261" algn="l" defTabSz="5950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75334" algn="l" defTabSz="5950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70394" algn="l" defTabSz="5950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65458" algn="l" defTabSz="5950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60522" algn="l" defTabSz="5950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14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8"/>
            </p:custDataLst>
            <p:extLst/>
          </p:nvPr>
        </p:nvGraphicFramePr>
        <p:xfrm>
          <a:off x="1591" y="1591"/>
          <a:ext cx="158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80180" name="Slide do think-cell" r:id="rId9" imgW="0" imgH="0" progId="TCLayout.ActiveDocument.1">
                  <p:embed/>
                </p:oleObj>
              </mc:Choice>
              <mc:Fallback>
                <p:oleObj name="Slide do think-cell" r:id="rId9" imgW="0" imgH="0" progId="TCLayout.ActiveDocument.1">
                  <p:embed/>
                  <p:pic>
                    <p:nvPicPr>
                      <p:cNvPr id="0" name="AutoShape 21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1" y="1591"/>
                        <a:ext cx="158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82" y="1854676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2025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81813" y="1855197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48" tIns="46848" rIns="46848" bIns="46848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48" tIns="46848" rIns="46848" bIns="46848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48" tIns="46848" rIns="46848" bIns="46848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48" tIns="46848" rIns="46848" bIns="46848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48" tIns="46848" rIns="46848" bIns="46848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48" tIns="46848" rIns="46848" bIns="46848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48" tIns="46848" rIns="46848" bIns="46848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9223673" y="6781899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4918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999" tIns="59497" rIns="118999" bIns="59497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99" tIns="59497" rIns="118999" bIns="59497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99" tIns="59497" rIns="118999" bIns="59497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99" tIns="59497" rIns="118999" bIns="59497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999" tIns="59497" rIns="118999" bIns="59497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99" tIns="59497" rIns="118999" bIns="59497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99" tIns="59497" rIns="118999" bIns="59497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99" tIns="59497" rIns="118999" bIns="59497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999" tIns="59497" rIns="118999" bIns="59497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99" tIns="59497" rIns="118999" bIns="59497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99" tIns="59497" rIns="118999" bIns="59497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99" tIns="59497" rIns="118999" bIns="59497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6921095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253" r:id="rId1"/>
    <p:sldLayoutId id="2147485254" r:id="rId2"/>
    <p:sldLayoutId id="2147485255" r:id="rId3"/>
    <p:sldLayoutId id="2147485256" r:id="rId4"/>
    <p:sldLayoutId id="2147485258" r:id="rId5"/>
  </p:sldLayoutIdLst>
  <p:hf sldNum="0" hdr="0" ftr="0" dt="0"/>
  <p:txStyles>
    <p:titleStyle>
      <a:lvl1pPr algn="l" defTabSz="594918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625" indent="-239625" algn="l" defTabSz="59491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5115" indent="-229293" algn="l" defTabSz="59491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5115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4412" indent="-229293" algn="l" defTabSz="59491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4412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3714" indent="-229293" algn="l" defTabSz="59491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3714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3006" indent="-229293" algn="l" defTabSz="59491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3006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72127" indent="-297456" algn="l" defTabSz="59491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67049" indent="-297456" algn="l" defTabSz="59491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61975" indent="-297456" algn="l" defTabSz="59491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56908" indent="-297456" algn="l" defTabSz="59491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49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4918" algn="l" defTabSz="5949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9863" algn="l" defTabSz="5949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4793" algn="l" defTabSz="5949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9723" algn="l" defTabSz="5949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74661" algn="l" defTabSz="5949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69588" algn="l" defTabSz="5949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64514" algn="l" defTabSz="5949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59444" algn="l" defTabSz="5949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2286944715"/>
              </p:ext>
            </p:extLst>
          </p:nvPr>
        </p:nvGraphicFramePr>
        <p:xfrm>
          <a:off x="1589" y="1589"/>
          <a:ext cx="158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12349" name="Slide do think-cell" r:id="rId12" imgW="0" imgH="0" progId="TCLayout.ActiveDocument.1">
                  <p:embed/>
                </p:oleObj>
              </mc:Choice>
              <mc:Fallback>
                <p:oleObj name="Slide do think-cell" r:id="rId12" imgW="0" imgH="0" progId="TCLayout.ActiveDocument.1">
                  <p:embed/>
                  <p:pic>
                    <p:nvPicPr>
                      <p:cNvPr id="0" name="AutoShape 60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9"/>
                        <a:ext cx="158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1978" y="358992"/>
            <a:ext cx="7338636" cy="102481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2420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1855245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2420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2420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56" tIns="46656" rIns="46656" bIns="46656" numCol="1" anchor="t" anchorCtr="0" compatLnSpc="1">
            <a:prstTxWarp prst="textNoShape">
              <a:avLst/>
            </a:prstTxWarp>
          </a:bodyPr>
          <a:lstStyle/>
          <a:p>
            <a:pPr defTabSz="59242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242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242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16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56" tIns="46656" rIns="46656" bIns="46656" numCol="1" anchor="t" anchorCtr="0" compatLnSpc="1">
            <a:prstTxWarp prst="textNoShape">
              <a:avLst/>
            </a:prstTxWarp>
          </a:bodyPr>
          <a:lstStyle/>
          <a:p>
            <a:pPr defTabSz="59242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242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242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56" tIns="46656" rIns="46656" bIns="46656" numCol="1" anchor="t" anchorCtr="0" compatLnSpc="1">
            <a:prstTxWarp prst="textNoShape">
              <a:avLst/>
            </a:prstTxWarp>
          </a:bodyPr>
          <a:lstStyle/>
          <a:p>
            <a:pPr defTabSz="59242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242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242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9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56" tIns="46656" rIns="46656" bIns="46656" numCol="1" anchor="t" anchorCtr="0" compatLnSpc="1">
            <a:prstTxWarp prst="textNoShape">
              <a:avLst/>
            </a:prstTxWarp>
          </a:bodyPr>
          <a:lstStyle/>
          <a:p>
            <a:pPr defTabSz="59242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242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242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Freeform 28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56" tIns="46656" rIns="46656" bIns="46656" numCol="1" anchor="t" anchorCtr="0" compatLnSpc="1">
            <a:prstTxWarp prst="textNoShape">
              <a:avLst/>
            </a:prstTxWarp>
          </a:bodyPr>
          <a:lstStyle/>
          <a:p>
            <a:pPr defTabSz="59242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242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242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56" tIns="46656" rIns="46656" bIns="46656" numCol="1" anchor="t" anchorCtr="0" compatLnSpc="1">
            <a:prstTxWarp prst="textNoShape">
              <a:avLst/>
            </a:prstTxWarp>
          </a:bodyPr>
          <a:lstStyle/>
          <a:p>
            <a:pPr defTabSz="59242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242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242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56" tIns="46656" rIns="46656" bIns="46656" numCol="1" anchor="t" anchorCtr="0" compatLnSpc="1">
            <a:prstTxWarp prst="textNoShape">
              <a:avLst/>
            </a:prstTxWarp>
          </a:bodyPr>
          <a:lstStyle/>
          <a:p>
            <a:pPr defTabSz="59242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242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242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2" name="TextBox 39"/>
          <p:cNvSpPr txBox="1"/>
          <p:nvPr userDrawn="1"/>
        </p:nvSpPr>
        <p:spPr>
          <a:xfrm>
            <a:off x="9223673" y="6781946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2420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510" tIns="59254" rIns="118510" bIns="59254" numCol="1" anchor="t" anchorCtr="0" compatLnSpc="1">
            <a:prstTxWarp prst="textNoShape">
              <a:avLst/>
            </a:prstTxWarp>
          </a:bodyPr>
          <a:lstStyle/>
          <a:p>
            <a:pPr defTabSz="59242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10" tIns="59254" rIns="118510" bIns="59254" numCol="1" anchor="t" anchorCtr="0" compatLnSpc="1">
            <a:prstTxWarp prst="textNoShape">
              <a:avLst/>
            </a:prstTxWarp>
          </a:bodyPr>
          <a:lstStyle/>
          <a:p>
            <a:pPr defTabSz="59242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10" tIns="59254" rIns="118510" bIns="59254" numCol="1" anchor="t" anchorCtr="0" compatLnSpc="1">
            <a:prstTxWarp prst="textNoShape">
              <a:avLst/>
            </a:prstTxWarp>
          </a:bodyPr>
          <a:lstStyle/>
          <a:p>
            <a:pPr defTabSz="59242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10" tIns="59254" rIns="118510" bIns="59254" numCol="1" anchor="t" anchorCtr="0" compatLnSpc="1">
            <a:prstTxWarp prst="textNoShape">
              <a:avLst/>
            </a:prstTxWarp>
          </a:bodyPr>
          <a:lstStyle/>
          <a:p>
            <a:pPr defTabSz="59242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510" tIns="59254" rIns="118510" bIns="59254" numCol="1" anchor="t" anchorCtr="0" compatLnSpc="1">
            <a:prstTxWarp prst="textNoShape">
              <a:avLst/>
            </a:prstTxWarp>
          </a:bodyPr>
          <a:lstStyle/>
          <a:p>
            <a:pPr defTabSz="59242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10" tIns="59254" rIns="118510" bIns="59254" numCol="1" anchor="t" anchorCtr="0" compatLnSpc="1">
            <a:prstTxWarp prst="textNoShape">
              <a:avLst/>
            </a:prstTxWarp>
          </a:bodyPr>
          <a:lstStyle/>
          <a:p>
            <a:pPr defTabSz="59242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10" tIns="59254" rIns="118510" bIns="59254" numCol="1" anchor="t" anchorCtr="0" compatLnSpc="1">
            <a:prstTxWarp prst="textNoShape">
              <a:avLst/>
            </a:prstTxWarp>
          </a:bodyPr>
          <a:lstStyle/>
          <a:p>
            <a:pPr defTabSz="59242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10" tIns="59254" rIns="118510" bIns="59254" numCol="1" anchor="t" anchorCtr="0" compatLnSpc="1">
            <a:prstTxWarp prst="textNoShape">
              <a:avLst/>
            </a:prstTxWarp>
          </a:bodyPr>
          <a:lstStyle/>
          <a:p>
            <a:pPr defTabSz="59242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510" tIns="59254" rIns="118510" bIns="59254" numCol="1" anchor="t" anchorCtr="0" compatLnSpc="1">
            <a:prstTxWarp prst="textNoShape">
              <a:avLst/>
            </a:prstTxWarp>
          </a:bodyPr>
          <a:lstStyle/>
          <a:p>
            <a:pPr defTabSz="59242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10" tIns="59254" rIns="118510" bIns="59254" numCol="1" anchor="t" anchorCtr="0" compatLnSpc="1">
            <a:prstTxWarp prst="textNoShape">
              <a:avLst/>
            </a:prstTxWarp>
          </a:bodyPr>
          <a:lstStyle/>
          <a:p>
            <a:pPr defTabSz="59242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3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10" tIns="59254" rIns="118510" bIns="59254" numCol="1" anchor="t" anchorCtr="0" compatLnSpc="1">
            <a:prstTxWarp prst="textNoShape">
              <a:avLst/>
            </a:prstTxWarp>
          </a:bodyPr>
          <a:lstStyle/>
          <a:p>
            <a:pPr defTabSz="59242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10" tIns="59254" rIns="118510" bIns="59254" numCol="1" anchor="t" anchorCtr="0" compatLnSpc="1">
            <a:prstTxWarp prst="textNoShape">
              <a:avLst/>
            </a:prstTxWarp>
          </a:bodyPr>
          <a:lstStyle/>
          <a:p>
            <a:pPr defTabSz="59242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30135346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40" r:id="rId1"/>
    <p:sldLayoutId id="2147483841" r:id="rId2"/>
    <p:sldLayoutId id="2147483842" r:id="rId3"/>
    <p:sldLayoutId id="2147483843" r:id="rId4"/>
    <p:sldLayoutId id="2147483844" r:id="rId5"/>
    <p:sldLayoutId id="2147483845" r:id="rId6"/>
    <p:sldLayoutId id="2147483846" r:id="rId7"/>
    <p:sldLayoutId id="2147483847" r:id="rId8"/>
  </p:sldLayoutIdLst>
  <p:hf sldNum="0" hdr="0" ftr="0" dt="0"/>
  <p:txStyles>
    <p:titleStyle>
      <a:lvl1pPr algn="l" defTabSz="592420" rtl="0" eaLnBrk="1" latinLnBrk="0" hangingPunct="1">
        <a:lnSpc>
          <a:spcPts val="5486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A037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8623" indent="-238623" algn="l" defTabSz="592420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3131" indent="-228333" algn="l" defTabSz="592420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3131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1467" indent="-228333" algn="l" defTabSz="592420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1467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29805" indent="-228333" algn="l" defTabSz="592420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29805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58128" indent="-228333" algn="l" defTabSz="592420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58128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58450" indent="-296204" algn="l" defTabSz="592420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50891" indent="-296204" algn="l" defTabSz="592420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43335" indent="-296204" algn="l" defTabSz="592420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35777" indent="-296204" algn="l" defTabSz="592420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242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2420" algn="l" defTabSz="59242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4889" algn="l" defTabSz="59242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77342" algn="l" defTabSz="59242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69785" algn="l" defTabSz="59242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62227" algn="l" defTabSz="59242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54668" algn="l" defTabSz="59242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47117" algn="l" defTabSz="59242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39564" algn="l" defTabSz="59242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15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3265435696"/>
              </p:ext>
            </p:extLst>
          </p:nvPr>
        </p:nvGraphicFramePr>
        <p:xfrm>
          <a:off x="2077" y="2077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82228" name="Slide do think-cell" r:id="rId12" imgW="0" imgH="0" progId="TCLayout.ActiveDocument.1">
                  <p:embed/>
                </p:oleObj>
              </mc:Choice>
              <mc:Fallback>
                <p:oleObj name="Slide do think-cell" r:id="rId12" imgW="0" imgH="0" progId="TCLayout.ActiveDocument.1">
                  <p:embed/>
                  <p:pic>
                    <p:nvPicPr>
                      <p:cNvPr id="0" name="AutoShape 21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77" y="2077"/>
                        <a:ext cx="2074" cy="20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1978" y="358989"/>
            <a:ext cx="7338636" cy="102481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1855241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65" tIns="46665" rIns="46665" bIns="46665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16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65" tIns="46665" rIns="46665" bIns="46665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65" tIns="46665" rIns="46665" bIns="46665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9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65" tIns="46665" rIns="46665" bIns="46665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Freeform 28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65" tIns="46665" rIns="46665" bIns="46665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65" tIns="46665" rIns="46665" bIns="46665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25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25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65" tIns="46665" rIns="46665" bIns="46665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2" name="TextBox 39"/>
          <p:cNvSpPr txBox="1"/>
          <p:nvPr userDrawn="1"/>
        </p:nvSpPr>
        <p:spPr>
          <a:xfrm>
            <a:off x="9223673" y="6781945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2554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535" tIns="59268" rIns="118535" bIns="59268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35" tIns="59268" rIns="118535" bIns="59268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35" tIns="59268" rIns="118535" bIns="59268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35" tIns="59268" rIns="118535" bIns="59268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535" tIns="59268" rIns="118535" bIns="59268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35" tIns="59268" rIns="118535" bIns="59268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35" tIns="59268" rIns="118535" bIns="59268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35" tIns="59268" rIns="118535" bIns="59268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535" tIns="59268" rIns="118535" bIns="59268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35" tIns="59268" rIns="118535" bIns="59268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3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35" tIns="59268" rIns="118535" bIns="59268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35" tIns="59268" rIns="118535" bIns="59268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3568351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260" r:id="rId1"/>
    <p:sldLayoutId id="2147485261" r:id="rId2"/>
    <p:sldLayoutId id="2147485262" r:id="rId3"/>
    <p:sldLayoutId id="2147485263" r:id="rId4"/>
    <p:sldLayoutId id="2147485264" r:id="rId5"/>
    <p:sldLayoutId id="2147485265" r:id="rId6"/>
    <p:sldLayoutId id="2147485266" r:id="rId7"/>
    <p:sldLayoutId id="2147485267" r:id="rId8"/>
  </p:sldLayoutIdLst>
  <p:hf hdr="0" dt="0"/>
  <p:txStyles>
    <p:titleStyle>
      <a:lvl1pPr algn="l" defTabSz="592554" rtl="0" eaLnBrk="1" latinLnBrk="0" hangingPunct="1">
        <a:lnSpc>
          <a:spcPts val="5486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A037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8677" indent="-238677" algn="l" defTabSz="5925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3238" indent="-228385" algn="l" defTabSz="5925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3238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1625" indent="-228385" algn="l" defTabSz="5925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1625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0018" indent="-228385" algn="l" defTabSz="5925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0018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58392" indent="-228385" algn="l" defTabSz="5925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58392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59186" indent="-296272" algn="l" defTabSz="592554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51764" indent="-296272" algn="l" defTabSz="592554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44340" indent="-296272" algn="l" defTabSz="592554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36920" indent="-296272" algn="l" defTabSz="592554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25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2554" algn="l" defTabSz="5925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5157" algn="l" defTabSz="5925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77743" algn="l" defTabSz="5925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0321" algn="l" defTabSz="5925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62900" algn="l" defTabSz="5925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55473" algn="l" defTabSz="5925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48054" algn="l" defTabSz="5925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40637" algn="l" defTabSz="5925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15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2989934734"/>
              </p:ext>
            </p:extLst>
          </p:nvPr>
        </p:nvGraphicFramePr>
        <p:xfrm>
          <a:off x="2077" y="2077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84268" name="Slide do think-cell" r:id="rId12" imgW="0" imgH="0" progId="TCLayout.ActiveDocument.1">
                  <p:embed/>
                </p:oleObj>
              </mc:Choice>
              <mc:Fallback>
                <p:oleObj name="Slide do think-cell" r:id="rId12" imgW="0" imgH="0" progId="TCLayout.ActiveDocument.1">
                  <p:embed/>
                  <p:pic>
                    <p:nvPicPr>
                      <p:cNvPr id="0" name="AutoShape 20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77" y="2077"/>
                        <a:ext cx="2074" cy="20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1978" y="358997"/>
            <a:ext cx="7338636" cy="102481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1855249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34" tIns="46634" rIns="46634" bIns="46634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16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34" tIns="46634" rIns="46634" bIns="46634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34" tIns="46634" rIns="46634" bIns="46634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9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34" tIns="46634" rIns="46634" bIns="46634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Freeform 28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34" tIns="46634" rIns="46634" bIns="46634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34" tIns="46634" rIns="46634" bIns="46634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34" tIns="46634" rIns="46634" bIns="46634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2" name="TextBox 39"/>
          <p:cNvSpPr txBox="1"/>
          <p:nvPr userDrawn="1"/>
        </p:nvSpPr>
        <p:spPr>
          <a:xfrm>
            <a:off x="9223673" y="6781953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2149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3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8635972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270" r:id="rId1"/>
    <p:sldLayoutId id="2147485271" r:id="rId2"/>
    <p:sldLayoutId id="2147485272" r:id="rId3"/>
    <p:sldLayoutId id="2147485273" r:id="rId4"/>
    <p:sldLayoutId id="2147485274" r:id="rId5"/>
    <p:sldLayoutId id="2147485275" r:id="rId6"/>
    <p:sldLayoutId id="2147485276" r:id="rId7"/>
    <p:sldLayoutId id="2147485277" r:id="rId8"/>
  </p:sldLayoutIdLst>
  <p:hf hdr="0" dt="0"/>
  <p:txStyles>
    <p:titleStyle>
      <a:lvl1pPr algn="l" defTabSz="592149" rtl="0" eaLnBrk="1" latinLnBrk="0" hangingPunct="1">
        <a:lnSpc>
          <a:spcPts val="5486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A037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8518" indent="-238518" algn="l" defTabSz="59214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2916" indent="-228231" algn="l" defTabSz="59214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2916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1150" indent="-228231" algn="l" defTabSz="59214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1150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29386" indent="-228231" algn="l" defTabSz="59214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29386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57600" indent="-228231" algn="l" defTabSz="59214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57600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56977" indent="-296068" algn="l" defTabSz="592149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49145" indent="-296068" algn="l" defTabSz="592149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41324" indent="-296068" algn="l" defTabSz="592149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33500" indent="-296068" algn="l" defTabSz="592149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2149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4352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76537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68711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60888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53058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45240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37417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15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82" y="1854691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2041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81813" y="1855210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90" tIns="46790" rIns="46790" bIns="46790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90" tIns="46790" rIns="46790" bIns="46790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90" tIns="46790" rIns="46790" bIns="46790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90" tIns="46790" rIns="46790" bIns="46790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90" tIns="46790" rIns="46790" bIns="46790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90" tIns="46790" rIns="46790" bIns="46790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417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417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90" tIns="46790" rIns="46790" bIns="46790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9223673" y="6781912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4177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51" tIns="59426" rIns="118851" bIns="59426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51" tIns="59426" rIns="118851" bIns="59426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51" tIns="59426" rIns="118851" bIns="59426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51" tIns="59426" rIns="118851" bIns="59426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51" tIns="59426" rIns="118851" bIns="59426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51" tIns="59426" rIns="118851" bIns="59426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51" tIns="59426" rIns="118851" bIns="59426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51" tIns="59426" rIns="118851" bIns="59426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51" tIns="59426" rIns="118851" bIns="59426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51" tIns="59426" rIns="118851" bIns="59426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51" tIns="59426" rIns="118851" bIns="59426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51" tIns="59426" rIns="118851" bIns="59426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9388784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280" r:id="rId1"/>
    <p:sldLayoutId id="2147485281" r:id="rId2"/>
    <p:sldLayoutId id="2147485282" r:id="rId3"/>
    <p:sldLayoutId id="2147485283" r:id="rId4"/>
    <p:sldLayoutId id="2147485284" r:id="rId5"/>
    <p:sldLayoutId id="2147485285" r:id="rId6"/>
    <p:sldLayoutId id="2147485286" r:id="rId7"/>
    <p:sldLayoutId id="2147485287" r:id="rId8"/>
    <p:sldLayoutId id="2147485288" r:id="rId9"/>
    <p:sldLayoutId id="2147485289" r:id="rId10"/>
  </p:sldLayoutIdLst>
  <p:hf sldNum="0" hdr="0" ftr="0" dt="0"/>
  <p:txStyles>
    <p:titleStyle>
      <a:lvl1pPr algn="l" defTabSz="594177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327" indent="-239327" algn="l" defTabSz="59417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4524" indent="-229007" algn="l" defTabSz="59417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4524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3535" indent="-229007" algn="l" defTabSz="59417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3535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2550" indent="-229007" algn="l" defTabSz="59417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2550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1554" indent="-229007" algn="l" defTabSz="59417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1554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68054" indent="-297085" algn="l" defTabSz="59417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62237" indent="-297085" algn="l" defTabSz="59417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56426" indent="-297085" algn="l" defTabSz="59417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50618" indent="-297085" algn="l" defTabSz="59417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41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4177" algn="l" defTabSz="5941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8384" algn="l" defTabSz="5941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2577" algn="l" defTabSz="5941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6763" algn="l" defTabSz="5941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70960" algn="l" defTabSz="5941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65145" algn="l" defTabSz="5941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59333" algn="l" defTabSz="5941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53524" algn="l" defTabSz="5941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15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1978" y="358962"/>
            <a:ext cx="7338636" cy="102481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1855214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75" tIns="46775" rIns="46775" bIns="46775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16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75" tIns="46775" rIns="46775" bIns="46775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75" tIns="46775" rIns="46775" bIns="46775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9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75" tIns="46775" rIns="46775" bIns="46775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Freeform 28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75" tIns="46775" rIns="46775" bIns="46775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75" tIns="46775" rIns="46775" bIns="46775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75" tIns="46775" rIns="46775" bIns="46775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2" name="TextBox 39"/>
          <p:cNvSpPr txBox="1"/>
          <p:nvPr userDrawn="1"/>
        </p:nvSpPr>
        <p:spPr>
          <a:xfrm>
            <a:off x="9223673" y="6781916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3972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3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7505236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291" r:id="rId1"/>
    <p:sldLayoutId id="2147485292" r:id="rId2"/>
    <p:sldLayoutId id="2147485293" r:id="rId3"/>
    <p:sldLayoutId id="2147485294" r:id="rId4"/>
    <p:sldLayoutId id="2147485295" r:id="rId5"/>
    <p:sldLayoutId id="2147485296" r:id="rId6"/>
    <p:sldLayoutId id="2147485297" r:id="rId7"/>
    <p:sldLayoutId id="2147485298" r:id="rId8"/>
  </p:sldLayoutIdLst>
  <p:hf sldNum="0" hdr="0" ftr="0" dt="0"/>
  <p:txStyles>
    <p:titleStyle>
      <a:lvl1pPr algn="l" defTabSz="593972" rtl="0" eaLnBrk="1" latinLnBrk="0" hangingPunct="1">
        <a:lnSpc>
          <a:spcPts val="5486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A037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246" indent="-239246" algn="l" defTabSz="593972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4363" indent="-228927" algn="l" defTabSz="593972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4363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3296" indent="-228927" algn="l" defTabSz="593972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3296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2232" indent="-228927" algn="l" defTabSz="593972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2232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1158" indent="-228927" algn="l" defTabSz="593972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1158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66945" indent="-296983" algn="l" defTabSz="593972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60927" indent="-296983" algn="l" defTabSz="593972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54913" indent="-296983" algn="l" defTabSz="593972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48906" indent="-296983" algn="l" defTabSz="593972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3972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7980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1972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5954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69951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63935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57922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51913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15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82" y="1854691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2041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81813" y="1855210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90" tIns="46790" rIns="46790" bIns="46790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90" tIns="46790" rIns="46790" bIns="46790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90" tIns="46790" rIns="46790" bIns="46790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90" tIns="46790" rIns="46790" bIns="46790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90" tIns="46790" rIns="46790" bIns="46790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90" tIns="46790" rIns="46790" bIns="46790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417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417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90" tIns="46790" rIns="46790" bIns="46790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9223673" y="6781912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4177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51" tIns="59426" rIns="118851" bIns="59426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51" tIns="59426" rIns="118851" bIns="59426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51" tIns="59426" rIns="118851" bIns="59426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51" tIns="59426" rIns="118851" bIns="59426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51" tIns="59426" rIns="118851" bIns="59426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51" tIns="59426" rIns="118851" bIns="59426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51" tIns="59426" rIns="118851" bIns="59426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51" tIns="59426" rIns="118851" bIns="59426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51" tIns="59426" rIns="118851" bIns="59426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51" tIns="59426" rIns="118851" bIns="59426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51" tIns="59426" rIns="118851" bIns="59426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51" tIns="59426" rIns="118851" bIns="59426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8953874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301" r:id="rId1"/>
    <p:sldLayoutId id="2147485302" r:id="rId2"/>
    <p:sldLayoutId id="2147485303" r:id="rId3"/>
    <p:sldLayoutId id="2147485304" r:id="rId4"/>
    <p:sldLayoutId id="2147485305" r:id="rId5"/>
    <p:sldLayoutId id="2147485306" r:id="rId6"/>
    <p:sldLayoutId id="2147485307" r:id="rId7"/>
    <p:sldLayoutId id="2147485308" r:id="rId8"/>
    <p:sldLayoutId id="2147485309" r:id="rId9"/>
    <p:sldLayoutId id="2147485310" r:id="rId10"/>
  </p:sldLayoutIdLst>
  <p:hf sldNum="0" hdr="0" ftr="0" dt="0"/>
  <p:txStyles>
    <p:titleStyle>
      <a:lvl1pPr algn="l" defTabSz="594177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327" indent="-239327" algn="l" defTabSz="59417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4524" indent="-229007" algn="l" defTabSz="59417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4524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3535" indent="-229007" algn="l" defTabSz="59417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3535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2550" indent="-229007" algn="l" defTabSz="59417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2550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1554" indent="-229007" algn="l" defTabSz="59417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1554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68054" indent="-297085" algn="l" defTabSz="59417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62237" indent="-297085" algn="l" defTabSz="59417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56426" indent="-297085" algn="l" defTabSz="59417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50618" indent="-297085" algn="l" defTabSz="59417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41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4177" algn="l" defTabSz="5941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8384" algn="l" defTabSz="5941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2577" algn="l" defTabSz="5941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6763" algn="l" defTabSz="5941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70960" algn="l" defTabSz="5941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65145" algn="l" defTabSz="5941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59333" algn="l" defTabSz="5941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53524" algn="l" defTabSz="5941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15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2785636077"/>
              </p:ext>
            </p:extLst>
          </p:nvPr>
        </p:nvGraphicFramePr>
        <p:xfrm>
          <a:off x="1" y="2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90397" name="Slide do think-cell" r:id="rId13" imgW="0" imgH="0" progId="TCLayout.ActiveDocument.1">
                  <p:embed/>
                </p:oleObj>
              </mc:Choice>
              <mc:Fallback>
                <p:oleObj name="Slide do think-cell" r:id="rId13" imgW="0" imgH="0" progId="TCLayout.ActiveDocument.1">
                  <p:embed/>
                  <p:pic>
                    <p:nvPicPr>
                      <p:cNvPr id="0" name="AutoShape 19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2"/>
                        <a:ext cx="211676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10776432" y="36518"/>
            <a:ext cx="876339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88028"/>
            <a:endParaRPr lang="pt-BR" sz="8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10519874" y="1932900"/>
            <a:ext cx="267220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10682583" y="4106726"/>
            <a:ext cx="234679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936841" y="1951039"/>
            <a:ext cx="5736421" cy="11060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ext styles</a:t>
            </a:r>
          </a:p>
          <a:p>
            <a:pPr lvl="1"/>
            <a:r>
              <a:rPr lang="pt-BR" noProof="0" smtClean="0"/>
              <a:t>Second level</a:t>
            </a:r>
          </a:p>
          <a:p>
            <a:pPr lvl="2"/>
            <a:r>
              <a:rPr lang="pt-BR" noProof="0" smtClean="0"/>
              <a:t>Third level</a:t>
            </a:r>
          </a:p>
          <a:p>
            <a:pPr lvl="3"/>
            <a:r>
              <a:rPr lang="pt-BR" noProof="0" smtClean="0"/>
              <a:t>Fourth level</a:t>
            </a:r>
          </a:p>
          <a:p>
            <a:pPr lvl="4"/>
            <a:r>
              <a:rPr lang="pt-BR" noProof="0" smtClean="0"/>
              <a:t>Fifth level</a:t>
            </a:r>
            <a:endParaRPr lang="pt-BR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211676" y="230280"/>
            <a:ext cx="10530036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58852" y="26992"/>
            <a:ext cx="886083" cy="2212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pt-BR" sz="1400" smtClean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TRACKER</a:t>
            </a:r>
            <a:endParaRPr lang="pt-BR" sz="1400" dirty="0">
              <a:solidFill>
                <a:srgbClr val="80808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58875" y="621826"/>
            <a:ext cx="11491891" cy="281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pt-BR" sz="1800" smtClean="0">
                <a:solidFill>
                  <a:srgbClr val="D5E7FF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Unit of measure</a:t>
            </a:r>
            <a:endParaRPr lang="pt-BR" sz="1800" dirty="0" smtClean="0">
              <a:solidFill>
                <a:srgbClr val="D5E7FF">
                  <a:lumMod val="75000"/>
                </a:srgbClr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158761" y="6265675"/>
            <a:ext cx="11398753" cy="358776"/>
            <a:chOff x="75" y="3877"/>
            <a:chExt cx="5385" cy="226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877"/>
              <a:ext cx="5385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pt-BR" sz="100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1 Footnote</a:t>
              </a:r>
              <a:endParaRPr lang="pt-BR" sz="1000" dirty="0" smtClean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06"/>
              <a:ext cx="4323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t" anchorCtr="0">
              <a:spAutoFit/>
            </a:bodyPr>
            <a:lstStyle/>
            <a:p>
              <a:pPr marL="604644" indent="-604644" defTabSz="888028">
                <a:tabLst>
                  <a:tab pos="607774" algn="l"/>
                </a:tabLst>
              </a:pPr>
              <a:r>
                <a:rPr lang="pt-BR" sz="1000" dirty="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FONTE: </a:t>
              </a:r>
              <a:r>
                <a:rPr lang="pt-BR" sz="1000" dirty="0" err="1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ource</a:t>
              </a:r>
              <a:endParaRPr lang="pt-BR" sz="1000" dirty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936840" y="1123953"/>
            <a:ext cx="5685618" cy="511174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 hidden="1"/>
            <p:cNvSpPr>
              <a:spLocks noChangeArrowheads="1"/>
            </p:cNvSpPr>
            <p:nvPr/>
          </p:nvSpPr>
          <p:spPr bwMode="auto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pt-BR" b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itle</a:t>
              </a:r>
            </a:p>
            <a:p>
              <a:r>
                <a:rPr lang="pt-BR" smtClean="0">
                  <a:solidFill>
                    <a:srgbClr val="80808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Unit of measure</a:t>
              </a:r>
              <a:endParaRPr lang="pt-BR" dirty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28" name="Group 27"/>
          <p:cNvGrpSpPr/>
          <p:nvPr userDrawn="1"/>
        </p:nvGrpSpPr>
        <p:grpSpPr>
          <a:xfrm>
            <a:off x="11335740" y="60963"/>
            <a:ext cx="613376" cy="655256"/>
            <a:chOff x="5526523" y="2325890"/>
            <a:chExt cx="3423032" cy="3656747"/>
          </a:xfrm>
        </p:grpSpPr>
        <p:sp>
          <p:nvSpPr>
            <p:cNvPr id="29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30" name="Group 29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31" name="Donut 30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2" name="Oval 31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3" name="Oval 32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59150351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313" r:id="rId1"/>
    <p:sldLayoutId id="2147485314" r:id="rId2"/>
    <p:sldLayoutId id="2147485315" r:id="rId3"/>
    <p:sldLayoutId id="2147485316" r:id="rId4"/>
    <p:sldLayoutId id="2147485317" r:id="rId5"/>
    <p:sldLayoutId id="2147485318" r:id="rId6"/>
    <p:sldLayoutId id="2147485319" r:id="rId7"/>
    <p:sldLayoutId id="2147485320" r:id="rId8"/>
    <p:sldLayoutId id="2147485321" r:id="rId9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defTabSz="888028" rtl="0" eaLnBrk="1" fontAlgn="base" hangingPunct="1">
        <a:spcBef>
          <a:spcPct val="0"/>
        </a:spcBef>
        <a:spcAft>
          <a:spcPct val="0"/>
        </a:spcAft>
        <a:tabLst>
          <a:tab pos="267688" algn="l"/>
        </a:tabLst>
        <a:defRPr lang="en-US" sz="2000" b="1" baseline="0" noProof="0" dirty="0" smtClean="0">
          <a:solidFill>
            <a:schemeClr val="accent4"/>
          </a:solidFill>
          <a:latin typeface="Arial" panose="020B0604020202020204" pitchFamily="34" charset="0"/>
          <a:ea typeface="+mj-ea"/>
          <a:cs typeface="Arial" panose="020B0604020202020204" pitchFamily="34" charset="0"/>
          <a:sym typeface="Arial" panose="020B0604020202020204" pitchFamily="34" charset="0"/>
        </a:defRPr>
      </a:lvl1pPr>
      <a:lvl2pPr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2pPr>
      <a:lvl3pPr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3pPr>
      <a:lvl4pPr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4pPr>
      <a:lvl5pPr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5pPr>
      <a:lvl6pPr marL="453493"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6pPr>
      <a:lvl7pPr marL="906935"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7pPr>
      <a:lvl8pPr marL="1360390"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8pPr>
      <a:lvl9pPr marL="1813863"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88028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400" baseline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1pPr>
      <a:lvl2pPr marL="192114" indent="-192114" algn="l" defTabSz="888028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15000"/>
        <a:buFont typeface="Simplon BP Regular" pitchFamily="2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2pPr>
      <a:lvl3pPr marL="453493" indent="-259777" algn="l" defTabSz="888028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charset="0"/>
        <a:buChar char="–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3pPr>
      <a:lvl4pPr marL="609346" indent="-154337" algn="l" defTabSz="888028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pitchFamily="34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4pPr>
      <a:lvl5pPr marL="743666" indent="-129115" algn="l" defTabSz="888028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89000"/>
        <a:buFont typeface="Arial" charset="0"/>
        <a:buChar char="-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5pPr>
      <a:lvl6pPr marL="743666" indent="-129115" algn="l" defTabSz="88802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3666" indent="-129115" algn="l" defTabSz="88802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3666" indent="-129115" algn="l" defTabSz="88802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3666" indent="-129115" algn="l" defTabSz="88802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3493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06935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0390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13863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67322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20778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74250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27718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5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3776349509"/>
              </p:ext>
            </p:extLst>
          </p:nvPr>
        </p:nvGraphicFramePr>
        <p:xfrm>
          <a:off x="1" y="2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94493" name="Slide do think-cell" r:id="rId14" imgW="0" imgH="0" progId="TCLayout.ActiveDocument.1">
                  <p:embed/>
                </p:oleObj>
              </mc:Choice>
              <mc:Fallback>
                <p:oleObj name="Slide do think-cell" r:id="rId14" imgW="0" imgH="0" progId="TCLayout.ActiveDocument.1">
                  <p:embed/>
                  <p:pic>
                    <p:nvPicPr>
                      <p:cNvPr id="0" name="AutoShape 19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2"/>
                        <a:ext cx="211676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10776432" y="36518"/>
            <a:ext cx="876339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87726"/>
            <a:endParaRPr lang="pt-BR" sz="8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10519874" y="1932900"/>
            <a:ext cx="267220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10682583" y="4106726"/>
            <a:ext cx="234679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936841" y="1951039"/>
            <a:ext cx="5736421" cy="11060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ext styles</a:t>
            </a:r>
          </a:p>
          <a:p>
            <a:pPr lvl="1"/>
            <a:r>
              <a:rPr lang="pt-BR" noProof="0" smtClean="0"/>
              <a:t>Second level</a:t>
            </a:r>
          </a:p>
          <a:p>
            <a:pPr lvl="2"/>
            <a:r>
              <a:rPr lang="pt-BR" noProof="0" smtClean="0"/>
              <a:t>Third level</a:t>
            </a:r>
          </a:p>
          <a:p>
            <a:pPr lvl="3"/>
            <a:r>
              <a:rPr lang="pt-BR" noProof="0" smtClean="0"/>
              <a:t>Fourth level</a:t>
            </a:r>
          </a:p>
          <a:p>
            <a:pPr lvl="4"/>
            <a:r>
              <a:rPr lang="pt-BR" noProof="0" smtClean="0"/>
              <a:t>Fifth level</a:t>
            </a:r>
            <a:endParaRPr lang="pt-BR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211676" y="230284"/>
            <a:ext cx="10530036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58857" y="26992"/>
            <a:ext cx="886083" cy="2212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pt-BR" sz="1400" smtClean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TRACKER</a:t>
            </a:r>
            <a:endParaRPr lang="pt-BR" sz="1400" dirty="0">
              <a:solidFill>
                <a:srgbClr val="80808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58879" y="621826"/>
            <a:ext cx="11491891" cy="281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pt-BR" sz="1800" smtClean="0">
                <a:solidFill>
                  <a:srgbClr val="D5E7FF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Unit of measure</a:t>
            </a:r>
            <a:endParaRPr lang="pt-BR" sz="1800" dirty="0" smtClean="0">
              <a:solidFill>
                <a:srgbClr val="D5E7FF">
                  <a:lumMod val="75000"/>
                </a:srgbClr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158761" y="6265638"/>
            <a:ext cx="11398753" cy="358776"/>
            <a:chOff x="75" y="3877"/>
            <a:chExt cx="5385" cy="226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877"/>
              <a:ext cx="5385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pt-BR" sz="100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1 Footnote</a:t>
              </a:r>
              <a:endParaRPr lang="pt-BR" sz="1000" dirty="0" smtClean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06"/>
              <a:ext cx="4323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t" anchorCtr="0">
              <a:spAutoFit/>
            </a:bodyPr>
            <a:lstStyle/>
            <a:p>
              <a:pPr marL="604440" indent="-604440" defTabSz="887726">
                <a:tabLst>
                  <a:tab pos="607566" algn="l"/>
                </a:tabLst>
              </a:pPr>
              <a:r>
                <a:rPr lang="pt-BR" sz="1000" dirty="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FONTE: </a:t>
              </a:r>
              <a:r>
                <a:rPr lang="pt-BR" sz="1000" dirty="0" err="1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ource</a:t>
              </a:r>
              <a:endParaRPr lang="pt-BR" sz="1000" dirty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936840" y="1123953"/>
            <a:ext cx="5685618" cy="511174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 hidden="1"/>
            <p:cNvSpPr>
              <a:spLocks noChangeArrowheads="1"/>
            </p:cNvSpPr>
            <p:nvPr/>
          </p:nvSpPr>
          <p:spPr bwMode="auto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pt-BR" b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itle</a:t>
              </a:r>
            </a:p>
            <a:p>
              <a:r>
                <a:rPr lang="pt-BR" smtClean="0">
                  <a:solidFill>
                    <a:srgbClr val="80808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Unit of measure</a:t>
              </a:r>
              <a:endParaRPr lang="pt-BR" dirty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28" name="Group 27"/>
          <p:cNvGrpSpPr/>
          <p:nvPr userDrawn="1"/>
        </p:nvGrpSpPr>
        <p:grpSpPr>
          <a:xfrm>
            <a:off x="11335740" y="60963"/>
            <a:ext cx="613376" cy="655256"/>
            <a:chOff x="5526523" y="2325890"/>
            <a:chExt cx="3423032" cy="3656747"/>
          </a:xfrm>
        </p:grpSpPr>
        <p:sp>
          <p:nvSpPr>
            <p:cNvPr id="29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30" name="Group 29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31" name="Donut 30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2" name="Oval 31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3" name="Oval 32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8022869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324" r:id="rId1"/>
    <p:sldLayoutId id="2147485325" r:id="rId2"/>
    <p:sldLayoutId id="2147485326" r:id="rId3"/>
    <p:sldLayoutId id="2147485327" r:id="rId4"/>
    <p:sldLayoutId id="2147485328" r:id="rId5"/>
    <p:sldLayoutId id="2147485329" r:id="rId6"/>
    <p:sldLayoutId id="2147485330" r:id="rId7"/>
    <p:sldLayoutId id="2147485331" r:id="rId8"/>
    <p:sldLayoutId id="2147485332" r:id="rId9"/>
    <p:sldLayoutId id="2147485333" r:id="rId10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defTabSz="887726" rtl="0" eaLnBrk="1" fontAlgn="base" hangingPunct="1">
        <a:spcBef>
          <a:spcPct val="0"/>
        </a:spcBef>
        <a:spcAft>
          <a:spcPct val="0"/>
        </a:spcAft>
        <a:tabLst>
          <a:tab pos="267599" algn="l"/>
        </a:tabLst>
        <a:defRPr lang="en-US" sz="2000" b="1" baseline="0" noProof="0" dirty="0" smtClean="0">
          <a:solidFill>
            <a:schemeClr val="accent4"/>
          </a:solidFill>
          <a:latin typeface="Arial" panose="020B0604020202020204" pitchFamily="34" charset="0"/>
          <a:ea typeface="+mj-ea"/>
          <a:cs typeface="Arial" panose="020B0604020202020204" pitchFamily="34" charset="0"/>
          <a:sym typeface="Arial" panose="020B0604020202020204" pitchFamily="34" charset="0"/>
        </a:defRPr>
      </a:lvl1pPr>
      <a:lvl2pPr algn="l" defTabSz="887726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2pPr>
      <a:lvl3pPr algn="l" defTabSz="887726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3pPr>
      <a:lvl4pPr algn="l" defTabSz="887726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4pPr>
      <a:lvl5pPr algn="l" defTabSz="887726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5pPr>
      <a:lvl6pPr marL="453340" algn="l" defTabSz="887726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6pPr>
      <a:lvl7pPr marL="906629" algn="l" defTabSz="887726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7pPr>
      <a:lvl8pPr marL="1359927" algn="l" defTabSz="887726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8pPr>
      <a:lvl9pPr marL="1813245" algn="l" defTabSz="887726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87726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400" baseline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1pPr>
      <a:lvl2pPr marL="192050" indent="-192050" algn="l" defTabSz="887726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15000"/>
        <a:buFont typeface="Simplon BP Regular" pitchFamily="2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2pPr>
      <a:lvl3pPr marL="453340" indent="-259687" algn="l" defTabSz="887726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charset="0"/>
        <a:buChar char="–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3pPr>
      <a:lvl4pPr marL="609138" indent="-154286" algn="l" defTabSz="887726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pitchFamily="34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4pPr>
      <a:lvl5pPr marL="743414" indent="-129072" algn="l" defTabSz="887726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89000"/>
        <a:buFont typeface="Arial" charset="0"/>
        <a:buChar char="-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5pPr>
      <a:lvl6pPr marL="743414" indent="-129072" algn="l" defTabSz="8877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3414" indent="-129072" algn="l" defTabSz="8877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3414" indent="-129072" algn="l" defTabSz="8877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3414" indent="-129072" algn="l" defTabSz="8877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066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3340" algn="l" defTabSz="9066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06629" algn="l" defTabSz="9066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59927" algn="l" defTabSz="9066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13245" algn="l" defTabSz="9066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66555" algn="l" defTabSz="9066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19859" algn="l" defTabSz="9066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73172" algn="l" defTabSz="9066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26486" algn="l" defTabSz="9066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5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78" y="1854632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Click to edit Master text styles</a:t>
            </a:r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Second level</a:t>
            </a:r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Third level</a:t>
            </a:r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Fourth level</a:t>
            </a:r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Fifth 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1982" y="358900"/>
            <a:ext cx="10725159" cy="102481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lvl="0">
              <a:lnSpc>
                <a:spcPct val="100000"/>
              </a:lnSpc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4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7459" y="6371922"/>
            <a:ext cx="10176095" cy="282263"/>
          </a:xfrm>
          <a:prstGeom prst="rect">
            <a:avLst/>
          </a:prstGeom>
        </p:spPr>
        <p:txBody>
          <a:bodyPr vert="horz" lIns="119434" tIns="59716" rIns="119434" bIns="59716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4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3552" y="6371922"/>
            <a:ext cx="578105" cy="282263"/>
          </a:xfrm>
          <a:prstGeom prst="rect">
            <a:avLst/>
          </a:prstGeom>
        </p:spPr>
        <p:txBody>
          <a:bodyPr vert="horz" lIns="119434" tIns="59716" rIns="119434" bIns="59716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fld id="{74850952-3374-434C-8FC6-DE28F8CD25B0}" type="slidenum">
              <a:rPr lang="pt-BR" smtClean="0">
                <a:solidFill>
                  <a:srgbClr val="5F5F5F"/>
                </a:solidFill>
              </a:rPr>
              <a:pPr defTabSz="597158" fontAlgn="auto">
                <a:spcBef>
                  <a:spcPts val="0"/>
                </a:spcBef>
                <a:spcAft>
                  <a:spcPts val="0"/>
                </a:spcAft>
              </a:pPr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47" name="TextBox 46"/>
          <p:cNvSpPr txBox="1"/>
          <p:nvPr userDrawn="1"/>
        </p:nvSpPr>
        <p:spPr>
          <a:xfrm>
            <a:off x="-281813" y="7363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715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Oi 42pt</a:t>
            </a:r>
          </a:p>
        </p:txBody>
      </p:sp>
      <p:sp>
        <p:nvSpPr>
          <p:cNvPr id="48" name="TextBox 47"/>
          <p:cNvSpPr txBox="1"/>
          <p:nvPr userDrawn="1"/>
        </p:nvSpPr>
        <p:spPr>
          <a:xfrm>
            <a:off x="-281813" y="1855154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715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49" name="TextBox 48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50" name="Freeform 5"/>
          <p:cNvSpPr>
            <a:spLocks/>
          </p:cNvSpPr>
          <p:nvPr userDrawn="1"/>
        </p:nvSpPr>
        <p:spPr bwMode="auto">
          <a:xfrm>
            <a:off x="11944818" y="3078502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20" tIns="47020" rIns="47020" bIns="47020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51" name="Freeform 50"/>
          <p:cNvSpPr>
            <a:spLocks/>
          </p:cNvSpPr>
          <p:nvPr userDrawn="1"/>
        </p:nvSpPr>
        <p:spPr bwMode="auto">
          <a:xfrm>
            <a:off x="11944818" y="2513906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20" tIns="47020" rIns="47020" bIns="47020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4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52" name="Freeform 5"/>
          <p:cNvSpPr>
            <a:spLocks/>
          </p:cNvSpPr>
          <p:nvPr userDrawn="1"/>
        </p:nvSpPr>
        <p:spPr bwMode="auto">
          <a:xfrm>
            <a:off x="11944818" y="1949310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20" tIns="47020" rIns="47020" bIns="47020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9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53" name="Freeform 5"/>
          <p:cNvSpPr>
            <a:spLocks/>
          </p:cNvSpPr>
          <p:nvPr userDrawn="1"/>
        </p:nvSpPr>
        <p:spPr bwMode="auto">
          <a:xfrm>
            <a:off x="11944818" y="1384714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20" tIns="47020" rIns="47020" bIns="47020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0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54" name="Freeform 53"/>
          <p:cNvSpPr>
            <a:spLocks/>
          </p:cNvSpPr>
          <p:nvPr userDrawn="1"/>
        </p:nvSpPr>
        <p:spPr bwMode="auto">
          <a:xfrm>
            <a:off x="11944818" y="820118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20" tIns="47020" rIns="47020" bIns="47020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140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55" name="Freeform 5"/>
          <p:cNvSpPr>
            <a:spLocks/>
          </p:cNvSpPr>
          <p:nvPr userDrawn="1"/>
        </p:nvSpPr>
        <p:spPr bwMode="auto">
          <a:xfrm>
            <a:off x="11944818" y="258729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20" tIns="47020" rIns="47020" bIns="47020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715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715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56" name="Freeform 5"/>
          <p:cNvSpPr>
            <a:spLocks/>
          </p:cNvSpPr>
          <p:nvPr userDrawn="1"/>
        </p:nvSpPr>
        <p:spPr bwMode="auto">
          <a:xfrm>
            <a:off x="11944818" y="3643098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20" tIns="47020" rIns="47020" bIns="47020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57" name="Freeform 5"/>
          <p:cNvSpPr>
            <a:spLocks/>
          </p:cNvSpPr>
          <p:nvPr userDrawn="1"/>
        </p:nvSpPr>
        <p:spPr bwMode="auto">
          <a:xfrm>
            <a:off x="11949114" y="4301731"/>
            <a:ext cx="424105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8" name="Freeform 5"/>
          <p:cNvSpPr>
            <a:spLocks/>
          </p:cNvSpPr>
          <p:nvPr userDrawn="1"/>
        </p:nvSpPr>
        <p:spPr bwMode="auto">
          <a:xfrm>
            <a:off x="11949112" y="4493138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9" name="Freeform 5"/>
          <p:cNvSpPr>
            <a:spLocks/>
          </p:cNvSpPr>
          <p:nvPr userDrawn="1"/>
        </p:nvSpPr>
        <p:spPr bwMode="auto">
          <a:xfrm>
            <a:off x="12102362" y="4493138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0" name="Freeform 5"/>
          <p:cNvSpPr>
            <a:spLocks/>
          </p:cNvSpPr>
          <p:nvPr userDrawn="1"/>
        </p:nvSpPr>
        <p:spPr bwMode="auto">
          <a:xfrm>
            <a:off x="12255608" y="4493135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1" name="Freeform 5"/>
          <p:cNvSpPr>
            <a:spLocks/>
          </p:cNvSpPr>
          <p:nvPr userDrawn="1"/>
        </p:nvSpPr>
        <p:spPr bwMode="auto">
          <a:xfrm>
            <a:off x="11949114" y="4775433"/>
            <a:ext cx="424105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2" name="Freeform 5"/>
          <p:cNvSpPr>
            <a:spLocks/>
          </p:cNvSpPr>
          <p:nvPr userDrawn="1"/>
        </p:nvSpPr>
        <p:spPr bwMode="auto">
          <a:xfrm>
            <a:off x="11949112" y="4982131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3" name="Freeform 5"/>
          <p:cNvSpPr>
            <a:spLocks/>
          </p:cNvSpPr>
          <p:nvPr userDrawn="1"/>
        </p:nvSpPr>
        <p:spPr bwMode="auto">
          <a:xfrm>
            <a:off x="12102362" y="4982128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4" name="Freeform 5"/>
          <p:cNvSpPr>
            <a:spLocks/>
          </p:cNvSpPr>
          <p:nvPr userDrawn="1"/>
        </p:nvSpPr>
        <p:spPr bwMode="auto">
          <a:xfrm>
            <a:off x="12255608" y="4982127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5" name="Freeform 5"/>
          <p:cNvSpPr>
            <a:spLocks/>
          </p:cNvSpPr>
          <p:nvPr userDrawn="1"/>
        </p:nvSpPr>
        <p:spPr bwMode="auto">
          <a:xfrm>
            <a:off x="11949114" y="5245930"/>
            <a:ext cx="424105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6" name="Freeform 5"/>
          <p:cNvSpPr>
            <a:spLocks/>
          </p:cNvSpPr>
          <p:nvPr userDrawn="1"/>
        </p:nvSpPr>
        <p:spPr bwMode="auto">
          <a:xfrm>
            <a:off x="11949112" y="5437334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7" name="Freeform 5"/>
          <p:cNvSpPr>
            <a:spLocks/>
          </p:cNvSpPr>
          <p:nvPr userDrawn="1"/>
        </p:nvSpPr>
        <p:spPr bwMode="auto">
          <a:xfrm>
            <a:off x="12102362" y="5437333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8" name="Freeform 5"/>
          <p:cNvSpPr>
            <a:spLocks/>
          </p:cNvSpPr>
          <p:nvPr userDrawn="1"/>
        </p:nvSpPr>
        <p:spPr bwMode="auto">
          <a:xfrm>
            <a:off x="12255608" y="5437333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9" name="TextBox 39"/>
          <p:cNvSpPr txBox="1"/>
          <p:nvPr userDrawn="1"/>
        </p:nvSpPr>
        <p:spPr>
          <a:xfrm>
            <a:off x="11949113" y="5619122"/>
            <a:ext cx="621766" cy="86593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7158" fontAlgn="auto">
              <a:spcBef>
                <a:spcPts val="1045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 de cores (usar apenas 2 cores dos esquemas abaixo)</a:t>
            </a:r>
          </a:p>
        </p:txBody>
      </p:sp>
      <p:sp>
        <p:nvSpPr>
          <p:cNvPr id="43" name="Freeform 5"/>
          <p:cNvSpPr>
            <a:spLocks/>
          </p:cNvSpPr>
          <p:nvPr userDrawn="1"/>
        </p:nvSpPr>
        <p:spPr bwMode="auto">
          <a:xfrm>
            <a:off x="12411753" y="25872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BD78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" name="Freeform 5"/>
          <p:cNvSpPr>
            <a:spLocks/>
          </p:cNvSpPr>
          <p:nvPr userDrawn="1"/>
        </p:nvSpPr>
        <p:spPr bwMode="auto">
          <a:xfrm>
            <a:off x="12411753" y="537757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7A23C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0" name="Freeform 5"/>
          <p:cNvSpPr>
            <a:spLocks/>
          </p:cNvSpPr>
          <p:nvPr userDrawn="1"/>
        </p:nvSpPr>
        <p:spPr bwMode="auto">
          <a:xfrm>
            <a:off x="12411753" y="86222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86DB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1" name="Freeform 5"/>
          <p:cNvSpPr>
            <a:spLocks/>
          </p:cNvSpPr>
          <p:nvPr userDrawn="1"/>
        </p:nvSpPr>
        <p:spPr bwMode="auto">
          <a:xfrm>
            <a:off x="12411753" y="113250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B51F7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2" name="Freeform 71"/>
          <p:cNvSpPr>
            <a:spLocks/>
          </p:cNvSpPr>
          <p:nvPr userDrawn="1"/>
        </p:nvSpPr>
        <p:spPr bwMode="auto">
          <a:xfrm>
            <a:off x="12411753" y="144158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95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3" name="Freeform 5"/>
          <p:cNvSpPr>
            <a:spLocks/>
          </p:cNvSpPr>
          <p:nvPr userDrawn="1"/>
        </p:nvSpPr>
        <p:spPr bwMode="auto">
          <a:xfrm>
            <a:off x="12411753" y="171186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CC52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4" name="Freeform 5"/>
          <p:cNvSpPr>
            <a:spLocks/>
          </p:cNvSpPr>
          <p:nvPr userDrawn="1"/>
        </p:nvSpPr>
        <p:spPr bwMode="auto">
          <a:xfrm>
            <a:off x="12411753" y="200887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C8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5" name="Freeform 5"/>
          <p:cNvSpPr>
            <a:spLocks/>
          </p:cNvSpPr>
          <p:nvPr userDrawn="1"/>
        </p:nvSpPr>
        <p:spPr bwMode="auto">
          <a:xfrm>
            <a:off x="12411753" y="227915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CCC6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6" name="Freeform 5"/>
          <p:cNvSpPr>
            <a:spLocks/>
          </p:cNvSpPr>
          <p:nvPr userDrawn="1"/>
        </p:nvSpPr>
        <p:spPr bwMode="auto">
          <a:xfrm>
            <a:off x="12411753" y="256409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69D17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7" name="Freeform 5"/>
          <p:cNvSpPr>
            <a:spLocks/>
          </p:cNvSpPr>
          <p:nvPr userDrawn="1"/>
        </p:nvSpPr>
        <p:spPr bwMode="auto">
          <a:xfrm>
            <a:off x="12411753" y="283437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9E0B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8" name="Freeform 5"/>
          <p:cNvSpPr>
            <a:spLocks/>
          </p:cNvSpPr>
          <p:nvPr userDrawn="1"/>
        </p:nvSpPr>
        <p:spPr bwMode="auto">
          <a:xfrm>
            <a:off x="12411753" y="3155524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E6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9" name="Freeform 5"/>
          <p:cNvSpPr>
            <a:spLocks/>
          </p:cNvSpPr>
          <p:nvPr userDrawn="1"/>
        </p:nvSpPr>
        <p:spPr bwMode="auto">
          <a:xfrm>
            <a:off x="12411753" y="342580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AFC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80" name="Freeform 5"/>
          <p:cNvSpPr>
            <a:spLocks/>
          </p:cNvSpPr>
          <p:nvPr userDrawn="1"/>
        </p:nvSpPr>
        <p:spPr bwMode="auto">
          <a:xfrm>
            <a:off x="12411753" y="3734884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DEDEDE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81" name="Freeform 5"/>
          <p:cNvSpPr>
            <a:spLocks/>
          </p:cNvSpPr>
          <p:nvPr userDrawn="1"/>
        </p:nvSpPr>
        <p:spPr bwMode="auto">
          <a:xfrm>
            <a:off x="12411753" y="400516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9C9C9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83758507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336" r:id="rId1"/>
    <p:sldLayoutId id="2147485337" r:id="rId2"/>
    <p:sldLayoutId id="2147485338" r:id="rId3"/>
  </p:sldLayoutIdLst>
  <p:hf hdr="0" dt="0"/>
  <p:txStyles>
    <p:titleStyle>
      <a:lvl1pPr algn="l" defTabSz="597158" rtl="0" eaLnBrk="1" latinLnBrk="0" hangingPunct="1">
        <a:lnSpc>
          <a:spcPts val="5487"/>
        </a:lnSpc>
        <a:spcBef>
          <a:spcPct val="0"/>
        </a:spcBef>
        <a:spcAft>
          <a:spcPts val="0"/>
        </a:spcAft>
        <a:buNone/>
        <a:defRPr lang="en-US" sz="5500" b="0" i="0" kern="1200" noProof="0" dirty="0">
          <a:solidFill>
            <a:srgbClr val="A037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40523" indent="-240523" algn="l" defTabSz="59715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6895" indent="-230154" algn="l" defTabSz="59715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6895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7051" indent="-230154" algn="l" defTabSz="59715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7051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7204" indent="-230154" algn="l" defTabSz="59715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7204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7360" indent="-230154" algn="l" defTabSz="59715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7360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84366" indent="-298578" algn="l" defTabSz="59715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81521" indent="-298578" algn="l" defTabSz="59715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78678" indent="-298578" algn="l" defTabSz="59715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75834" indent="-298578" algn="l" defTabSz="59715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715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7158" algn="l" defTabSz="59715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94313" algn="l" defTabSz="59715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91473" algn="l" defTabSz="59715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88628" algn="l" defTabSz="59715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85786" algn="l" defTabSz="59715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82943" algn="l" defTabSz="59715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80101" algn="l" defTabSz="59715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77257" algn="l" defTabSz="59715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15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1978" y="358941"/>
            <a:ext cx="7338636" cy="102481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1855194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58" tIns="46858" rIns="46858" bIns="46858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16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58" tIns="46858" rIns="46858" bIns="46858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58" tIns="46858" rIns="46858" bIns="46858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9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58" tIns="46858" rIns="46858" bIns="46858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Freeform 28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58" tIns="46858" rIns="46858" bIns="46858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58" tIns="46858" rIns="46858" bIns="46858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58" tIns="46858" rIns="46858" bIns="46858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2" name="TextBox 39"/>
          <p:cNvSpPr txBox="1"/>
          <p:nvPr userDrawn="1"/>
        </p:nvSpPr>
        <p:spPr>
          <a:xfrm>
            <a:off x="9223673" y="6781895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5054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022" tIns="59511" rIns="119022" bIns="59511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22" tIns="59511" rIns="119022" bIns="59511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22" tIns="59511" rIns="119022" bIns="59511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22" tIns="59511" rIns="119022" bIns="59511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022" tIns="59511" rIns="119022" bIns="59511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22" tIns="59511" rIns="119022" bIns="59511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22" tIns="59511" rIns="119022" bIns="59511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22" tIns="59511" rIns="119022" bIns="59511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022" tIns="59511" rIns="119022" bIns="59511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22" tIns="59511" rIns="119022" bIns="59511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3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22" tIns="59511" rIns="119022" bIns="59511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22" tIns="59511" rIns="119022" bIns="59511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8845682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341" r:id="rId1"/>
    <p:sldLayoutId id="2147485342" r:id="rId2"/>
    <p:sldLayoutId id="2147485343" r:id="rId3"/>
    <p:sldLayoutId id="2147485344" r:id="rId4"/>
    <p:sldLayoutId id="2147485345" r:id="rId5"/>
    <p:sldLayoutId id="2147485346" r:id="rId6"/>
    <p:sldLayoutId id="2147485347" r:id="rId7"/>
    <p:sldLayoutId id="2147485348" r:id="rId8"/>
  </p:sldLayoutIdLst>
  <p:hf sldNum="0" hdr="0" ftr="0" dt="0"/>
  <p:txStyles>
    <p:titleStyle>
      <a:lvl1pPr algn="l" defTabSz="595054" rtl="0" eaLnBrk="1" latinLnBrk="0" hangingPunct="1">
        <a:lnSpc>
          <a:spcPts val="5486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A037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679" indent="-239679" algn="l" defTabSz="5950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5222" indent="-229347" algn="l" defTabSz="5950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5222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4571" indent="-229347" algn="l" defTabSz="5950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4571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3925" indent="-229347" algn="l" defTabSz="5950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3925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3270" indent="-229347" algn="l" defTabSz="5950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3270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72868" indent="-297524" algn="l" defTabSz="595054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67925" indent="-297524" algn="l" defTabSz="595054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62986" indent="-297524" algn="l" defTabSz="595054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58051" indent="-297524" algn="l" defTabSz="595054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50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5054" algn="l" defTabSz="5950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90131" algn="l" defTabSz="5950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5197" algn="l" defTabSz="5950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80261" algn="l" defTabSz="5950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75334" algn="l" defTabSz="5950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70394" algn="l" defTabSz="5950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65458" algn="l" defTabSz="5950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60522" algn="l" defTabSz="5950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15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82" y="1854695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2045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81813" y="1855214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75" tIns="46775" rIns="46775" bIns="46775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75" tIns="46775" rIns="46775" bIns="46775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75" tIns="46775" rIns="46775" bIns="46775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75" tIns="46775" rIns="46775" bIns="46775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75" tIns="46775" rIns="46775" bIns="46775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75" tIns="46775" rIns="46775" bIns="46775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75" tIns="46775" rIns="46775" bIns="46775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9223673" y="6781916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3972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40552591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351" r:id="rId1"/>
    <p:sldLayoutId id="2147485352" r:id="rId2"/>
    <p:sldLayoutId id="2147485353" r:id="rId3"/>
    <p:sldLayoutId id="2147485354" r:id="rId4"/>
  </p:sldLayoutIdLst>
  <p:hf sldNum="0" hdr="0" ftr="0" dt="0"/>
  <p:txStyles>
    <p:titleStyle>
      <a:lvl1pPr algn="l" defTabSz="593972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246" indent="-239246" algn="l" defTabSz="593972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4363" indent="-228927" algn="l" defTabSz="593972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4363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3296" indent="-228927" algn="l" defTabSz="593972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3296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2232" indent="-228927" algn="l" defTabSz="593972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2232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1158" indent="-228927" algn="l" defTabSz="593972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1158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66945" indent="-296983" algn="l" defTabSz="593972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60927" indent="-296983" algn="l" defTabSz="593972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54913" indent="-296983" algn="l" defTabSz="593972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48906" indent="-296983" algn="l" defTabSz="593972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3972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7980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1972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5954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69951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63935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57922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51913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1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82" y="1854723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2072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248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81813" y="1855244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248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248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60" tIns="46660" rIns="46660" bIns="46660" numCol="1" anchor="t" anchorCtr="0" compatLnSpc="1">
            <a:prstTxWarp prst="textNoShape">
              <a:avLst/>
            </a:prstTxWarp>
          </a:bodyPr>
          <a:lstStyle/>
          <a:p>
            <a:pPr defTabSz="59248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248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248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60" tIns="46660" rIns="46660" bIns="46660" numCol="1" anchor="t" anchorCtr="0" compatLnSpc="1">
            <a:prstTxWarp prst="textNoShape">
              <a:avLst/>
            </a:prstTxWarp>
          </a:bodyPr>
          <a:lstStyle/>
          <a:p>
            <a:pPr defTabSz="59248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248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248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60" tIns="46660" rIns="46660" bIns="46660" numCol="1" anchor="t" anchorCtr="0" compatLnSpc="1">
            <a:prstTxWarp prst="textNoShape">
              <a:avLst/>
            </a:prstTxWarp>
          </a:bodyPr>
          <a:lstStyle/>
          <a:p>
            <a:pPr defTabSz="59248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248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248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60" tIns="46660" rIns="46660" bIns="46660" numCol="1" anchor="t" anchorCtr="0" compatLnSpc="1">
            <a:prstTxWarp prst="textNoShape">
              <a:avLst/>
            </a:prstTxWarp>
          </a:bodyPr>
          <a:lstStyle/>
          <a:p>
            <a:pPr defTabSz="59248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248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248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60" tIns="46660" rIns="46660" bIns="46660" numCol="1" anchor="t" anchorCtr="0" compatLnSpc="1">
            <a:prstTxWarp prst="textNoShape">
              <a:avLst/>
            </a:prstTxWarp>
          </a:bodyPr>
          <a:lstStyle/>
          <a:p>
            <a:pPr defTabSz="59248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248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248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60" tIns="46660" rIns="46660" bIns="46660" numCol="1" anchor="t" anchorCtr="0" compatLnSpc="1">
            <a:prstTxWarp prst="textNoShape">
              <a:avLst/>
            </a:prstTxWarp>
          </a:bodyPr>
          <a:lstStyle/>
          <a:p>
            <a:pPr defTabSz="59248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248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248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60" tIns="46660" rIns="46660" bIns="46660" numCol="1" anchor="t" anchorCtr="0" compatLnSpc="1">
            <a:prstTxWarp prst="textNoShape">
              <a:avLst/>
            </a:prstTxWarp>
          </a:bodyPr>
          <a:lstStyle/>
          <a:p>
            <a:pPr defTabSz="59248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248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248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9223673" y="6781946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2487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522" tIns="59263" rIns="118522" bIns="59263" numCol="1" anchor="t" anchorCtr="0" compatLnSpc="1">
            <a:prstTxWarp prst="textNoShape">
              <a:avLst/>
            </a:prstTxWarp>
          </a:bodyPr>
          <a:lstStyle/>
          <a:p>
            <a:pPr defTabSz="59248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22" tIns="59263" rIns="118522" bIns="59263" numCol="1" anchor="t" anchorCtr="0" compatLnSpc="1">
            <a:prstTxWarp prst="textNoShape">
              <a:avLst/>
            </a:prstTxWarp>
          </a:bodyPr>
          <a:lstStyle/>
          <a:p>
            <a:pPr defTabSz="59248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22" tIns="59263" rIns="118522" bIns="59263" numCol="1" anchor="t" anchorCtr="0" compatLnSpc="1">
            <a:prstTxWarp prst="textNoShape">
              <a:avLst/>
            </a:prstTxWarp>
          </a:bodyPr>
          <a:lstStyle/>
          <a:p>
            <a:pPr defTabSz="59248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22" tIns="59263" rIns="118522" bIns="59263" numCol="1" anchor="t" anchorCtr="0" compatLnSpc="1">
            <a:prstTxWarp prst="textNoShape">
              <a:avLst/>
            </a:prstTxWarp>
          </a:bodyPr>
          <a:lstStyle/>
          <a:p>
            <a:pPr defTabSz="59248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522" tIns="59263" rIns="118522" bIns="59263" numCol="1" anchor="t" anchorCtr="0" compatLnSpc="1">
            <a:prstTxWarp prst="textNoShape">
              <a:avLst/>
            </a:prstTxWarp>
          </a:bodyPr>
          <a:lstStyle/>
          <a:p>
            <a:pPr defTabSz="59248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22" tIns="59263" rIns="118522" bIns="59263" numCol="1" anchor="t" anchorCtr="0" compatLnSpc="1">
            <a:prstTxWarp prst="textNoShape">
              <a:avLst/>
            </a:prstTxWarp>
          </a:bodyPr>
          <a:lstStyle/>
          <a:p>
            <a:pPr defTabSz="59248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22" tIns="59263" rIns="118522" bIns="59263" numCol="1" anchor="t" anchorCtr="0" compatLnSpc="1">
            <a:prstTxWarp prst="textNoShape">
              <a:avLst/>
            </a:prstTxWarp>
          </a:bodyPr>
          <a:lstStyle/>
          <a:p>
            <a:pPr defTabSz="59248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22" tIns="59263" rIns="118522" bIns="59263" numCol="1" anchor="t" anchorCtr="0" compatLnSpc="1">
            <a:prstTxWarp prst="textNoShape">
              <a:avLst/>
            </a:prstTxWarp>
          </a:bodyPr>
          <a:lstStyle/>
          <a:p>
            <a:pPr defTabSz="59248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522" tIns="59263" rIns="118522" bIns="59263" numCol="1" anchor="t" anchorCtr="0" compatLnSpc="1">
            <a:prstTxWarp prst="textNoShape">
              <a:avLst/>
            </a:prstTxWarp>
          </a:bodyPr>
          <a:lstStyle/>
          <a:p>
            <a:pPr defTabSz="59248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22" tIns="59263" rIns="118522" bIns="59263" numCol="1" anchor="t" anchorCtr="0" compatLnSpc="1">
            <a:prstTxWarp prst="textNoShape">
              <a:avLst/>
            </a:prstTxWarp>
          </a:bodyPr>
          <a:lstStyle/>
          <a:p>
            <a:pPr defTabSz="59248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22" tIns="59263" rIns="118522" bIns="59263" numCol="1" anchor="t" anchorCtr="0" compatLnSpc="1">
            <a:prstTxWarp prst="textNoShape">
              <a:avLst/>
            </a:prstTxWarp>
          </a:bodyPr>
          <a:lstStyle/>
          <a:p>
            <a:pPr defTabSz="59248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22" tIns="59263" rIns="118522" bIns="59263" numCol="1" anchor="t" anchorCtr="0" compatLnSpc="1">
            <a:prstTxWarp prst="textNoShape">
              <a:avLst/>
            </a:prstTxWarp>
          </a:bodyPr>
          <a:lstStyle/>
          <a:p>
            <a:pPr defTabSz="59248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75313521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50" r:id="rId1"/>
    <p:sldLayoutId id="2147483851" r:id="rId2"/>
    <p:sldLayoutId id="2147483852" r:id="rId3"/>
    <p:sldLayoutId id="2147483853" r:id="rId4"/>
  </p:sldLayoutIdLst>
  <p:hf sldNum="0" hdr="0" ftr="0" dt="0"/>
  <p:txStyles>
    <p:titleStyle>
      <a:lvl1pPr algn="l" defTabSz="592487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8650" indent="-238650" algn="l" defTabSz="59248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3185" indent="-228359" algn="l" defTabSz="59248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3185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1546" indent="-228359" algn="l" defTabSz="59248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1546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29913" indent="-228359" algn="l" defTabSz="59248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29913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58260" indent="-228359" algn="l" defTabSz="59248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58260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58817" indent="-296238" algn="l" defTabSz="59248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51326" indent="-296238" algn="l" defTabSz="59248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43838" indent="-296238" algn="l" defTabSz="59248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36348" indent="-296238" algn="l" defTabSz="59248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24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2487" algn="l" defTabSz="5924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5023" algn="l" defTabSz="5924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77542" algn="l" defTabSz="5924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0053" algn="l" defTabSz="5924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62563" algn="l" defTabSz="5924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55069" algn="l" defTabSz="5924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47586" algn="l" defTabSz="5924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40100" algn="l" defTabSz="5924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16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82" y="1854721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2072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81813" y="1855241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65" tIns="46665" rIns="46665" bIns="46665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65" tIns="46665" rIns="46665" bIns="46665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65" tIns="46665" rIns="46665" bIns="46665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65" tIns="46665" rIns="46665" bIns="46665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65" tIns="46665" rIns="46665" bIns="46665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65" tIns="46665" rIns="46665" bIns="46665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25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25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65" tIns="46665" rIns="46665" bIns="46665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9223673" y="6781945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2554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535" tIns="59268" rIns="118535" bIns="59268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35" tIns="59268" rIns="118535" bIns="59268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35" tIns="59268" rIns="118535" bIns="59268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35" tIns="59268" rIns="118535" bIns="59268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535" tIns="59268" rIns="118535" bIns="59268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35" tIns="59268" rIns="118535" bIns="59268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35" tIns="59268" rIns="118535" bIns="59268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35" tIns="59268" rIns="118535" bIns="59268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535" tIns="59268" rIns="118535" bIns="59268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35" tIns="59268" rIns="118535" bIns="59268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35" tIns="59268" rIns="118535" bIns="59268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35" tIns="59268" rIns="118535" bIns="59268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2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7549" y="6372010"/>
            <a:ext cx="10176095" cy="282263"/>
          </a:xfrm>
          <a:prstGeom prst="rect">
            <a:avLst/>
          </a:prstGeom>
        </p:spPr>
        <p:txBody>
          <a:bodyPr vert="horz" lIns="118535" tIns="59268" rIns="118535" bIns="59268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4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3552" y="6372010"/>
            <a:ext cx="578105" cy="282263"/>
          </a:xfrm>
          <a:prstGeom prst="rect">
            <a:avLst/>
          </a:prstGeom>
        </p:spPr>
        <p:txBody>
          <a:bodyPr vert="horz" lIns="118535" tIns="59268" rIns="118535" bIns="59268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fld id="{74850952-3374-434C-8FC6-DE28F8CD25B0}" type="slidenum">
              <a:rPr lang="pt-BR" smtClean="0">
                <a:solidFill>
                  <a:srgbClr val="5F5F5F"/>
                </a:solidFill>
              </a:rPr>
              <a:pPr defTabSz="592554" fontAlgn="auto">
                <a:spcBef>
                  <a:spcPts val="0"/>
                </a:spcBef>
                <a:spcAft>
                  <a:spcPts val="0"/>
                </a:spcAft>
              </a:pPr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732594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356" r:id="rId1"/>
    <p:sldLayoutId id="2147485357" r:id="rId2"/>
    <p:sldLayoutId id="2147485358" r:id="rId3"/>
    <p:sldLayoutId id="2147485359" r:id="rId4"/>
  </p:sldLayoutIdLst>
  <p:hf hdr="0" dt="0"/>
  <p:txStyles>
    <p:titleStyle>
      <a:lvl1pPr algn="l" defTabSz="592554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8677" indent="-238677" algn="l" defTabSz="5925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3238" indent="-228385" algn="l" defTabSz="5925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3238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1625" indent="-228385" algn="l" defTabSz="5925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1625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0018" indent="-228385" algn="l" defTabSz="5925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0018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58392" indent="-228385" algn="l" defTabSz="5925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58392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59186" indent="-296272" algn="l" defTabSz="592554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51764" indent="-296272" algn="l" defTabSz="592554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44340" indent="-296272" algn="l" defTabSz="592554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36920" indent="-296272" algn="l" defTabSz="592554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25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2554" algn="l" defTabSz="5925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5157" algn="l" defTabSz="5925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77743" algn="l" defTabSz="5925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0321" algn="l" defTabSz="5925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62900" algn="l" defTabSz="5925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55473" algn="l" defTabSz="5925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48054" algn="l" defTabSz="5925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40637" algn="l" defTabSz="5925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16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82" y="1854733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2084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81813" y="1855253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9223673" y="6781955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1947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194217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361" r:id="rId1"/>
    <p:sldLayoutId id="2147485362" r:id="rId2"/>
    <p:sldLayoutId id="2147485363" r:id="rId3"/>
    <p:sldLayoutId id="2147485364" r:id="rId4"/>
  </p:sldLayoutIdLst>
  <p:hf sldNum="0" hdr="0" ftr="0" dt="0"/>
  <p:txStyles>
    <p:titleStyle>
      <a:lvl1pPr algn="l" defTabSz="591947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8434" indent="-238434" algn="l" defTabSz="59194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2756" indent="-228154" algn="l" defTabSz="59194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2756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0913" indent="-228154" algn="l" defTabSz="59194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0913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29070" indent="-228154" algn="l" defTabSz="59194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29070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57207" indent="-228154" algn="l" defTabSz="59194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57207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55872" indent="-295965" algn="l" defTabSz="59194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47841" indent="-295965" algn="l" defTabSz="59194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39815" indent="-295965" algn="l" defTabSz="59194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31791" indent="-295965" algn="l" defTabSz="59194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1947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3950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75935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67908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59881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51854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43833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35810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16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846154681"/>
              </p:ext>
            </p:extLst>
          </p:nvPr>
        </p:nvGraphicFramePr>
        <p:xfrm>
          <a:off x="1" y="2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99600" name="Slide do think-cell" r:id="rId14" imgW="0" imgH="0" progId="TCLayout.ActiveDocument.1">
                  <p:embed/>
                </p:oleObj>
              </mc:Choice>
              <mc:Fallback>
                <p:oleObj name="Slide do think-cell" r:id="rId14" imgW="0" imgH="0" progId="TCLayout.ActiveDocument.1">
                  <p:embed/>
                  <p:pic>
                    <p:nvPicPr>
                      <p:cNvPr id="0" name="AutoShape 18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2"/>
                        <a:ext cx="211676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10776432" y="36518"/>
            <a:ext cx="876339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88028"/>
            <a:endParaRPr lang="pt-BR" sz="8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10519874" y="1932900"/>
            <a:ext cx="267220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10682583" y="4106726"/>
            <a:ext cx="234679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936841" y="1951039"/>
            <a:ext cx="5736421" cy="11060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ext styles</a:t>
            </a:r>
          </a:p>
          <a:p>
            <a:pPr lvl="1"/>
            <a:r>
              <a:rPr lang="pt-BR" noProof="0" smtClean="0"/>
              <a:t>Second level</a:t>
            </a:r>
          </a:p>
          <a:p>
            <a:pPr lvl="2"/>
            <a:r>
              <a:rPr lang="pt-BR" noProof="0" smtClean="0"/>
              <a:t>Third level</a:t>
            </a:r>
          </a:p>
          <a:p>
            <a:pPr lvl="3"/>
            <a:r>
              <a:rPr lang="pt-BR" noProof="0" smtClean="0"/>
              <a:t>Fourth level</a:t>
            </a:r>
          </a:p>
          <a:p>
            <a:pPr lvl="4"/>
            <a:r>
              <a:rPr lang="pt-BR" noProof="0" smtClean="0"/>
              <a:t>Fifth level</a:t>
            </a:r>
            <a:endParaRPr lang="pt-BR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211676" y="230280"/>
            <a:ext cx="10530036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58852" y="26992"/>
            <a:ext cx="886083" cy="2212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pt-BR" sz="1400" smtClean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TRACKER</a:t>
            </a:r>
            <a:endParaRPr lang="pt-BR" sz="1400" dirty="0">
              <a:solidFill>
                <a:srgbClr val="80808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58875" y="621826"/>
            <a:ext cx="11491891" cy="281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pt-BR" sz="1800" smtClean="0">
                <a:solidFill>
                  <a:srgbClr val="D5E7FF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Unit of measure</a:t>
            </a:r>
            <a:endParaRPr lang="pt-BR" sz="1800" dirty="0" smtClean="0">
              <a:solidFill>
                <a:srgbClr val="D5E7FF">
                  <a:lumMod val="75000"/>
                </a:srgbClr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158761" y="6265675"/>
            <a:ext cx="11398753" cy="358776"/>
            <a:chOff x="75" y="3877"/>
            <a:chExt cx="5385" cy="226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877"/>
              <a:ext cx="5385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pt-BR" sz="100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1 Footnote</a:t>
              </a:r>
              <a:endParaRPr lang="pt-BR" sz="1000" dirty="0" smtClean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06"/>
              <a:ext cx="4323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t" anchorCtr="0">
              <a:spAutoFit/>
            </a:bodyPr>
            <a:lstStyle/>
            <a:p>
              <a:pPr marL="604644" indent="-604644" defTabSz="888028">
                <a:tabLst>
                  <a:tab pos="607774" algn="l"/>
                </a:tabLst>
              </a:pPr>
              <a:r>
                <a:rPr lang="pt-BR" sz="1000" dirty="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FONTE: </a:t>
              </a:r>
              <a:r>
                <a:rPr lang="pt-BR" sz="1000" dirty="0" err="1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ource</a:t>
              </a:r>
              <a:endParaRPr lang="pt-BR" sz="1000" dirty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936840" y="1123953"/>
            <a:ext cx="5685618" cy="511174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 hidden="1"/>
            <p:cNvSpPr>
              <a:spLocks noChangeArrowheads="1"/>
            </p:cNvSpPr>
            <p:nvPr/>
          </p:nvSpPr>
          <p:spPr bwMode="auto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pt-BR" b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itle</a:t>
              </a:r>
            </a:p>
            <a:p>
              <a:r>
                <a:rPr lang="pt-BR" smtClean="0">
                  <a:solidFill>
                    <a:srgbClr val="80808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Unit of measure</a:t>
              </a:r>
              <a:endParaRPr lang="pt-BR" dirty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28" name="Group 27"/>
          <p:cNvGrpSpPr/>
          <p:nvPr userDrawn="1"/>
        </p:nvGrpSpPr>
        <p:grpSpPr>
          <a:xfrm>
            <a:off x="11335740" y="60963"/>
            <a:ext cx="613376" cy="655256"/>
            <a:chOff x="5526523" y="2325890"/>
            <a:chExt cx="3423032" cy="3656747"/>
          </a:xfrm>
        </p:grpSpPr>
        <p:sp>
          <p:nvSpPr>
            <p:cNvPr id="29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30" name="Group 29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31" name="Donut 30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2" name="Oval 31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3" name="Oval 32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85313257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367" r:id="rId1"/>
    <p:sldLayoutId id="2147485368" r:id="rId2"/>
    <p:sldLayoutId id="2147485369" r:id="rId3"/>
    <p:sldLayoutId id="2147485370" r:id="rId4"/>
    <p:sldLayoutId id="2147485371" r:id="rId5"/>
    <p:sldLayoutId id="2147485372" r:id="rId6"/>
    <p:sldLayoutId id="2147485373" r:id="rId7"/>
    <p:sldLayoutId id="2147485374" r:id="rId8"/>
    <p:sldLayoutId id="2147485375" r:id="rId9"/>
    <p:sldLayoutId id="2147485376" r:id="rId10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defTabSz="888028" rtl="0" eaLnBrk="1" fontAlgn="base" hangingPunct="1">
        <a:spcBef>
          <a:spcPct val="0"/>
        </a:spcBef>
        <a:spcAft>
          <a:spcPct val="0"/>
        </a:spcAft>
        <a:tabLst>
          <a:tab pos="267688" algn="l"/>
        </a:tabLst>
        <a:defRPr lang="en-US" sz="2000" b="1" baseline="0" noProof="0" dirty="0" smtClean="0">
          <a:solidFill>
            <a:schemeClr val="accent4"/>
          </a:solidFill>
          <a:latin typeface="Arial" panose="020B0604020202020204" pitchFamily="34" charset="0"/>
          <a:ea typeface="+mj-ea"/>
          <a:cs typeface="Arial" panose="020B0604020202020204" pitchFamily="34" charset="0"/>
          <a:sym typeface="Arial" panose="020B0604020202020204" pitchFamily="34" charset="0"/>
        </a:defRPr>
      </a:lvl1pPr>
      <a:lvl2pPr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2pPr>
      <a:lvl3pPr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3pPr>
      <a:lvl4pPr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4pPr>
      <a:lvl5pPr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5pPr>
      <a:lvl6pPr marL="453493"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6pPr>
      <a:lvl7pPr marL="906935"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7pPr>
      <a:lvl8pPr marL="1360390"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8pPr>
      <a:lvl9pPr marL="1813863"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88028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400" baseline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1pPr>
      <a:lvl2pPr marL="192114" indent="-192114" algn="l" defTabSz="888028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15000"/>
        <a:buFont typeface="Simplon BP Regular" pitchFamily="2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2pPr>
      <a:lvl3pPr marL="453493" indent="-259777" algn="l" defTabSz="888028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charset="0"/>
        <a:buChar char="–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3pPr>
      <a:lvl4pPr marL="609346" indent="-154337" algn="l" defTabSz="888028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pitchFamily="34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4pPr>
      <a:lvl5pPr marL="743666" indent="-129115" algn="l" defTabSz="888028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89000"/>
        <a:buFont typeface="Arial" charset="0"/>
        <a:buChar char="-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5pPr>
      <a:lvl6pPr marL="743666" indent="-129115" algn="l" defTabSz="88802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3666" indent="-129115" algn="l" defTabSz="88802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3666" indent="-129115" algn="l" defTabSz="88802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3666" indent="-129115" algn="l" defTabSz="88802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3493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06935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0390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13863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67322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20778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74250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27718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6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1868251155"/>
              </p:ext>
            </p:extLst>
          </p:nvPr>
        </p:nvGraphicFramePr>
        <p:xfrm>
          <a:off x="1" y="2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06766" name="Slide do think-cell" r:id="rId14" imgW="0" imgH="0" progId="TCLayout.ActiveDocument.1">
                  <p:embed/>
                </p:oleObj>
              </mc:Choice>
              <mc:Fallback>
                <p:oleObj name="Slide do think-cell" r:id="rId14" imgW="0" imgH="0" progId="TCLayout.ActiveDocument.1">
                  <p:embed/>
                  <p:pic>
                    <p:nvPicPr>
                      <p:cNvPr id="0" name="AutoShape 17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2"/>
                        <a:ext cx="211676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10776432" y="36518"/>
            <a:ext cx="876339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88028"/>
            <a:endParaRPr lang="pt-BR" sz="8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10519874" y="1932900"/>
            <a:ext cx="267220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10682583" y="4106726"/>
            <a:ext cx="234679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936841" y="1951039"/>
            <a:ext cx="5736421" cy="11060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ext styles</a:t>
            </a:r>
          </a:p>
          <a:p>
            <a:pPr lvl="1"/>
            <a:r>
              <a:rPr lang="pt-BR" noProof="0" smtClean="0"/>
              <a:t>Second level</a:t>
            </a:r>
          </a:p>
          <a:p>
            <a:pPr lvl="2"/>
            <a:r>
              <a:rPr lang="pt-BR" noProof="0" smtClean="0"/>
              <a:t>Third level</a:t>
            </a:r>
          </a:p>
          <a:p>
            <a:pPr lvl="3"/>
            <a:r>
              <a:rPr lang="pt-BR" noProof="0" smtClean="0"/>
              <a:t>Fourth level</a:t>
            </a:r>
          </a:p>
          <a:p>
            <a:pPr lvl="4"/>
            <a:r>
              <a:rPr lang="pt-BR" noProof="0" smtClean="0"/>
              <a:t>Fifth level</a:t>
            </a:r>
            <a:endParaRPr lang="pt-BR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211676" y="230280"/>
            <a:ext cx="10530036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58852" y="26992"/>
            <a:ext cx="886083" cy="2212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pt-BR" sz="1400" smtClean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TRACKER</a:t>
            </a:r>
            <a:endParaRPr lang="pt-BR" sz="1400" dirty="0">
              <a:solidFill>
                <a:srgbClr val="80808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58875" y="621826"/>
            <a:ext cx="11491891" cy="281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pt-BR" sz="1800" smtClean="0">
                <a:solidFill>
                  <a:srgbClr val="D5E7FF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Unit of measure</a:t>
            </a:r>
            <a:endParaRPr lang="pt-BR" sz="1800" dirty="0" smtClean="0">
              <a:solidFill>
                <a:srgbClr val="D5E7FF">
                  <a:lumMod val="75000"/>
                </a:srgbClr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158761" y="6265675"/>
            <a:ext cx="11398753" cy="358776"/>
            <a:chOff x="75" y="3877"/>
            <a:chExt cx="5385" cy="226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877"/>
              <a:ext cx="5385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pt-BR" sz="100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1 Footnote</a:t>
              </a:r>
              <a:endParaRPr lang="pt-BR" sz="1000" dirty="0" smtClean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06"/>
              <a:ext cx="4323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t" anchorCtr="0">
              <a:spAutoFit/>
            </a:bodyPr>
            <a:lstStyle/>
            <a:p>
              <a:pPr marL="604644" indent="-604644" defTabSz="888028">
                <a:tabLst>
                  <a:tab pos="607774" algn="l"/>
                </a:tabLst>
              </a:pPr>
              <a:r>
                <a:rPr lang="pt-BR" sz="1000" dirty="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FONTE: </a:t>
              </a:r>
              <a:r>
                <a:rPr lang="pt-BR" sz="1000" dirty="0" err="1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ource</a:t>
              </a:r>
              <a:endParaRPr lang="pt-BR" sz="1000" dirty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936840" y="1123953"/>
            <a:ext cx="5685618" cy="511174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 hidden="1"/>
            <p:cNvSpPr>
              <a:spLocks noChangeArrowheads="1"/>
            </p:cNvSpPr>
            <p:nvPr/>
          </p:nvSpPr>
          <p:spPr bwMode="auto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pt-BR" b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itle</a:t>
              </a:r>
            </a:p>
            <a:p>
              <a:r>
                <a:rPr lang="pt-BR" smtClean="0">
                  <a:solidFill>
                    <a:srgbClr val="80808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Unit of measure</a:t>
              </a:r>
              <a:endParaRPr lang="pt-BR" dirty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28" name="Group 27"/>
          <p:cNvGrpSpPr/>
          <p:nvPr userDrawn="1"/>
        </p:nvGrpSpPr>
        <p:grpSpPr>
          <a:xfrm>
            <a:off x="11335740" y="60963"/>
            <a:ext cx="613376" cy="655256"/>
            <a:chOff x="5526523" y="2325890"/>
            <a:chExt cx="3423032" cy="3656747"/>
          </a:xfrm>
        </p:grpSpPr>
        <p:sp>
          <p:nvSpPr>
            <p:cNvPr id="29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30" name="Group 29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31" name="Donut 30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2" name="Oval 31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3" name="Oval 32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0887267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379" r:id="rId1"/>
    <p:sldLayoutId id="2147485380" r:id="rId2"/>
    <p:sldLayoutId id="2147485381" r:id="rId3"/>
    <p:sldLayoutId id="2147485382" r:id="rId4"/>
    <p:sldLayoutId id="2147485383" r:id="rId5"/>
    <p:sldLayoutId id="2147485384" r:id="rId6"/>
    <p:sldLayoutId id="2147485385" r:id="rId7"/>
    <p:sldLayoutId id="2147485386" r:id="rId8"/>
    <p:sldLayoutId id="2147485387" r:id="rId9"/>
    <p:sldLayoutId id="2147485388" r:id="rId10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defTabSz="888028" rtl="0" eaLnBrk="1" fontAlgn="base" hangingPunct="1">
        <a:spcBef>
          <a:spcPct val="0"/>
        </a:spcBef>
        <a:spcAft>
          <a:spcPct val="0"/>
        </a:spcAft>
        <a:tabLst>
          <a:tab pos="267688" algn="l"/>
        </a:tabLst>
        <a:defRPr lang="en-US" sz="2000" b="1" baseline="0" noProof="0" dirty="0" smtClean="0">
          <a:solidFill>
            <a:schemeClr val="accent4"/>
          </a:solidFill>
          <a:latin typeface="Arial" panose="020B0604020202020204" pitchFamily="34" charset="0"/>
          <a:ea typeface="+mj-ea"/>
          <a:cs typeface="Arial" panose="020B0604020202020204" pitchFamily="34" charset="0"/>
          <a:sym typeface="Arial" panose="020B0604020202020204" pitchFamily="34" charset="0"/>
        </a:defRPr>
      </a:lvl1pPr>
      <a:lvl2pPr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2pPr>
      <a:lvl3pPr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3pPr>
      <a:lvl4pPr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4pPr>
      <a:lvl5pPr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5pPr>
      <a:lvl6pPr marL="453493"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6pPr>
      <a:lvl7pPr marL="906935"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7pPr>
      <a:lvl8pPr marL="1360390"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8pPr>
      <a:lvl9pPr marL="1813863"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88028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400" baseline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1pPr>
      <a:lvl2pPr marL="192114" indent="-192114" algn="l" defTabSz="888028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15000"/>
        <a:buFont typeface="Simplon BP Regular" pitchFamily="2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2pPr>
      <a:lvl3pPr marL="453493" indent="-259777" algn="l" defTabSz="888028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charset="0"/>
        <a:buChar char="–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3pPr>
      <a:lvl4pPr marL="609346" indent="-154337" algn="l" defTabSz="888028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pitchFamily="34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4pPr>
      <a:lvl5pPr marL="743666" indent="-129115" algn="l" defTabSz="888028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89000"/>
        <a:buFont typeface="Arial" charset="0"/>
        <a:buChar char="-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5pPr>
      <a:lvl6pPr marL="743666" indent="-129115" algn="l" defTabSz="88802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3666" indent="-129115" algn="l" defTabSz="88802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3666" indent="-129115" algn="l" defTabSz="88802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3666" indent="-129115" algn="l" defTabSz="88802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3493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06935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0390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13863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67322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20778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74250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27718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6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1978" y="358941"/>
            <a:ext cx="7338636" cy="102481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1855194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58" tIns="46858" rIns="46858" bIns="46858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16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58" tIns="46858" rIns="46858" bIns="46858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58" tIns="46858" rIns="46858" bIns="46858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9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58" tIns="46858" rIns="46858" bIns="46858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Freeform 28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58" tIns="46858" rIns="46858" bIns="46858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58" tIns="46858" rIns="46858" bIns="46858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58" tIns="46858" rIns="46858" bIns="46858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2" name="TextBox 39"/>
          <p:cNvSpPr txBox="1"/>
          <p:nvPr userDrawn="1"/>
        </p:nvSpPr>
        <p:spPr>
          <a:xfrm>
            <a:off x="9223673" y="6781895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5054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022" tIns="59511" rIns="119022" bIns="59511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22" tIns="59511" rIns="119022" bIns="59511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22" tIns="59511" rIns="119022" bIns="59511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22" tIns="59511" rIns="119022" bIns="59511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022" tIns="59511" rIns="119022" bIns="59511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22" tIns="59511" rIns="119022" bIns="59511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22" tIns="59511" rIns="119022" bIns="59511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22" tIns="59511" rIns="119022" bIns="59511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022" tIns="59511" rIns="119022" bIns="59511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22" tIns="59511" rIns="119022" bIns="59511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3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22" tIns="59511" rIns="119022" bIns="59511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22" tIns="59511" rIns="119022" bIns="59511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23278440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391" r:id="rId1"/>
    <p:sldLayoutId id="2147485392" r:id="rId2"/>
    <p:sldLayoutId id="2147485393" r:id="rId3"/>
    <p:sldLayoutId id="2147485394" r:id="rId4"/>
    <p:sldLayoutId id="2147485395" r:id="rId5"/>
    <p:sldLayoutId id="2147485396" r:id="rId6"/>
    <p:sldLayoutId id="2147485397" r:id="rId7"/>
    <p:sldLayoutId id="2147485398" r:id="rId8"/>
  </p:sldLayoutIdLst>
  <p:hf sldNum="0" hdr="0" ftr="0" dt="0"/>
  <p:txStyles>
    <p:titleStyle>
      <a:lvl1pPr algn="l" defTabSz="595054" rtl="0" eaLnBrk="1" latinLnBrk="0" hangingPunct="1">
        <a:lnSpc>
          <a:spcPts val="5486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A037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679" indent="-239679" algn="l" defTabSz="5950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5222" indent="-229347" algn="l" defTabSz="5950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5222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4571" indent="-229347" algn="l" defTabSz="5950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4571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3925" indent="-229347" algn="l" defTabSz="5950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3925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3270" indent="-229347" algn="l" defTabSz="5950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3270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72868" indent="-297524" algn="l" defTabSz="595054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67925" indent="-297524" algn="l" defTabSz="595054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62986" indent="-297524" algn="l" defTabSz="595054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58051" indent="-297524" algn="l" defTabSz="595054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50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5054" algn="l" defTabSz="5950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90131" algn="l" defTabSz="5950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5197" algn="l" defTabSz="5950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80261" algn="l" defTabSz="5950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75334" algn="l" defTabSz="5950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70394" algn="l" defTabSz="5950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65458" algn="l" defTabSz="5950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60522" algn="l" defTabSz="5950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16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82" y="1854721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2072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81813" y="1855241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65" tIns="46665" rIns="46665" bIns="46665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65" tIns="46665" rIns="46665" bIns="46665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65" tIns="46665" rIns="46665" bIns="46665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65" tIns="46665" rIns="46665" bIns="46665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65" tIns="46665" rIns="46665" bIns="46665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65" tIns="46665" rIns="46665" bIns="46665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25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25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65" tIns="46665" rIns="46665" bIns="46665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9223673" y="6781945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2554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535" tIns="59268" rIns="118535" bIns="59268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35" tIns="59268" rIns="118535" bIns="59268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35" tIns="59268" rIns="118535" bIns="59268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35" tIns="59268" rIns="118535" bIns="59268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535" tIns="59268" rIns="118535" bIns="59268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35" tIns="59268" rIns="118535" bIns="59268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35" tIns="59268" rIns="118535" bIns="59268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35" tIns="59268" rIns="118535" bIns="59268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535" tIns="59268" rIns="118535" bIns="59268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35" tIns="59268" rIns="118535" bIns="59268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35" tIns="59268" rIns="118535" bIns="59268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35" tIns="59268" rIns="118535" bIns="59268" numCol="1" anchor="t" anchorCtr="0" compatLnSpc="1">
            <a:prstTxWarp prst="textNoShape">
              <a:avLst/>
            </a:prstTxWarp>
          </a:bodyPr>
          <a:lstStyle/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2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7549" y="6372010"/>
            <a:ext cx="10176095" cy="282263"/>
          </a:xfrm>
          <a:prstGeom prst="rect">
            <a:avLst/>
          </a:prstGeom>
        </p:spPr>
        <p:txBody>
          <a:bodyPr vert="horz" lIns="118535" tIns="59268" rIns="118535" bIns="59268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4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3552" y="6372010"/>
            <a:ext cx="578105" cy="282263"/>
          </a:xfrm>
          <a:prstGeom prst="rect">
            <a:avLst/>
          </a:prstGeom>
        </p:spPr>
        <p:txBody>
          <a:bodyPr vert="horz" lIns="118535" tIns="59268" rIns="118535" bIns="59268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pPr defTabSz="592554" fontAlgn="auto">
              <a:spcBef>
                <a:spcPts val="0"/>
              </a:spcBef>
              <a:spcAft>
                <a:spcPts val="0"/>
              </a:spcAft>
            </a:pPr>
            <a:fld id="{74850952-3374-434C-8FC6-DE28F8CD25B0}" type="slidenum">
              <a:rPr lang="pt-BR" smtClean="0">
                <a:solidFill>
                  <a:srgbClr val="5F5F5F"/>
                </a:solidFill>
              </a:rPr>
              <a:pPr defTabSz="592554" fontAlgn="auto">
                <a:spcBef>
                  <a:spcPts val="0"/>
                </a:spcBef>
                <a:spcAft>
                  <a:spcPts val="0"/>
                </a:spcAft>
              </a:pPr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066308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401" r:id="rId1"/>
    <p:sldLayoutId id="2147485402" r:id="rId2"/>
    <p:sldLayoutId id="2147485403" r:id="rId3"/>
    <p:sldLayoutId id="2147485404" r:id="rId4"/>
  </p:sldLayoutIdLst>
  <p:hf hdr="0" dt="0"/>
  <p:txStyles>
    <p:titleStyle>
      <a:lvl1pPr algn="l" defTabSz="592554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8677" indent="-238677" algn="l" defTabSz="5925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3238" indent="-228385" algn="l" defTabSz="5925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3238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1625" indent="-228385" algn="l" defTabSz="5925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1625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0018" indent="-228385" algn="l" defTabSz="5925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0018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58392" indent="-228385" algn="l" defTabSz="5925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58392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59186" indent="-296272" algn="l" defTabSz="592554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51764" indent="-296272" algn="l" defTabSz="592554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44340" indent="-296272" algn="l" defTabSz="592554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36920" indent="-296272" algn="l" defTabSz="592554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25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2554" algn="l" defTabSz="5925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5157" algn="l" defTabSz="5925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77743" algn="l" defTabSz="5925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0321" algn="l" defTabSz="5925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62900" algn="l" defTabSz="5925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55473" algn="l" defTabSz="5925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48054" algn="l" defTabSz="5925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40637" algn="l" defTabSz="5925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16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2900094342"/>
              </p:ext>
            </p:extLst>
          </p:nvPr>
        </p:nvGraphicFramePr>
        <p:xfrm>
          <a:off x="1591" y="1591"/>
          <a:ext cx="158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14940" name="Slide do think-cell" r:id="rId8" imgW="0" imgH="0" progId="TCLayout.ActiveDocument.1">
                  <p:embed/>
                </p:oleObj>
              </mc:Choice>
              <mc:Fallback>
                <p:oleObj name="Slide do think-cell" r:id="rId8" imgW="0" imgH="0" progId="TCLayout.ActiveDocument.1">
                  <p:embed/>
                  <p:pic>
                    <p:nvPicPr>
                      <p:cNvPr id="0" name="AutoShape 16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1" y="1591"/>
                        <a:ext cx="158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82" y="1854676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2025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81813" y="1855197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48" tIns="46848" rIns="46848" bIns="46848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48" tIns="46848" rIns="46848" bIns="46848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48" tIns="46848" rIns="46848" bIns="46848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48" tIns="46848" rIns="46848" bIns="46848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48" tIns="46848" rIns="46848" bIns="46848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48" tIns="46848" rIns="46848" bIns="46848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48" tIns="46848" rIns="46848" bIns="46848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9223673" y="6781899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4918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999" tIns="59497" rIns="118999" bIns="59497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99" tIns="59497" rIns="118999" bIns="59497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99" tIns="59497" rIns="118999" bIns="59497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99" tIns="59497" rIns="118999" bIns="59497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999" tIns="59497" rIns="118999" bIns="59497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99" tIns="59497" rIns="118999" bIns="59497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99" tIns="59497" rIns="118999" bIns="59497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99" tIns="59497" rIns="118999" bIns="59497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999" tIns="59497" rIns="118999" bIns="59497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99" tIns="59497" rIns="118999" bIns="59497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99" tIns="59497" rIns="118999" bIns="59497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99" tIns="59497" rIns="118999" bIns="59497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3033782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421" r:id="rId1"/>
    <p:sldLayoutId id="2147485422" r:id="rId2"/>
    <p:sldLayoutId id="2147485423" r:id="rId3"/>
    <p:sldLayoutId id="2147485424" r:id="rId4"/>
  </p:sldLayoutIdLst>
  <p:hf sldNum="0" hdr="0" ftr="0" dt="0"/>
  <p:txStyles>
    <p:titleStyle>
      <a:lvl1pPr algn="l" defTabSz="594918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625" indent="-239625" algn="l" defTabSz="59491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5115" indent="-229293" algn="l" defTabSz="59491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5115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4412" indent="-229293" algn="l" defTabSz="59491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4412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3714" indent="-229293" algn="l" defTabSz="59491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3714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3006" indent="-229293" algn="l" defTabSz="59491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3006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72127" indent="-297456" algn="l" defTabSz="59491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67049" indent="-297456" algn="l" defTabSz="59491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61975" indent="-297456" algn="l" defTabSz="59491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56908" indent="-297456" algn="l" defTabSz="59491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49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4918" algn="l" defTabSz="5949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9863" algn="l" defTabSz="5949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4793" algn="l" defTabSz="5949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9723" algn="l" defTabSz="5949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74661" algn="l" defTabSz="5949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69588" algn="l" defTabSz="5949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64514" algn="l" defTabSz="5949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59444" algn="l" defTabSz="5949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16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2846609487"/>
              </p:ext>
            </p:extLst>
          </p:nvPr>
        </p:nvGraphicFramePr>
        <p:xfrm>
          <a:off x="1591" y="1591"/>
          <a:ext cx="158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16988" name="Slide do think-cell" r:id="rId8" imgW="0" imgH="0" progId="TCLayout.ActiveDocument.1">
                  <p:embed/>
                </p:oleObj>
              </mc:Choice>
              <mc:Fallback>
                <p:oleObj name="Slide do think-cell" r:id="rId8" imgW="0" imgH="0" progId="TCLayout.ActiveDocument.1">
                  <p:embed/>
                  <p:pic>
                    <p:nvPicPr>
                      <p:cNvPr id="0" name="AutoShape 16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1" y="1591"/>
                        <a:ext cx="158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82" y="1854676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2025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81813" y="1855197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48" tIns="46848" rIns="46848" bIns="46848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48" tIns="46848" rIns="46848" bIns="46848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48" tIns="46848" rIns="46848" bIns="46848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48" tIns="46848" rIns="46848" bIns="46848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48" tIns="46848" rIns="46848" bIns="46848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48" tIns="46848" rIns="46848" bIns="46848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48" tIns="46848" rIns="46848" bIns="46848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9223673" y="6781899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4918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999" tIns="59497" rIns="118999" bIns="59497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99" tIns="59497" rIns="118999" bIns="59497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99" tIns="59497" rIns="118999" bIns="59497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99" tIns="59497" rIns="118999" bIns="59497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999" tIns="59497" rIns="118999" bIns="59497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99" tIns="59497" rIns="118999" bIns="59497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99" tIns="59497" rIns="118999" bIns="59497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99" tIns="59497" rIns="118999" bIns="59497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999" tIns="59497" rIns="118999" bIns="59497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99" tIns="59497" rIns="118999" bIns="59497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99" tIns="59497" rIns="118999" bIns="59497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99" tIns="59497" rIns="118999" bIns="59497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745066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427" r:id="rId1"/>
    <p:sldLayoutId id="2147485428" r:id="rId2"/>
    <p:sldLayoutId id="2147485429" r:id="rId3"/>
    <p:sldLayoutId id="2147485430" r:id="rId4"/>
  </p:sldLayoutIdLst>
  <p:hf sldNum="0" hdr="0" ftr="0" dt="0"/>
  <p:txStyles>
    <p:titleStyle>
      <a:lvl1pPr algn="l" defTabSz="594918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625" indent="-239625" algn="l" defTabSz="59491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5115" indent="-229293" algn="l" defTabSz="59491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5115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4412" indent="-229293" algn="l" defTabSz="59491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4412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3714" indent="-229293" algn="l" defTabSz="59491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3714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3006" indent="-229293" algn="l" defTabSz="59491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3006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72127" indent="-297456" algn="l" defTabSz="59491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67049" indent="-297456" algn="l" defTabSz="59491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61975" indent="-297456" algn="l" defTabSz="59491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56908" indent="-297456" algn="l" defTabSz="59491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49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4918" algn="l" defTabSz="5949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9863" algn="l" defTabSz="5949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4793" algn="l" defTabSz="5949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9723" algn="l" defTabSz="5949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74661" algn="l" defTabSz="5949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69588" algn="l" defTabSz="5949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64514" algn="l" defTabSz="5949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59444" algn="l" defTabSz="5949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16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3792597072"/>
              </p:ext>
            </p:extLst>
          </p:nvPr>
        </p:nvGraphicFramePr>
        <p:xfrm>
          <a:off x="1" y="2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21075" name="Slide do think-cell" r:id="rId15" imgW="0" imgH="0" progId="TCLayout.ActiveDocument.1">
                  <p:embed/>
                </p:oleObj>
              </mc:Choice>
              <mc:Fallback>
                <p:oleObj name="Slide do think-cell" r:id="rId15" imgW="0" imgH="0" progId="TCLayout.ActiveDocument.1">
                  <p:embed/>
                  <p:pic>
                    <p:nvPicPr>
                      <p:cNvPr id="0" name="AutoShape 15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2"/>
                        <a:ext cx="211676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10776432" y="36518"/>
            <a:ext cx="876339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4790"/>
            <a:endParaRPr lang="pt-BR" sz="8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10519874" y="1932900"/>
            <a:ext cx="267220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10682583" y="4106726"/>
            <a:ext cx="234679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936841" y="1951039"/>
            <a:ext cx="5736421" cy="11060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ext styles</a:t>
            </a:r>
          </a:p>
          <a:p>
            <a:pPr lvl="1"/>
            <a:r>
              <a:rPr lang="pt-BR" noProof="0" smtClean="0"/>
              <a:t>Second level</a:t>
            </a:r>
          </a:p>
          <a:p>
            <a:pPr lvl="2"/>
            <a:r>
              <a:rPr lang="pt-BR" noProof="0" smtClean="0"/>
              <a:t>Third level</a:t>
            </a:r>
          </a:p>
          <a:p>
            <a:pPr lvl="3"/>
            <a:r>
              <a:rPr lang="pt-BR" noProof="0" smtClean="0"/>
              <a:t>Fourth level</a:t>
            </a:r>
          </a:p>
          <a:p>
            <a:pPr lvl="4"/>
            <a:r>
              <a:rPr lang="pt-BR" noProof="0" smtClean="0"/>
              <a:t>Fifth level</a:t>
            </a:r>
            <a:endParaRPr lang="pt-BR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211676" y="230193"/>
            <a:ext cx="10530036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58764" y="26992"/>
            <a:ext cx="886083" cy="2212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pt-BR" sz="1400" smtClean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TRACKER</a:t>
            </a:r>
            <a:endParaRPr lang="pt-BR" sz="1400" dirty="0">
              <a:solidFill>
                <a:srgbClr val="80808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58786" y="621826"/>
            <a:ext cx="11491891" cy="281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pt-BR" sz="1800" smtClean="0">
                <a:solidFill>
                  <a:srgbClr val="D5E7FF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Unit of measure</a:t>
            </a:r>
            <a:endParaRPr lang="pt-BR" sz="1800" dirty="0" smtClean="0">
              <a:solidFill>
                <a:srgbClr val="D5E7FF">
                  <a:lumMod val="75000"/>
                </a:srgbClr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158761" y="6266463"/>
            <a:ext cx="11398753" cy="358776"/>
            <a:chOff x="75" y="3877"/>
            <a:chExt cx="5385" cy="226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877"/>
              <a:ext cx="5385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pt-BR" sz="100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1 Footnote</a:t>
              </a:r>
              <a:endParaRPr lang="pt-BR" sz="1000" dirty="0" smtClean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06"/>
              <a:ext cx="4323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t" anchorCtr="0">
              <a:spAutoFit/>
            </a:bodyPr>
            <a:lstStyle/>
            <a:p>
              <a:pPr marL="609221" indent="-609221" defTabSz="894790">
                <a:tabLst>
                  <a:tab pos="612394" algn="l"/>
                </a:tabLst>
              </a:pPr>
              <a:r>
                <a:rPr lang="pt-BR" sz="1000" dirty="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FONTE: </a:t>
              </a:r>
              <a:r>
                <a:rPr lang="pt-BR" sz="1000" dirty="0" err="1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ource</a:t>
              </a:r>
              <a:endParaRPr lang="pt-BR" sz="1000" dirty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936840" y="1123953"/>
            <a:ext cx="5685618" cy="511174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 hidden="1"/>
            <p:cNvSpPr>
              <a:spLocks noChangeArrowheads="1"/>
            </p:cNvSpPr>
            <p:nvPr/>
          </p:nvSpPr>
          <p:spPr bwMode="auto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pt-BR" b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itle</a:t>
              </a:r>
            </a:p>
            <a:p>
              <a:r>
                <a:rPr lang="pt-BR" smtClean="0">
                  <a:solidFill>
                    <a:srgbClr val="80808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Unit of measure</a:t>
              </a:r>
              <a:endParaRPr lang="pt-BR" dirty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sp>
        <p:nvSpPr>
          <p:cNvPr id="23" name="Footer Placeholder 2"/>
          <p:cNvSpPr txBox="1">
            <a:spLocks/>
          </p:cNvSpPr>
          <p:nvPr/>
        </p:nvSpPr>
        <p:spPr>
          <a:xfrm>
            <a:off x="9546286" y="6434245"/>
            <a:ext cx="1732846" cy="153888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defPPr>
              <a:defRPr lang="en-US"/>
            </a:defPPr>
            <a:lvl1pPr marL="0" algn="l" defTabSz="457200" rtl="0" eaLnBrk="0" latinLnBrk="0" hangingPunct="0">
              <a:defRPr sz="1800" kern="1200">
                <a:solidFill>
                  <a:schemeClr val="tx1"/>
                </a:solidFill>
                <a:latin typeface="Calibri" charset="0"/>
                <a:ea typeface="ＭＳ Ｐゴシック" charset="0"/>
                <a:cs typeface="Arial" charset="0"/>
              </a:defRPr>
            </a:lvl1pPr>
            <a:lvl2pPr marL="742950" indent="-285750" algn="l" defTabSz="457200" rtl="0" eaLnBrk="0" latinLnBrk="0" hangingPunct="0"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2pPr>
            <a:lvl3pPr marL="1143000" indent="-228600" algn="l" defTabSz="457200" rtl="0" eaLnBrk="0" latinLnBrk="0" hangingPunct="0"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3pPr>
            <a:lvl4pPr marL="1600200" indent="-228600" algn="l" defTabSz="457200" rtl="0" eaLnBrk="0" latinLnBrk="0" hangingPunct="0"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4pPr>
            <a:lvl5pPr marL="2057400" indent="-228600" algn="l" defTabSz="457200" rtl="0" eaLnBrk="0" latinLnBrk="0" hangingPunct="0"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5pPr>
            <a:lvl6pPr marL="2514600" indent="-228600" algn="l" defTabSz="4572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6pPr>
            <a:lvl7pPr marL="2971800" indent="-228600" algn="l" defTabSz="4572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7pPr>
            <a:lvl8pPr marL="3429000" indent="-228600" algn="l" defTabSz="4572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8pPr>
            <a:lvl9pPr marL="3886200" indent="-228600" algn="l" defTabSz="4572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9pPr>
          </a:lstStyle>
          <a:p>
            <a:pPr algn="r" eaLnBrk="1" hangingPunct="1"/>
            <a:r>
              <a:rPr lang="pt-BR" sz="1000" smtClean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MATERIAL CONFIDENCIAL  |</a:t>
            </a:r>
            <a:endParaRPr lang="pt-BR" sz="1000" dirty="0">
              <a:solidFill>
                <a:srgbClr val="4D4D4D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28" name="Group 27"/>
          <p:cNvGrpSpPr/>
          <p:nvPr/>
        </p:nvGrpSpPr>
        <p:grpSpPr>
          <a:xfrm>
            <a:off x="11335740" y="60963"/>
            <a:ext cx="613376" cy="655256"/>
            <a:chOff x="5526523" y="2325890"/>
            <a:chExt cx="3423032" cy="3656747"/>
          </a:xfrm>
        </p:grpSpPr>
        <p:sp>
          <p:nvSpPr>
            <p:cNvPr id="29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30" name="Group 29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31" name="Donut 30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2" name="Oval 31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3" name="Oval 32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  <p:sp>
        <p:nvSpPr>
          <p:cNvPr id="24" name="Slide Number"/>
          <p:cNvSpPr txBox="1">
            <a:spLocks/>
          </p:cNvSpPr>
          <p:nvPr/>
        </p:nvSpPr>
        <p:spPr>
          <a:xfrm>
            <a:off x="11394525" y="6426673"/>
            <a:ext cx="278354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pt-BR" smtClean="0">
                <a:solidFill>
                  <a:srgbClr val="000000"/>
                </a:solidFill>
                <a:cs typeface="Arial" panose="020B0604020202020204" pitchFamily="34" charset="0"/>
                <a:sym typeface="Arial" panose="020B0604020202020204" pitchFamily="34" charset="0"/>
              </a:rPr>
              <a:pPr/>
              <a:t>‹nº›</a:t>
            </a:fld>
            <a:endParaRPr lang="pt-BR" dirty="0">
              <a:solidFill>
                <a:srgbClr val="000000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5" name="TextBox 13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26" name="TextBox 18"/>
          <p:cNvSpPr txBox="1"/>
          <p:nvPr userDrawn="1"/>
        </p:nvSpPr>
        <p:spPr>
          <a:xfrm>
            <a:off x="-281813" y="1855222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7" name="TextBox 22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8" name="Freeform 20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41" name="TextBox 39"/>
          <p:cNvSpPr txBox="1"/>
          <p:nvPr userDrawn="1"/>
        </p:nvSpPr>
        <p:spPr>
          <a:xfrm>
            <a:off x="9223673" y="6781924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3568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3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5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6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7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8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9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0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1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2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3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6450707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435" r:id="rId1"/>
    <p:sldLayoutId id="2147485436" r:id="rId2"/>
    <p:sldLayoutId id="2147485437" r:id="rId3"/>
    <p:sldLayoutId id="2147485438" r:id="rId4"/>
    <p:sldLayoutId id="2147485439" r:id="rId5"/>
    <p:sldLayoutId id="2147485440" r:id="rId6"/>
    <p:sldLayoutId id="2147485441" r:id="rId7"/>
    <p:sldLayoutId id="2147485442" r:id="rId8"/>
    <p:sldLayoutId id="2147485443" r:id="rId9"/>
    <p:sldLayoutId id="2147485445" r:id="rId10"/>
    <p:sldLayoutId id="2147485446" r:id="rId11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defTabSz="894790" rtl="0" eaLnBrk="1" fontAlgn="base" hangingPunct="1">
        <a:spcBef>
          <a:spcPct val="0"/>
        </a:spcBef>
        <a:spcAft>
          <a:spcPct val="0"/>
        </a:spcAft>
        <a:tabLst>
          <a:tab pos="269707" algn="l"/>
        </a:tabLst>
        <a:defRPr lang="en-US" sz="2000" b="1" baseline="0" noProof="0" dirty="0" smtClean="0">
          <a:solidFill>
            <a:schemeClr val="accent4"/>
          </a:solidFill>
          <a:latin typeface="Arial" panose="020B0604020202020204" pitchFamily="34" charset="0"/>
          <a:ea typeface="+mj-ea"/>
          <a:cs typeface="Arial" panose="020B0604020202020204" pitchFamily="34" charset="0"/>
          <a:sym typeface="Arial" panose="020B0604020202020204" pitchFamily="34" charset="0"/>
        </a:defRPr>
      </a:lvl1pPr>
      <a:lvl2pPr algn="l" defTabSz="894790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2pPr>
      <a:lvl3pPr algn="l" defTabSz="894790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3pPr>
      <a:lvl4pPr algn="l" defTabSz="894790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4pPr>
      <a:lvl5pPr algn="l" defTabSz="894790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5pPr>
      <a:lvl6pPr marL="456918" algn="l" defTabSz="894790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6pPr>
      <a:lvl7pPr marL="913831" algn="l" defTabSz="894790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7pPr>
      <a:lvl8pPr marL="1370745" algn="l" defTabSz="894790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8pPr>
      <a:lvl9pPr marL="1827664" algn="l" defTabSz="894790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4790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400" baseline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1pPr>
      <a:lvl2pPr marL="193555" indent="-193555" algn="l" defTabSz="894790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15000"/>
        <a:buFont typeface="Simplon BP Regular" pitchFamily="2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2pPr>
      <a:lvl3pPr marL="456918" indent="-261774" algn="l" defTabSz="894790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charset="0"/>
        <a:buChar char="–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3pPr>
      <a:lvl4pPr marL="613982" indent="-155479" algn="l" defTabSz="894790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pitchFamily="34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4pPr>
      <a:lvl5pPr marL="749341" indent="-130094" algn="l" defTabSz="894790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89000"/>
        <a:buFont typeface="Arial" charset="0"/>
        <a:buChar char="-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5pPr>
      <a:lvl6pPr marL="749341" indent="-130094" algn="l" defTabSz="89479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9341" indent="-130094" algn="l" defTabSz="89479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9341" indent="-130094" algn="l" defTabSz="89479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9341" indent="-130094" algn="l" defTabSz="89479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383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918" algn="l" defTabSz="91383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3831" algn="l" defTabSz="91383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0745" algn="l" defTabSz="91383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7664" algn="l" defTabSz="91383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4578" algn="l" defTabSz="91383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1493" algn="l" defTabSz="91383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8412" algn="l" defTabSz="91383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5330" algn="l" defTabSz="91383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16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1978" y="358984"/>
            <a:ext cx="7338636" cy="102481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2826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1855236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2826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2826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86" tIns="46686" rIns="46686" bIns="46686" numCol="1" anchor="t" anchorCtr="0" compatLnSpc="1">
            <a:prstTxWarp prst="textNoShape">
              <a:avLst/>
            </a:prstTxWarp>
          </a:bodyPr>
          <a:lstStyle/>
          <a:p>
            <a:pPr defTabSz="592826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2826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2826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16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86" tIns="46686" rIns="46686" bIns="46686" numCol="1" anchor="t" anchorCtr="0" compatLnSpc="1">
            <a:prstTxWarp prst="textNoShape">
              <a:avLst/>
            </a:prstTxWarp>
          </a:bodyPr>
          <a:lstStyle/>
          <a:p>
            <a:pPr defTabSz="592826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2826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2826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86" tIns="46686" rIns="46686" bIns="46686" numCol="1" anchor="t" anchorCtr="0" compatLnSpc="1">
            <a:prstTxWarp prst="textNoShape">
              <a:avLst/>
            </a:prstTxWarp>
          </a:bodyPr>
          <a:lstStyle/>
          <a:p>
            <a:pPr defTabSz="592826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2826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2826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9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86" tIns="46686" rIns="46686" bIns="46686" numCol="1" anchor="t" anchorCtr="0" compatLnSpc="1">
            <a:prstTxWarp prst="textNoShape">
              <a:avLst/>
            </a:prstTxWarp>
          </a:bodyPr>
          <a:lstStyle/>
          <a:p>
            <a:pPr defTabSz="592826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2826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2826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Freeform 28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86" tIns="46686" rIns="46686" bIns="46686" numCol="1" anchor="t" anchorCtr="0" compatLnSpc="1">
            <a:prstTxWarp prst="textNoShape">
              <a:avLst/>
            </a:prstTxWarp>
          </a:bodyPr>
          <a:lstStyle/>
          <a:p>
            <a:pPr defTabSz="592826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2826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2826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86" tIns="46686" rIns="46686" bIns="46686" numCol="1" anchor="t" anchorCtr="0" compatLnSpc="1">
            <a:prstTxWarp prst="textNoShape">
              <a:avLst/>
            </a:prstTxWarp>
          </a:bodyPr>
          <a:lstStyle/>
          <a:p>
            <a:pPr defTabSz="592826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2826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2826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86" tIns="46686" rIns="46686" bIns="46686" numCol="1" anchor="t" anchorCtr="0" compatLnSpc="1">
            <a:prstTxWarp prst="textNoShape">
              <a:avLst/>
            </a:prstTxWarp>
          </a:bodyPr>
          <a:lstStyle/>
          <a:p>
            <a:pPr defTabSz="592826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2826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2826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2" name="TextBox 39"/>
          <p:cNvSpPr txBox="1"/>
          <p:nvPr userDrawn="1"/>
        </p:nvSpPr>
        <p:spPr>
          <a:xfrm>
            <a:off x="9223673" y="6781938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2826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587" tIns="59294" rIns="118587" bIns="59294" numCol="1" anchor="t" anchorCtr="0" compatLnSpc="1">
            <a:prstTxWarp prst="textNoShape">
              <a:avLst/>
            </a:prstTxWarp>
          </a:bodyPr>
          <a:lstStyle/>
          <a:p>
            <a:pPr defTabSz="592826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87" tIns="59294" rIns="118587" bIns="59294" numCol="1" anchor="t" anchorCtr="0" compatLnSpc="1">
            <a:prstTxWarp prst="textNoShape">
              <a:avLst/>
            </a:prstTxWarp>
          </a:bodyPr>
          <a:lstStyle/>
          <a:p>
            <a:pPr defTabSz="592826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87" tIns="59294" rIns="118587" bIns="59294" numCol="1" anchor="t" anchorCtr="0" compatLnSpc="1">
            <a:prstTxWarp prst="textNoShape">
              <a:avLst/>
            </a:prstTxWarp>
          </a:bodyPr>
          <a:lstStyle/>
          <a:p>
            <a:pPr defTabSz="592826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87" tIns="59294" rIns="118587" bIns="59294" numCol="1" anchor="t" anchorCtr="0" compatLnSpc="1">
            <a:prstTxWarp prst="textNoShape">
              <a:avLst/>
            </a:prstTxWarp>
          </a:bodyPr>
          <a:lstStyle/>
          <a:p>
            <a:pPr defTabSz="592826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587" tIns="59294" rIns="118587" bIns="59294" numCol="1" anchor="t" anchorCtr="0" compatLnSpc="1">
            <a:prstTxWarp prst="textNoShape">
              <a:avLst/>
            </a:prstTxWarp>
          </a:bodyPr>
          <a:lstStyle/>
          <a:p>
            <a:pPr defTabSz="592826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87" tIns="59294" rIns="118587" bIns="59294" numCol="1" anchor="t" anchorCtr="0" compatLnSpc="1">
            <a:prstTxWarp prst="textNoShape">
              <a:avLst/>
            </a:prstTxWarp>
          </a:bodyPr>
          <a:lstStyle/>
          <a:p>
            <a:pPr defTabSz="592826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87" tIns="59294" rIns="118587" bIns="59294" numCol="1" anchor="t" anchorCtr="0" compatLnSpc="1">
            <a:prstTxWarp prst="textNoShape">
              <a:avLst/>
            </a:prstTxWarp>
          </a:bodyPr>
          <a:lstStyle/>
          <a:p>
            <a:pPr defTabSz="592826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87" tIns="59294" rIns="118587" bIns="59294" numCol="1" anchor="t" anchorCtr="0" compatLnSpc="1">
            <a:prstTxWarp prst="textNoShape">
              <a:avLst/>
            </a:prstTxWarp>
          </a:bodyPr>
          <a:lstStyle/>
          <a:p>
            <a:pPr defTabSz="592826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587" tIns="59294" rIns="118587" bIns="59294" numCol="1" anchor="t" anchorCtr="0" compatLnSpc="1">
            <a:prstTxWarp prst="textNoShape">
              <a:avLst/>
            </a:prstTxWarp>
          </a:bodyPr>
          <a:lstStyle/>
          <a:p>
            <a:pPr defTabSz="592826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87" tIns="59294" rIns="118587" bIns="59294" numCol="1" anchor="t" anchorCtr="0" compatLnSpc="1">
            <a:prstTxWarp prst="textNoShape">
              <a:avLst/>
            </a:prstTxWarp>
          </a:bodyPr>
          <a:lstStyle/>
          <a:p>
            <a:pPr defTabSz="592826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3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87" tIns="59294" rIns="118587" bIns="59294" numCol="1" anchor="t" anchorCtr="0" compatLnSpc="1">
            <a:prstTxWarp prst="textNoShape">
              <a:avLst/>
            </a:prstTxWarp>
          </a:bodyPr>
          <a:lstStyle/>
          <a:p>
            <a:pPr defTabSz="592826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87" tIns="59294" rIns="118587" bIns="59294" numCol="1" anchor="t" anchorCtr="0" compatLnSpc="1">
            <a:prstTxWarp prst="textNoShape">
              <a:avLst/>
            </a:prstTxWarp>
          </a:bodyPr>
          <a:lstStyle/>
          <a:p>
            <a:pPr defTabSz="592826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1552085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448" r:id="rId1"/>
    <p:sldLayoutId id="2147485449" r:id="rId2"/>
    <p:sldLayoutId id="2147485450" r:id="rId3"/>
    <p:sldLayoutId id="2147485451" r:id="rId4"/>
    <p:sldLayoutId id="2147485452" r:id="rId5"/>
    <p:sldLayoutId id="2147485453" r:id="rId6"/>
    <p:sldLayoutId id="2147485454" r:id="rId7"/>
    <p:sldLayoutId id="2147485455" r:id="rId8"/>
  </p:sldLayoutIdLst>
  <p:hf sldNum="0" hdr="0" ftr="0" dt="0"/>
  <p:txStyles>
    <p:titleStyle>
      <a:lvl1pPr algn="l" defTabSz="592826" rtl="0" eaLnBrk="1" latinLnBrk="0" hangingPunct="1">
        <a:lnSpc>
          <a:spcPts val="5486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A037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8789" indent="-238789" algn="l" defTabSz="592826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3451" indent="-228490" algn="l" defTabSz="592826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3451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1944" indent="-228490" algn="l" defTabSz="592826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1944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0438" indent="-228490" algn="l" defTabSz="592826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0438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58921" indent="-228490" algn="l" defTabSz="592826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58921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60662" indent="-296408" algn="l" defTabSz="592826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53505" indent="-296408" algn="l" defTabSz="592826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46354" indent="-296408" algn="l" defTabSz="592826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39202" indent="-296408" algn="l" defTabSz="592826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2826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2826" algn="l" defTabSz="592826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5694" algn="l" defTabSz="592826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78549" algn="l" defTabSz="592826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1395" algn="l" defTabSz="592826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64242" algn="l" defTabSz="592826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57083" algn="l" defTabSz="592826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49932" algn="l" defTabSz="592826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42783" algn="l" defTabSz="592826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1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1978" y="358984"/>
            <a:ext cx="7338636" cy="102481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2826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1855236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2826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2826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86" tIns="46686" rIns="46686" bIns="46686" numCol="1" anchor="t" anchorCtr="0" compatLnSpc="1">
            <a:prstTxWarp prst="textNoShape">
              <a:avLst/>
            </a:prstTxWarp>
          </a:bodyPr>
          <a:lstStyle/>
          <a:p>
            <a:pPr defTabSz="592826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2826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2826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16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86" tIns="46686" rIns="46686" bIns="46686" numCol="1" anchor="t" anchorCtr="0" compatLnSpc="1">
            <a:prstTxWarp prst="textNoShape">
              <a:avLst/>
            </a:prstTxWarp>
          </a:bodyPr>
          <a:lstStyle/>
          <a:p>
            <a:pPr defTabSz="592826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2826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2826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86" tIns="46686" rIns="46686" bIns="46686" numCol="1" anchor="t" anchorCtr="0" compatLnSpc="1">
            <a:prstTxWarp prst="textNoShape">
              <a:avLst/>
            </a:prstTxWarp>
          </a:bodyPr>
          <a:lstStyle/>
          <a:p>
            <a:pPr defTabSz="592826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2826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2826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9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86" tIns="46686" rIns="46686" bIns="46686" numCol="1" anchor="t" anchorCtr="0" compatLnSpc="1">
            <a:prstTxWarp prst="textNoShape">
              <a:avLst/>
            </a:prstTxWarp>
          </a:bodyPr>
          <a:lstStyle/>
          <a:p>
            <a:pPr defTabSz="592826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2826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2826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Freeform 28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86" tIns="46686" rIns="46686" bIns="46686" numCol="1" anchor="t" anchorCtr="0" compatLnSpc="1">
            <a:prstTxWarp prst="textNoShape">
              <a:avLst/>
            </a:prstTxWarp>
          </a:bodyPr>
          <a:lstStyle/>
          <a:p>
            <a:pPr defTabSz="592826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2826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2826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86" tIns="46686" rIns="46686" bIns="46686" numCol="1" anchor="t" anchorCtr="0" compatLnSpc="1">
            <a:prstTxWarp prst="textNoShape">
              <a:avLst/>
            </a:prstTxWarp>
          </a:bodyPr>
          <a:lstStyle/>
          <a:p>
            <a:pPr defTabSz="592826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2826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2826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86" tIns="46686" rIns="46686" bIns="46686" numCol="1" anchor="t" anchorCtr="0" compatLnSpc="1">
            <a:prstTxWarp prst="textNoShape">
              <a:avLst/>
            </a:prstTxWarp>
          </a:bodyPr>
          <a:lstStyle/>
          <a:p>
            <a:pPr defTabSz="592826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2826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2826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2" name="TextBox 39"/>
          <p:cNvSpPr txBox="1"/>
          <p:nvPr userDrawn="1"/>
        </p:nvSpPr>
        <p:spPr>
          <a:xfrm>
            <a:off x="9223673" y="6781938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2826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587" tIns="59294" rIns="118587" bIns="59294" numCol="1" anchor="t" anchorCtr="0" compatLnSpc="1">
            <a:prstTxWarp prst="textNoShape">
              <a:avLst/>
            </a:prstTxWarp>
          </a:bodyPr>
          <a:lstStyle/>
          <a:p>
            <a:pPr defTabSz="592826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87" tIns="59294" rIns="118587" bIns="59294" numCol="1" anchor="t" anchorCtr="0" compatLnSpc="1">
            <a:prstTxWarp prst="textNoShape">
              <a:avLst/>
            </a:prstTxWarp>
          </a:bodyPr>
          <a:lstStyle/>
          <a:p>
            <a:pPr defTabSz="592826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87" tIns="59294" rIns="118587" bIns="59294" numCol="1" anchor="t" anchorCtr="0" compatLnSpc="1">
            <a:prstTxWarp prst="textNoShape">
              <a:avLst/>
            </a:prstTxWarp>
          </a:bodyPr>
          <a:lstStyle/>
          <a:p>
            <a:pPr defTabSz="592826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87" tIns="59294" rIns="118587" bIns="59294" numCol="1" anchor="t" anchorCtr="0" compatLnSpc="1">
            <a:prstTxWarp prst="textNoShape">
              <a:avLst/>
            </a:prstTxWarp>
          </a:bodyPr>
          <a:lstStyle/>
          <a:p>
            <a:pPr defTabSz="592826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587" tIns="59294" rIns="118587" bIns="59294" numCol="1" anchor="t" anchorCtr="0" compatLnSpc="1">
            <a:prstTxWarp prst="textNoShape">
              <a:avLst/>
            </a:prstTxWarp>
          </a:bodyPr>
          <a:lstStyle/>
          <a:p>
            <a:pPr defTabSz="592826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87" tIns="59294" rIns="118587" bIns="59294" numCol="1" anchor="t" anchorCtr="0" compatLnSpc="1">
            <a:prstTxWarp prst="textNoShape">
              <a:avLst/>
            </a:prstTxWarp>
          </a:bodyPr>
          <a:lstStyle/>
          <a:p>
            <a:pPr defTabSz="592826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87" tIns="59294" rIns="118587" bIns="59294" numCol="1" anchor="t" anchorCtr="0" compatLnSpc="1">
            <a:prstTxWarp prst="textNoShape">
              <a:avLst/>
            </a:prstTxWarp>
          </a:bodyPr>
          <a:lstStyle/>
          <a:p>
            <a:pPr defTabSz="592826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87" tIns="59294" rIns="118587" bIns="59294" numCol="1" anchor="t" anchorCtr="0" compatLnSpc="1">
            <a:prstTxWarp prst="textNoShape">
              <a:avLst/>
            </a:prstTxWarp>
          </a:bodyPr>
          <a:lstStyle/>
          <a:p>
            <a:pPr defTabSz="592826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587" tIns="59294" rIns="118587" bIns="59294" numCol="1" anchor="t" anchorCtr="0" compatLnSpc="1">
            <a:prstTxWarp prst="textNoShape">
              <a:avLst/>
            </a:prstTxWarp>
          </a:bodyPr>
          <a:lstStyle/>
          <a:p>
            <a:pPr defTabSz="592826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87" tIns="59294" rIns="118587" bIns="59294" numCol="1" anchor="t" anchorCtr="0" compatLnSpc="1">
            <a:prstTxWarp prst="textNoShape">
              <a:avLst/>
            </a:prstTxWarp>
          </a:bodyPr>
          <a:lstStyle/>
          <a:p>
            <a:pPr defTabSz="592826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3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87" tIns="59294" rIns="118587" bIns="59294" numCol="1" anchor="t" anchorCtr="0" compatLnSpc="1">
            <a:prstTxWarp prst="textNoShape">
              <a:avLst/>
            </a:prstTxWarp>
          </a:bodyPr>
          <a:lstStyle/>
          <a:p>
            <a:pPr defTabSz="592826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587" tIns="59294" rIns="118587" bIns="59294" numCol="1" anchor="t" anchorCtr="0" compatLnSpc="1">
            <a:prstTxWarp prst="textNoShape">
              <a:avLst/>
            </a:prstTxWarp>
          </a:bodyPr>
          <a:lstStyle/>
          <a:p>
            <a:pPr defTabSz="592826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02467192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55" r:id="rId1"/>
    <p:sldLayoutId id="2147483856" r:id="rId2"/>
    <p:sldLayoutId id="2147483857" r:id="rId3"/>
    <p:sldLayoutId id="2147483858" r:id="rId4"/>
    <p:sldLayoutId id="2147483859" r:id="rId5"/>
    <p:sldLayoutId id="2147483860" r:id="rId6"/>
    <p:sldLayoutId id="2147483861" r:id="rId7"/>
    <p:sldLayoutId id="2147483862" r:id="rId8"/>
  </p:sldLayoutIdLst>
  <p:hf sldNum="0" hdr="0" ftr="0" dt="0"/>
  <p:txStyles>
    <p:titleStyle>
      <a:lvl1pPr algn="l" defTabSz="592826" rtl="0" eaLnBrk="1" latinLnBrk="0" hangingPunct="1">
        <a:lnSpc>
          <a:spcPts val="5486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A037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8789" indent="-238789" algn="l" defTabSz="592826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3451" indent="-228490" algn="l" defTabSz="592826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3451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1944" indent="-228490" algn="l" defTabSz="592826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1944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0438" indent="-228490" algn="l" defTabSz="592826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0438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58921" indent="-228490" algn="l" defTabSz="592826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58921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60662" indent="-296408" algn="l" defTabSz="592826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53505" indent="-296408" algn="l" defTabSz="592826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46354" indent="-296408" algn="l" defTabSz="592826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39202" indent="-296408" algn="l" defTabSz="592826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2826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2826" algn="l" defTabSz="592826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5694" algn="l" defTabSz="592826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78549" algn="l" defTabSz="592826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1395" algn="l" defTabSz="592826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64242" algn="l" defTabSz="592826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57083" algn="l" defTabSz="592826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49932" algn="l" defTabSz="592826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42783" algn="l" defTabSz="592826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17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78" y="1854632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Click to edit Master text styles</a:t>
            </a:r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Second level</a:t>
            </a:r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Third level</a:t>
            </a:r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Fourth level</a:t>
            </a:r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Fifth 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1982" y="358900"/>
            <a:ext cx="10725159" cy="102481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lvl="0">
              <a:lnSpc>
                <a:spcPct val="100000"/>
              </a:lnSpc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4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7459" y="6371922"/>
            <a:ext cx="10176095" cy="282263"/>
          </a:xfrm>
          <a:prstGeom prst="rect">
            <a:avLst/>
          </a:prstGeom>
        </p:spPr>
        <p:txBody>
          <a:bodyPr vert="horz" lIns="119434" tIns="59716" rIns="119434" bIns="59716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4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3552" y="6371922"/>
            <a:ext cx="578105" cy="282263"/>
          </a:xfrm>
          <a:prstGeom prst="rect">
            <a:avLst/>
          </a:prstGeom>
        </p:spPr>
        <p:txBody>
          <a:bodyPr vert="horz" lIns="119434" tIns="59716" rIns="119434" bIns="59716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fld id="{74850952-3374-434C-8FC6-DE28F8CD25B0}" type="slidenum">
              <a:rPr lang="pt-BR" smtClean="0">
                <a:solidFill>
                  <a:srgbClr val="5F5F5F"/>
                </a:solidFill>
              </a:rPr>
              <a:pPr defTabSz="597158" fontAlgn="auto">
                <a:spcBef>
                  <a:spcPts val="0"/>
                </a:spcBef>
                <a:spcAft>
                  <a:spcPts val="0"/>
                </a:spcAft>
              </a:pPr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47" name="TextBox 46"/>
          <p:cNvSpPr txBox="1"/>
          <p:nvPr userDrawn="1"/>
        </p:nvSpPr>
        <p:spPr>
          <a:xfrm>
            <a:off x="-281813" y="7363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715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Oi 42pt</a:t>
            </a:r>
          </a:p>
        </p:txBody>
      </p:sp>
      <p:sp>
        <p:nvSpPr>
          <p:cNvPr id="48" name="TextBox 47"/>
          <p:cNvSpPr txBox="1"/>
          <p:nvPr userDrawn="1"/>
        </p:nvSpPr>
        <p:spPr>
          <a:xfrm>
            <a:off x="-281813" y="1855154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715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49" name="TextBox 48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50" name="Freeform 5"/>
          <p:cNvSpPr>
            <a:spLocks/>
          </p:cNvSpPr>
          <p:nvPr userDrawn="1"/>
        </p:nvSpPr>
        <p:spPr bwMode="auto">
          <a:xfrm>
            <a:off x="11944818" y="3078502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20" tIns="47020" rIns="47020" bIns="47020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51" name="Freeform 50"/>
          <p:cNvSpPr>
            <a:spLocks/>
          </p:cNvSpPr>
          <p:nvPr userDrawn="1"/>
        </p:nvSpPr>
        <p:spPr bwMode="auto">
          <a:xfrm>
            <a:off x="11944818" y="2513906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20" tIns="47020" rIns="47020" bIns="47020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4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52" name="Freeform 5"/>
          <p:cNvSpPr>
            <a:spLocks/>
          </p:cNvSpPr>
          <p:nvPr userDrawn="1"/>
        </p:nvSpPr>
        <p:spPr bwMode="auto">
          <a:xfrm>
            <a:off x="11944818" y="1949310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20" tIns="47020" rIns="47020" bIns="47020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9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53" name="Freeform 5"/>
          <p:cNvSpPr>
            <a:spLocks/>
          </p:cNvSpPr>
          <p:nvPr userDrawn="1"/>
        </p:nvSpPr>
        <p:spPr bwMode="auto">
          <a:xfrm>
            <a:off x="11944818" y="1384714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20" tIns="47020" rIns="47020" bIns="47020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0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54" name="Freeform 53"/>
          <p:cNvSpPr>
            <a:spLocks/>
          </p:cNvSpPr>
          <p:nvPr userDrawn="1"/>
        </p:nvSpPr>
        <p:spPr bwMode="auto">
          <a:xfrm>
            <a:off x="11944818" y="820118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20" tIns="47020" rIns="47020" bIns="47020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140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55" name="Freeform 5"/>
          <p:cNvSpPr>
            <a:spLocks/>
          </p:cNvSpPr>
          <p:nvPr userDrawn="1"/>
        </p:nvSpPr>
        <p:spPr bwMode="auto">
          <a:xfrm>
            <a:off x="11944818" y="258729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20" tIns="47020" rIns="47020" bIns="47020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715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715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56" name="Freeform 5"/>
          <p:cNvSpPr>
            <a:spLocks/>
          </p:cNvSpPr>
          <p:nvPr userDrawn="1"/>
        </p:nvSpPr>
        <p:spPr bwMode="auto">
          <a:xfrm>
            <a:off x="11944818" y="3643098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20" tIns="47020" rIns="47020" bIns="47020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57" name="Freeform 5"/>
          <p:cNvSpPr>
            <a:spLocks/>
          </p:cNvSpPr>
          <p:nvPr userDrawn="1"/>
        </p:nvSpPr>
        <p:spPr bwMode="auto">
          <a:xfrm>
            <a:off x="11949114" y="4301731"/>
            <a:ext cx="424105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8" name="Freeform 5"/>
          <p:cNvSpPr>
            <a:spLocks/>
          </p:cNvSpPr>
          <p:nvPr userDrawn="1"/>
        </p:nvSpPr>
        <p:spPr bwMode="auto">
          <a:xfrm>
            <a:off x="11949112" y="4493138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9" name="Freeform 5"/>
          <p:cNvSpPr>
            <a:spLocks/>
          </p:cNvSpPr>
          <p:nvPr userDrawn="1"/>
        </p:nvSpPr>
        <p:spPr bwMode="auto">
          <a:xfrm>
            <a:off x="12102362" y="4493138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0" name="Freeform 5"/>
          <p:cNvSpPr>
            <a:spLocks/>
          </p:cNvSpPr>
          <p:nvPr userDrawn="1"/>
        </p:nvSpPr>
        <p:spPr bwMode="auto">
          <a:xfrm>
            <a:off x="12255608" y="4493135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1" name="Freeform 5"/>
          <p:cNvSpPr>
            <a:spLocks/>
          </p:cNvSpPr>
          <p:nvPr userDrawn="1"/>
        </p:nvSpPr>
        <p:spPr bwMode="auto">
          <a:xfrm>
            <a:off x="11949114" y="4775433"/>
            <a:ext cx="424105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2" name="Freeform 5"/>
          <p:cNvSpPr>
            <a:spLocks/>
          </p:cNvSpPr>
          <p:nvPr userDrawn="1"/>
        </p:nvSpPr>
        <p:spPr bwMode="auto">
          <a:xfrm>
            <a:off x="11949112" y="4982131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3" name="Freeform 5"/>
          <p:cNvSpPr>
            <a:spLocks/>
          </p:cNvSpPr>
          <p:nvPr userDrawn="1"/>
        </p:nvSpPr>
        <p:spPr bwMode="auto">
          <a:xfrm>
            <a:off x="12102362" y="4982128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4" name="Freeform 5"/>
          <p:cNvSpPr>
            <a:spLocks/>
          </p:cNvSpPr>
          <p:nvPr userDrawn="1"/>
        </p:nvSpPr>
        <p:spPr bwMode="auto">
          <a:xfrm>
            <a:off x="12255608" y="4982127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5" name="Freeform 5"/>
          <p:cNvSpPr>
            <a:spLocks/>
          </p:cNvSpPr>
          <p:nvPr userDrawn="1"/>
        </p:nvSpPr>
        <p:spPr bwMode="auto">
          <a:xfrm>
            <a:off x="11949114" y="5245930"/>
            <a:ext cx="424105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6" name="Freeform 5"/>
          <p:cNvSpPr>
            <a:spLocks/>
          </p:cNvSpPr>
          <p:nvPr userDrawn="1"/>
        </p:nvSpPr>
        <p:spPr bwMode="auto">
          <a:xfrm>
            <a:off x="11949112" y="5437334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7" name="Freeform 5"/>
          <p:cNvSpPr>
            <a:spLocks/>
          </p:cNvSpPr>
          <p:nvPr userDrawn="1"/>
        </p:nvSpPr>
        <p:spPr bwMode="auto">
          <a:xfrm>
            <a:off x="12102362" y="5437333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8" name="Freeform 5"/>
          <p:cNvSpPr>
            <a:spLocks/>
          </p:cNvSpPr>
          <p:nvPr userDrawn="1"/>
        </p:nvSpPr>
        <p:spPr bwMode="auto">
          <a:xfrm>
            <a:off x="12255608" y="5437333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9" name="TextBox 39"/>
          <p:cNvSpPr txBox="1"/>
          <p:nvPr userDrawn="1"/>
        </p:nvSpPr>
        <p:spPr>
          <a:xfrm>
            <a:off x="11949113" y="5619122"/>
            <a:ext cx="621766" cy="86593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7158" fontAlgn="auto">
              <a:spcBef>
                <a:spcPts val="1045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 de cores (usar apenas 2 cores dos esquemas abaixo)</a:t>
            </a:r>
          </a:p>
        </p:txBody>
      </p:sp>
      <p:sp>
        <p:nvSpPr>
          <p:cNvPr id="43" name="Freeform 5"/>
          <p:cNvSpPr>
            <a:spLocks/>
          </p:cNvSpPr>
          <p:nvPr userDrawn="1"/>
        </p:nvSpPr>
        <p:spPr bwMode="auto">
          <a:xfrm>
            <a:off x="12411753" y="25872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BD78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" name="Freeform 5"/>
          <p:cNvSpPr>
            <a:spLocks/>
          </p:cNvSpPr>
          <p:nvPr userDrawn="1"/>
        </p:nvSpPr>
        <p:spPr bwMode="auto">
          <a:xfrm>
            <a:off x="12411753" y="537757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7A23C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0" name="Freeform 5"/>
          <p:cNvSpPr>
            <a:spLocks/>
          </p:cNvSpPr>
          <p:nvPr userDrawn="1"/>
        </p:nvSpPr>
        <p:spPr bwMode="auto">
          <a:xfrm>
            <a:off x="12411753" y="86222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86DB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1" name="Freeform 5"/>
          <p:cNvSpPr>
            <a:spLocks/>
          </p:cNvSpPr>
          <p:nvPr userDrawn="1"/>
        </p:nvSpPr>
        <p:spPr bwMode="auto">
          <a:xfrm>
            <a:off x="12411753" y="113250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B51F7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2" name="Freeform 71"/>
          <p:cNvSpPr>
            <a:spLocks/>
          </p:cNvSpPr>
          <p:nvPr userDrawn="1"/>
        </p:nvSpPr>
        <p:spPr bwMode="auto">
          <a:xfrm>
            <a:off x="12411753" y="144158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95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3" name="Freeform 5"/>
          <p:cNvSpPr>
            <a:spLocks/>
          </p:cNvSpPr>
          <p:nvPr userDrawn="1"/>
        </p:nvSpPr>
        <p:spPr bwMode="auto">
          <a:xfrm>
            <a:off x="12411753" y="171186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CC52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4" name="Freeform 5"/>
          <p:cNvSpPr>
            <a:spLocks/>
          </p:cNvSpPr>
          <p:nvPr userDrawn="1"/>
        </p:nvSpPr>
        <p:spPr bwMode="auto">
          <a:xfrm>
            <a:off x="12411753" y="200887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C8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5" name="Freeform 5"/>
          <p:cNvSpPr>
            <a:spLocks/>
          </p:cNvSpPr>
          <p:nvPr userDrawn="1"/>
        </p:nvSpPr>
        <p:spPr bwMode="auto">
          <a:xfrm>
            <a:off x="12411753" y="227915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CCC6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6" name="Freeform 5"/>
          <p:cNvSpPr>
            <a:spLocks/>
          </p:cNvSpPr>
          <p:nvPr userDrawn="1"/>
        </p:nvSpPr>
        <p:spPr bwMode="auto">
          <a:xfrm>
            <a:off x="12411753" y="256409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69D17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7" name="Freeform 5"/>
          <p:cNvSpPr>
            <a:spLocks/>
          </p:cNvSpPr>
          <p:nvPr userDrawn="1"/>
        </p:nvSpPr>
        <p:spPr bwMode="auto">
          <a:xfrm>
            <a:off x="12411753" y="283437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9E0B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8" name="Freeform 5"/>
          <p:cNvSpPr>
            <a:spLocks/>
          </p:cNvSpPr>
          <p:nvPr userDrawn="1"/>
        </p:nvSpPr>
        <p:spPr bwMode="auto">
          <a:xfrm>
            <a:off x="12411753" y="3155524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E6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9" name="Freeform 5"/>
          <p:cNvSpPr>
            <a:spLocks/>
          </p:cNvSpPr>
          <p:nvPr userDrawn="1"/>
        </p:nvSpPr>
        <p:spPr bwMode="auto">
          <a:xfrm>
            <a:off x="12411753" y="342580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AFC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80" name="Freeform 5"/>
          <p:cNvSpPr>
            <a:spLocks/>
          </p:cNvSpPr>
          <p:nvPr userDrawn="1"/>
        </p:nvSpPr>
        <p:spPr bwMode="auto">
          <a:xfrm>
            <a:off x="12411753" y="3734884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DEDEDE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81" name="Freeform 5"/>
          <p:cNvSpPr>
            <a:spLocks/>
          </p:cNvSpPr>
          <p:nvPr userDrawn="1"/>
        </p:nvSpPr>
        <p:spPr bwMode="auto">
          <a:xfrm>
            <a:off x="12411753" y="400516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9C9C9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0758335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458" r:id="rId1"/>
    <p:sldLayoutId id="2147485459" r:id="rId2"/>
    <p:sldLayoutId id="2147485460" r:id="rId3"/>
  </p:sldLayoutIdLst>
  <p:hf hdr="0" dt="0"/>
  <p:txStyles>
    <p:titleStyle>
      <a:lvl1pPr algn="l" defTabSz="597158" rtl="0" eaLnBrk="1" latinLnBrk="0" hangingPunct="1">
        <a:lnSpc>
          <a:spcPts val="5487"/>
        </a:lnSpc>
        <a:spcBef>
          <a:spcPct val="0"/>
        </a:spcBef>
        <a:spcAft>
          <a:spcPts val="0"/>
        </a:spcAft>
        <a:buNone/>
        <a:defRPr lang="en-US" sz="5500" b="0" i="0" kern="1200" noProof="0" dirty="0">
          <a:solidFill>
            <a:srgbClr val="A037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40523" indent="-240523" algn="l" defTabSz="59715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6895" indent="-230154" algn="l" defTabSz="59715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6895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7051" indent="-230154" algn="l" defTabSz="59715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7051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7204" indent="-230154" algn="l" defTabSz="59715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7204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7360" indent="-230154" algn="l" defTabSz="59715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7360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84366" indent="-298578" algn="l" defTabSz="59715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81521" indent="-298578" algn="l" defTabSz="59715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78678" indent="-298578" algn="l" defTabSz="59715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75834" indent="-298578" algn="l" defTabSz="59715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715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7158" algn="l" defTabSz="59715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94313" algn="l" defTabSz="59715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91473" algn="l" defTabSz="59715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88628" algn="l" defTabSz="59715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85786" algn="l" defTabSz="59715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82943" algn="l" defTabSz="59715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80101" algn="l" defTabSz="59715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77257" algn="l" defTabSz="59715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17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3379988883"/>
              </p:ext>
            </p:extLst>
          </p:nvPr>
        </p:nvGraphicFramePr>
        <p:xfrm>
          <a:off x="1" y="2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29257" name="Slide do think-cell" r:id="rId14" imgW="0" imgH="0" progId="TCLayout.ActiveDocument.1">
                  <p:embed/>
                </p:oleObj>
              </mc:Choice>
              <mc:Fallback>
                <p:oleObj name="Slide do think-cell" r:id="rId14" imgW="0" imgH="0" progId="TCLayout.ActiveDocument.1">
                  <p:embed/>
                  <p:pic>
                    <p:nvPicPr>
                      <p:cNvPr id="0" name="AutoShape 14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2"/>
                        <a:ext cx="211676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10776432" y="36518"/>
            <a:ext cx="876339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88028"/>
            <a:endParaRPr lang="pt-BR" sz="8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10519874" y="1932900"/>
            <a:ext cx="267220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10682583" y="4106726"/>
            <a:ext cx="234679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936841" y="1951039"/>
            <a:ext cx="5736421" cy="11060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ext styles</a:t>
            </a:r>
          </a:p>
          <a:p>
            <a:pPr lvl="1"/>
            <a:r>
              <a:rPr lang="pt-BR" noProof="0" smtClean="0"/>
              <a:t>Second level</a:t>
            </a:r>
          </a:p>
          <a:p>
            <a:pPr lvl="2"/>
            <a:r>
              <a:rPr lang="pt-BR" noProof="0" smtClean="0"/>
              <a:t>Third level</a:t>
            </a:r>
          </a:p>
          <a:p>
            <a:pPr lvl="3"/>
            <a:r>
              <a:rPr lang="pt-BR" noProof="0" smtClean="0"/>
              <a:t>Fourth level</a:t>
            </a:r>
          </a:p>
          <a:p>
            <a:pPr lvl="4"/>
            <a:r>
              <a:rPr lang="pt-BR" noProof="0" smtClean="0"/>
              <a:t>Fifth level</a:t>
            </a:r>
            <a:endParaRPr lang="pt-BR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211676" y="230280"/>
            <a:ext cx="10530036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58852" y="26992"/>
            <a:ext cx="886083" cy="2212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pt-BR" sz="1400" smtClean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TRACKER</a:t>
            </a:r>
            <a:endParaRPr lang="pt-BR" sz="1400" dirty="0">
              <a:solidFill>
                <a:srgbClr val="80808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58875" y="621826"/>
            <a:ext cx="11491891" cy="281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pt-BR" sz="1800" smtClean="0">
                <a:solidFill>
                  <a:srgbClr val="D5E7FF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Unit of measure</a:t>
            </a:r>
            <a:endParaRPr lang="pt-BR" sz="1800" dirty="0" smtClean="0">
              <a:solidFill>
                <a:srgbClr val="D5E7FF">
                  <a:lumMod val="75000"/>
                </a:srgbClr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158761" y="6265675"/>
            <a:ext cx="11398753" cy="358776"/>
            <a:chOff x="75" y="3877"/>
            <a:chExt cx="5385" cy="226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877"/>
              <a:ext cx="5385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pt-BR" sz="100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1 Footnote</a:t>
              </a:r>
              <a:endParaRPr lang="pt-BR" sz="1000" dirty="0" smtClean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06"/>
              <a:ext cx="4323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t" anchorCtr="0">
              <a:spAutoFit/>
            </a:bodyPr>
            <a:lstStyle/>
            <a:p>
              <a:pPr marL="604644" indent="-604644" defTabSz="888028">
                <a:tabLst>
                  <a:tab pos="607774" algn="l"/>
                </a:tabLst>
              </a:pPr>
              <a:r>
                <a:rPr lang="pt-BR" sz="1000" dirty="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FONTE: </a:t>
              </a:r>
              <a:r>
                <a:rPr lang="pt-BR" sz="1000" dirty="0" err="1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ource</a:t>
              </a:r>
              <a:endParaRPr lang="pt-BR" sz="1000" dirty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936840" y="1123953"/>
            <a:ext cx="5685618" cy="511174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 hidden="1"/>
            <p:cNvSpPr>
              <a:spLocks noChangeArrowheads="1"/>
            </p:cNvSpPr>
            <p:nvPr/>
          </p:nvSpPr>
          <p:spPr bwMode="auto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pt-BR" b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itle</a:t>
              </a:r>
            </a:p>
            <a:p>
              <a:r>
                <a:rPr lang="pt-BR" smtClean="0">
                  <a:solidFill>
                    <a:srgbClr val="80808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Unit of measure</a:t>
              </a:r>
              <a:endParaRPr lang="pt-BR" dirty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28" name="Group 27"/>
          <p:cNvGrpSpPr/>
          <p:nvPr userDrawn="1"/>
        </p:nvGrpSpPr>
        <p:grpSpPr>
          <a:xfrm>
            <a:off x="11335740" y="60963"/>
            <a:ext cx="613376" cy="655256"/>
            <a:chOff x="5526523" y="2325890"/>
            <a:chExt cx="3423032" cy="3656747"/>
          </a:xfrm>
        </p:grpSpPr>
        <p:sp>
          <p:nvSpPr>
            <p:cNvPr id="29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30" name="Group 29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31" name="Donut 30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2" name="Oval 31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3" name="Oval 32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71561535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478" r:id="rId1"/>
    <p:sldLayoutId id="2147485479" r:id="rId2"/>
    <p:sldLayoutId id="2147485480" r:id="rId3"/>
    <p:sldLayoutId id="2147485481" r:id="rId4"/>
    <p:sldLayoutId id="2147485482" r:id="rId5"/>
    <p:sldLayoutId id="2147485483" r:id="rId6"/>
    <p:sldLayoutId id="2147485484" r:id="rId7"/>
    <p:sldLayoutId id="2147485485" r:id="rId8"/>
    <p:sldLayoutId id="2147485486" r:id="rId9"/>
    <p:sldLayoutId id="2147485487" r:id="rId10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defTabSz="888028" rtl="0" eaLnBrk="1" fontAlgn="base" hangingPunct="1">
        <a:spcBef>
          <a:spcPct val="0"/>
        </a:spcBef>
        <a:spcAft>
          <a:spcPct val="0"/>
        </a:spcAft>
        <a:tabLst>
          <a:tab pos="267688" algn="l"/>
        </a:tabLst>
        <a:defRPr lang="en-US" sz="2000" b="1" baseline="0" noProof="0" dirty="0" smtClean="0">
          <a:solidFill>
            <a:schemeClr val="accent4"/>
          </a:solidFill>
          <a:latin typeface="Arial" panose="020B0604020202020204" pitchFamily="34" charset="0"/>
          <a:ea typeface="+mj-ea"/>
          <a:cs typeface="Arial" panose="020B0604020202020204" pitchFamily="34" charset="0"/>
          <a:sym typeface="Arial" panose="020B0604020202020204" pitchFamily="34" charset="0"/>
        </a:defRPr>
      </a:lvl1pPr>
      <a:lvl2pPr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2pPr>
      <a:lvl3pPr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3pPr>
      <a:lvl4pPr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4pPr>
      <a:lvl5pPr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5pPr>
      <a:lvl6pPr marL="453493"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6pPr>
      <a:lvl7pPr marL="906935"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7pPr>
      <a:lvl8pPr marL="1360390"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8pPr>
      <a:lvl9pPr marL="1813863"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88028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400" baseline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1pPr>
      <a:lvl2pPr marL="192114" indent="-192114" algn="l" defTabSz="888028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15000"/>
        <a:buFont typeface="Simplon BP Regular" pitchFamily="2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2pPr>
      <a:lvl3pPr marL="453493" indent="-259777" algn="l" defTabSz="888028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charset="0"/>
        <a:buChar char="–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3pPr>
      <a:lvl4pPr marL="609346" indent="-154337" algn="l" defTabSz="888028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pitchFamily="34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4pPr>
      <a:lvl5pPr marL="743666" indent="-129115" algn="l" defTabSz="888028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89000"/>
        <a:buFont typeface="Arial" charset="0"/>
        <a:buChar char="-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5pPr>
      <a:lvl6pPr marL="743666" indent="-129115" algn="l" defTabSz="88802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3666" indent="-129115" algn="l" defTabSz="88802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3666" indent="-129115" algn="l" defTabSz="88802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3666" indent="-129115" algn="l" defTabSz="88802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3493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06935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0390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13863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67322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20778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74250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27718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7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1299480373"/>
              </p:ext>
            </p:extLst>
          </p:nvPr>
        </p:nvGraphicFramePr>
        <p:xfrm>
          <a:off x="1591" y="1591"/>
          <a:ext cx="158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36422" name="Slide do think-cell" r:id="rId8" imgW="0" imgH="0" progId="TCLayout.ActiveDocument.1">
                  <p:embed/>
                </p:oleObj>
              </mc:Choice>
              <mc:Fallback>
                <p:oleObj name="Slide do think-cell" r:id="rId8" imgW="0" imgH="0" progId="TCLayout.ActiveDocument.1">
                  <p:embed/>
                  <p:pic>
                    <p:nvPicPr>
                      <p:cNvPr id="0" name="AutoShape 13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1" y="1591"/>
                        <a:ext cx="158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82" y="1854676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2025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81813" y="1855197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48" tIns="46848" rIns="46848" bIns="46848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48" tIns="46848" rIns="46848" bIns="46848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48" tIns="46848" rIns="46848" bIns="46848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48" tIns="46848" rIns="46848" bIns="46848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48" tIns="46848" rIns="46848" bIns="46848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48" tIns="46848" rIns="46848" bIns="46848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48" tIns="46848" rIns="46848" bIns="46848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9223673" y="6781899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4918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999" tIns="59497" rIns="118999" bIns="59497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99" tIns="59497" rIns="118999" bIns="59497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99" tIns="59497" rIns="118999" bIns="59497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99" tIns="59497" rIns="118999" bIns="59497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999" tIns="59497" rIns="118999" bIns="59497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99" tIns="59497" rIns="118999" bIns="59497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99" tIns="59497" rIns="118999" bIns="59497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99" tIns="59497" rIns="118999" bIns="59497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999" tIns="59497" rIns="118999" bIns="59497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99" tIns="59497" rIns="118999" bIns="59497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99" tIns="59497" rIns="118999" bIns="59497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99" tIns="59497" rIns="118999" bIns="59497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16931658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490" r:id="rId1"/>
    <p:sldLayoutId id="2147485491" r:id="rId2"/>
    <p:sldLayoutId id="2147485492" r:id="rId3"/>
    <p:sldLayoutId id="2147485493" r:id="rId4"/>
  </p:sldLayoutIdLst>
  <p:hf sldNum="0" hdr="0" ftr="0" dt="0"/>
  <p:txStyles>
    <p:titleStyle>
      <a:lvl1pPr algn="l" defTabSz="594918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625" indent="-239625" algn="l" defTabSz="59491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5115" indent="-229293" algn="l" defTabSz="59491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5115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4412" indent="-229293" algn="l" defTabSz="59491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4412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3714" indent="-229293" algn="l" defTabSz="59491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3714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3006" indent="-229293" algn="l" defTabSz="59491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3006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72127" indent="-297456" algn="l" defTabSz="59491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67049" indent="-297456" algn="l" defTabSz="59491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61975" indent="-297456" algn="l" defTabSz="59491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56908" indent="-297456" algn="l" defTabSz="59491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49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4918" algn="l" defTabSz="5949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9863" algn="l" defTabSz="5949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4793" algn="l" defTabSz="5949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9723" algn="l" defTabSz="5949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74661" algn="l" defTabSz="5949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69588" algn="l" defTabSz="5949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64514" algn="l" defTabSz="5949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59444" algn="l" defTabSz="5949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17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424000919"/>
              </p:ext>
            </p:extLst>
          </p:nvPr>
        </p:nvGraphicFramePr>
        <p:xfrm>
          <a:off x="1591" y="1591"/>
          <a:ext cx="158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38470" name="Slide do think-cell" r:id="rId8" imgW="0" imgH="0" progId="TCLayout.ActiveDocument.1">
                  <p:embed/>
                </p:oleObj>
              </mc:Choice>
              <mc:Fallback>
                <p:oleObj name="Slide do think-cell" r:id="rId8" imgW="0" imgH="0" progId="TCLayout.ActiveDocument.1">
                  <p:embed/>
                  <p:pic>
                    <p:nvPicPr>
                      <p:cNvPr id="0" name="AutoShape 13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1" y="1591"/>
                        <a:ext cx="158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82" y="1854676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2025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81813" y="1855197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48" tIns="46848" rIns="46848" bIns="46848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48" tIns="46848" rIns="46848" bIns="46848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48" tIns="46848" rIns="46848" bIns="46848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48" tIns="46848" rIns="46848" bIns="46848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48" tIns="46848" rIns="46848" bIns="46848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48" tIns="46848" rIns="46848" bIns="46848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48" tIns="46848" rIns="46848" bIns="46848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9223673" y="6781899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4918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999" tIns="59497" rIns="118999" bIns="59497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99" tIns="59497" rIns="118999" bIns="59497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99" tIns="59497" rIns="118999" bIns="59497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99" tIns="59497" rIns="118999" bIns="59497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999" tIns="59497" rIns="118999" bIns="59497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99" tIns="59497" rIns="118999" bIns="59497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99" tIns="59497" rIns="118999" bIns="59497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99" tIns="59497" rIns="118999" bIns="59497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999" tIns="59497" rIns="118999" bIns="59497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99" tIns="59497" rIns="118999" bIns="59497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99" tIns="59497" rIns="118999" bIns="59497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99" tIns="59497" rIns="118999" bIns="59497" numCol="1" anchor="t" anchorCtr="0" compatLnSpc="1">
            <a:prstTxWarp prst="textNoShape">
              <a:avLst/>
            </a:prstTxWarp>
          </a:bodyPr>
          <a:lstStyle/>
          <a:p>
            <a:pPr defTabSz="5949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9636937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496" r:id="rId1"/>
    <p:sldLayoutId id="2147485497" r:id="rId2"/>
    <p:sldLayoutId id="2147485498" r:id="rId3"/>
    <p:sldLayoutId id="2147485499" r:id="rId4"/>
  </p:sldLayoutIdLst>
  <p:hf sldNum="0" hdr="0" ftr="0" dt="0"/>
  <p:txStyles>
    <p:titleStyle>
      <a:lvl1pPr algn="l" defTabSz="594918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625" indent="-239625" algn="l" defTabSz="59491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5115" indent="-229293" algn="l" defTabSz="59491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5115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4412" indent="-229293" algn="l" defTabSz="59491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4412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3714" indent="-229293" algn="l" defTabSz="59491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3714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3006" indent="-229293" algn="l" defTabSz="59491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3006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72127" indent="-297456" algn="l" defTabSz="59491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67049" indent="-297456" algn="l" defTabSz="59491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61975" indent="-297456" algn="l" defTabSz="59491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56908" indent="-297456" algn="l" defTabSz="59491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49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4918" algn="l" defTabSz="5949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9863" algn="l" defTabSz="5949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4793" algn="l" defTabSz="5949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9723" algn="l" defTabSz="5949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74661" algn="l" defTabSz="5949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69588" algn="l" defTabSz="5949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64514" algn="l" defTabSz="5949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59444" algn="l" defTabSz="5949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17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741413093"/>
              </p:ext>
            </p:extLst>
          </p:nvPr>
        </p:nvGraphicFramePr>
        <p:xfrm>
          <a:off x="2077" y="2077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42564" name="Slide do think-cell" r:id="rId12" imgW="0" imgH="0" progId="TCLayout.ActiveDocument.1">
                  <p:embed/>
                </p:oleObj>
              </mc:Choice>
              <mc:Fallback>
                <p:oleObj name="Slide do think-cell" r:id="rId12" imgW="0" imgH="0" progId="TCLayout.ActiveDocument.1">
                  <p:embed/>
                  <p:pic>
                    <p:nvPicPr>
                      <p:cNvPr id="0" name="AutoShape 13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77" y="2077"/>
                        <a:ext cx="2074" cy="20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1978" y="358997"/>
            <a:ext cx="7338636" cy="102481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1855249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34" tIns="46634" rIns="46634" bIns="46634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16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34" tIns="46634" rIns="46634" bIns="46634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34" tIns="46634" rIns="46634" bIns="46634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9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34" tIns="46634" rIns="46634" bIns="46634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Freeform 28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34" tIns="46634" rIns="46634" bIns="46634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34" tIns="46634" rIns="46634" bIns="46634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34" tIns="46634" rIns="46634" bIns="46634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2" name="TextBox 39"/>
          <p:cNvSpPr txBox="1"/>
          <p:nvPr userDrawn="1"/>
        </p:nvSpPr>
        <p:spPr>
          <a:xfrm>
            <a:off x="9223673" y="6781953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2149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3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7871686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503" r:id="rId1"/>
    <p:sldLayoutId id="2147485504" r:id="rId2"/>
    <p:sldLayoutId id="2147485505" r:id="rId3"/>
    <p:sldLayoutId id="2147485506" r:id="rId4"/>
    <p:sldLayoutId id="2147485507" r:id="rId5"/>
    <p:sldLayoutId id="2147485508" r:id="rId6"/>
    <p:sldLayoutId id="2147485509" r:id="rId7"/>
    <p:sldLayoutId id="2147485510" r:id="rId8"/>
  </p:sldLayoutIdLst>
  <p:hf hdr="0" dt="0"/>
  <p:txStyles>
    <p:titleStyle>
      <a:lvl1pPr algn="l" defTabSz="592149" rtl="0" eaLnBrk="1" latinLnBrk="0" hangingPunct="1">
        <a:lnSpc>
          <a:spcPts val="5486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A037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8518" indent="-238518" algn="l" defTabSz="59214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2916" indent="-228231" algn="l" defTabSz="59214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2916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1150" indent="-228231" algn="l" defTabSz="59214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1150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29386" indent="-228231" algn="l" defTabSz="59214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29386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57600" indent="-228231" algn="l" defTabSz="59214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57600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56977" indent="-296068" algn="l" defTabSz="592149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49145" indent="-296068" algn="l" defTabSz="592149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41324" indent="-296068" algn="l" defTabSz="592149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33500" indent="-296068" algn="l" defTabSz="592149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2149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4352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76537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68711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60888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53058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45240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37417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17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573304795"/>
              </p:ext>
            </p:extLst>
          </p:nvPr>
        </p:nvGraphicFramePr>
        <p:xfrm>
          <a:off x="2077" y="2077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44612" name="Slide do think-cell" r:id="rId12" imgW="0" imgH="0" progId="TCLayout.ActiveDocument.1">
                  <p:embed/>
                </p:oleObj>
              </mc:Choice>
              <mc:Fallback>
                <p:oleObj name="Slide do think-cell" r:id="rId12" imgW="0" imgH="0" progId="TCLayout.ActiveDocument.1">
                  <p:embed/>
                  <p:pic>
                    <p:nvPicPr>
                      <p:cNvPr id="0" name="AutoShape 13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77" y="2077"/>
                        <a:ext cx="2074" cy="20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1978" y="358997"/>
            <a:ext cx="7338636" cy="102481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1855249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34" tIns="46634" rIns="46634" bIns="46634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16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34" tIns="46634" rIns="46634" bIns="46634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34" tIns="46634" rIns="46634" bIns="46634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9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34" tIns="46634" rIns="46634" bIns="46634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Freeform 28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34" tIns="46634" rIns="46634" bIns="46634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34" tIns="46634" rIns="46634" bIns="46634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34" tIns="46634" rIns="46634" bIns="46634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2" name="TextBox 39"/>
          <p:cNvSpPr txBox="1"/>
          <p:nvPr userDrawn="1"/>
        </p:nvSpPr>
        <p:spPr>
          <a:xfrm>
            <a:off x="9223673" y="6781953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2149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3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20653762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513" r:id="rId1"/>
    <p:sldLayoutId id="2147485514" r:id="rId2"/>
    <p:sldLayoutId id="2147485515" r:id="rId3"/>
    <p:sldLayoutId id="2147485516" r:id="rId4"/>
    <p:sldLayoutId id="2147485517" r:id="rId5"/>
    <p:sldLayoutId id="2147485518" r:id="rId6"/>
    <p:sldLayoutId id="2147485519" r:id="rId7"/>
    <p:sldLayoutId id="2147485520" r:id="rId8"/>
  </p:sldLayoutIdLst>
  <p:hf hdr="0" dt="0"/>
  <p:txStyles>
    <p:titleStyle>
      <a:lvl1pPr algn="l" defTabSz="592149" rtl="0" eaLnBrk="1" latinLnBrk="0" hangingPunct="1">
        <a:lnSpc>
          <a:spcPts val="5486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A037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8518" indent="-238518" algn="l" defTabSz="59214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2916" indent="-228231" algn="l" defTabSz="59214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2916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1150" indent="-228231" algn="l" defTabSz="59214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1150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29386" indent="-228231" algn="l" defTabSz="59214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29386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57600" indent="-228231" algn="l" defTabSz="59214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57600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56977" indent="-296068" algn="l" defTabSz="592149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49145" indent="-296068" algn="l" defTabSz="592149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41324" indent="-296068" algn="l" defTabSz="592149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33500" indent="-296068" algn="l" defTabSz="592149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2149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4352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76537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68711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60888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53058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45240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37417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17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1966797402"/>
              </p:ext>
            </p:extLst>
          </p:nvPr>
        </p:nvGraphicFramePr>
        <p:xfrm>
          <a:off x="2077" y="2077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46660" name="Slide do think-cell" r:id="rId12" imgW="0" imgH="0" progId="TCLayout.ActiveDocument.1">
                  <p:embed/>
                </p:oleObj>
              </mc:Choice>
              <mc:Fallback>
                <p:oleObj name="Slide do think-cell" r:id="rId12" imgW="0" imgH="0" progId="TCLayout.ActiveDocument.1">
                  <p:embed/>
                  <p:pic>
                    <p:nvPicPr>
                      <p:cNvPr id="0" name="AutoShape 13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77" y="2077"/>
                        <a:ext cx="2074" cy="20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1978" y="358997"/>
            <a:ext cx="7338636" cy="102481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1855249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34" tIns="46634" rIns="46634" bIns="46634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16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34" tIns="46634" rIns="46634" bIns="46634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34" tIns="46634" rIns="46634" bIns="46634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9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34" tIns="46634" rIns="46634" bIns="46634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Freeform 28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34" tIns="46634" rIns="46634" bIns="46634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34" tIns="46634" rIns="46634" bIns="46634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34" tIns="46634" rIns="46634" bIns="46634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2" name="TextBox 39"/>
          <p:cNvSpPr txBox="1"/>
          <p:nvPr userDrawn="1"/>
        </p:nvSpPr>
        <p:spPr>
          <a:xfrm>
            <a:off x="9223673" y="6781953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2149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3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64330499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523" r:id="rId1"/>
    <p:sldLayoutId id="2147485524" r:id="rId2"/>
    <p:sldLayoutId id="2147485525" r:id="rId3"/>
    <p:sldLayoutId id="2147485526" r:id="rId4"/>
    <p:sldLayoutId id="2147485527" r:id="rId5"/>
    <p:sldLayoutId id="2147485528" r:id="rId6"/>
    <p:sldLayoutId id="2147485529" r:id="rId7"/>
    <p:sldLayoutId id="2147485530" r:id="rId8"/>
  </p:sldLayoutIdLst>
  <p:hf hdr="0" dt="0"/>
  <p:txStyles>
    <p:titleStyle>
      <a:lvl1pPr algn="l" defTabSz="592149" rtl="0" eaLnBrk="1" latinLnBrk="0" hangingPunct="1">
        <a:lnSpc>
          <a:spcPts val="5486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A037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8518" indent="-238518" algn="l" defTabSz="59214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2916" indent="-228231" algn="l" defTabSz="59214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2916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1150" indent="-228231" algn="l" defTabSz="59214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1150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29386" indent="-228231" algn="l" defTabSz="59214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29386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57600" indent="-228231" algn="l" defTabSz="59214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57600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56977" indent="-296068" algn="l" defTabSz="592149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49145" indent="-296068" algn="l" defTabSz="592149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41324" indent="-296068" algn="l" defTabSz="592149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33500" indent="-296068" algn="l" defTabSz="592149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2149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4352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76537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68711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60888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53058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45240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37417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17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2858751584"/>
              </p:ext>
            </p:extLst>
          </p:nvPr>
        </p:nvGraphicFramePr>
        <p:xfrm>
          <a:off x="1" y="2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48707" name="Slide do think-cell" r:id="rId14" imgW="0" imgH="0" progId="TCLayout.ActiveDocument.1">
                  <p:embed/>
                </p:oleObj>
              </mc:Choice>
              <mc:Fallback>
                <p:oleObj name="Slide do think-cell" r:id="rId14" imgW="0" imgH="0" progId="TCLayout.ActiveDocument.1">
                  <p:embed/>
                  <p:pic>
                    <p:nvPicPr>
                      <p:cNvPr id="0" name="AutoShape 13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2"/>
                        <a:ext cx="211676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10776432" y="36518"/>
            <a:ext cx="876339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88028"/>
            <a:endParaRPr lang="pt-BR" sz="8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10519874" y="1932900"/>
            <a:ext cx="267220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10682583" y="4106726"/>
            <a:ext cx="234679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936841" y="1951039"/>
            <a:ext cx="5736421" cy="11060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ext styles</a:t>
            </a:r>
          </a:p>
          <a:p>
            <a:pPr lvl="1"/>
            <a:r>
              <a:rPr lang="pt-BR" noProof="0" smtClean="0"/>
              <a:t>Second level</a:t>
            </a:r>
          </a:p>
          <a:p>
            <a:pPr lvl="2"/>
            <a:r>
              <a:rPr lang="pt-BR" noProof="0" smtClean="0"/>
              <a:t>Third level</a:t>
            </a:r>
          </a:p>
          <a:p>
            <a:pPr lvl="3"/>
            <a:r>
              <a:rPr lang="pt-BR" noProof="0" smtClean="0"/>
              <a:t>Fourth level</a:t>
            </a:r>
          </a:p>
          <a:p>
            <a:pPr lvl="4"/>
            <a:r>
              <a:rPr lang="pt-BR" noProof="0" smtClean="0"/>
              <a:t>Fifth level</a:t>
            </a:r>
            <a:endParaRPr lang="pt-BR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211676" y="230280"/>
            <a:ext cx="10530036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58852" y="26992"/>
            <a:ext cx="886083" cy="2212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pt-BR" sz="1400" smtClean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TRACKER</a:t>
            </a:r>
            <a:endParaRPr lang="pt-BR" sz="1400" dirty="0">
              <a:solidFill>
                <a:srgbClr val="80808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58875" y="621826"/>
            <a:ext cx="11491891" cy="281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pt-BR" sz="1800" smtClean="0">
                <a:solidFill>
                  <a:srgbClr val="D5E7FF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Unit of measure</a:t>
            </a:r>
            <a:endParaRPr lang="pt-BR" sz="1800" dirty="0" smtClean="0">
              <a:solidFill>
                <a:srgbClr val="D5E7FF">
                  <a:lumMod val="75000"/>
                </a:srgbClr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158761" y="6265675"/>
            <a:ext cx="11398753" cy="358776"/>
            <a:chOff x="75" y="3877"/>
            <a:chExt cx="5385" cy="226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877"/>
              <a:ext cx="5385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pt-BR" sz="100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1 Footnote</a:t>
              </a:r>
              <a:endParaRPr lang="pt-BR" sz="1000" dirty="0" smtClean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06"/>
              <a:ext cx="4323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t" anchorCtr="0">
              <a:spAutoFit/>
            </a:bodyPr>
            <a:lstStyle/>
            <a:p>
              <a:pPr marL="604644" indent="-604644" defTabSz="888028">
                <a:tabLst>
                  <a:tab pos="607774" algn="l"/>
                </a:tabLst>
              </a:pPr>
              <a:r>
                <a:rPr lang="pt-BR" sz="1000" dirty="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FONTE: </a:t>
              </a:r>
              <a:r>
                <a:rPr lang="pt-BR" sz="1000" dirty="0" err="1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ource</a:t>
              </a:r>
              <a:endParaRPr lang="pt-BR" sz="1000" dirty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936840" y="1123953"/>
            <a:ext cx="5685618" cy="511174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 hidden="1"/>
            <p:cNvSpPr>
              <a:spLocks noChangeArrowheads="1"/>
            </p:cNvSpPr>
            <p:nvPr/>
          </p:nvSpPr>
          <p:spPr bwMode="auto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pt-BR" b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itle</a:t>
              </a:r>
            </a:p>
            <a:p>
              <a:r>
                <a:rPr lang="pt-BR" smtClean="0">
                  <a:solidFill>
                    <a:srgbClr val="80808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Unit of measure</a:t>
              </a:r>
              <a:endParaRPr lang="pt-BR" dirty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28" name="Group 27"/>
          <p:cNvGrpSpPr/>
          <p:nvPr userDrawn="1"/>
        </p:nvGrpSpPr>
        <p:grpSpPr>
          <a:xfrm>
            <a:off x="11335740" y="60963"/>
            <a:ext cx="613376" cy="655256"/>
            <a:chOff x="5526523" y="2325890"/>
            <a:chExt cx="3423032" cy="3656747"/>
          </a:xfrm>
        </p:grpSpPr>
        <p:sp>
          <p:nvSpPr>
            <p:cNvPr id="29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30" name="Group 29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31" name="Donut 30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2" name="Oval 31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3" name="Oval 32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559185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532" r:id="rId1"/>
    <p:sldLayoutId id="2147485533" r:id="rId2"/>
    <p:sldLayoutId id="2147485534" r:id="rId3"/>
    <p:sldLayoutId id="2147485535" r:id="rId4"/>
    <p:sldLayoutId id="2147485536" r:id="rId5"/>
    <p:sldLayoutId id="2147485537" r:id="rId6"/>
    <p:sldLayoutId id="2147485538" r:id="rId7"/>
    <p:sldLayoutId id="2147485539" r:id="rId8"/>
    <p:sldLayoutId id="2147485540" r:id="rId9"/>
    <p:sldLayoutId id="2147485541" r:id="rId10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defTabSz="888028" rtl="0" eaLnBrk="1" fontAlgn="base" hangingPunct="1">
        <a:spcBef>
          <a:spcPct val="0"/>
        </a:spcBef>
        <a:spcAft>
          <a:spcPct val="0"/>
        </a:spcAft>
        <a:tabLst>
          <a:tab pos="267688" algn="l"/>
        </a:tabLst>
        <a:defRPr lang="en-US" sz="2000" b="1" baseline="0" noProof="0" dirty="0" smtClean="0">
          <a:solidFill>
            <a:schemeClr val="accent4"/>
          </a:solidFill>
          <a:latin typeface="Arial" panose="020B0604020202020204" pitchFamily="34" charset="0"/>
          <a:ea typeface="+mj-ea"/>
          <a:cs typeface="Arial" panose="020B0604020202020204" pitchFamily="34" charset="0"/>
          <a:sym typeface="Arial" panose="020B0604020202020204" pitchFamily="34" charset="0"/>
        </a:defRPr>
      </a:lvl1pPr>
      <a:lvl2pPr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2pPr>
      <a:lvl3pPr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3pPr>
      <a:lvl4pPr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4pPr>
      <a:lvl5pPr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5pPr>
      <a:lvl6pPr marL="453493"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6pPr>
      <a:lvl7pPr marL="906935"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7pPr>
      <a:lvl8pPr marL="1360390"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8pPr>
      <a:lvl9pPr marL="1813863"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88028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400" baseline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1pPr>
      <a:lvl2pPr marL="192114" indent="-192114" algn="l" defTabSz="888028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15000"/>
        <a:buFont typeface="Simplon BP Regular" pitchFamily="2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2pPr>
      <a:lvl3pPr marL="453493" indent="-259777" algn="l" defTabSz="888028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charset="0"/>
        <a:buChar char="–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3pPr>
      <a:lvl4pPr marL="609346" indent="-154337" algn="l" defTabSz="888028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pitchFamily="34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4pPr>
      <a:lvl5pPr marL="743666" indent="-129115" algn="l" defTabSz="888028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89000"/>
        <a:buFont typeface="Arial" charset="0"/>
        <a:buChar char="-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5pPr>
      <a:lvl6pPr marL="743666" indent="-129115" algn="l" defTabSz="88802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3666" indent="-129115" algn="l" defTabSz="88802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3666" indent="-129115" algn="l" defTabSz="88802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3666" indent="-129115" algn="l" defTabSz="88802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3493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06935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0390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13863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67322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20778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74250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27718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7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82" y="1854703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2053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81813" y="1855222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9223673" y="6781924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3568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40348098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544" r:id="rId1"/>
    <p:sldLayoutId id="2147485545" r:id="rId2"/>
    <p:sldLayoutId id="2147485546" r:id="rId3"/>
    <p:sldLayoutId id="2147485547" r:id="rId4"/>
    <p:sldLayoutId id="2147485548" r:id="rId5"/>
    <p:sldLayoutId id="2147485551" r:id="rId6"/>
  </p:sldLayoutIdLst>
  <p:hf sldNum="0" hdr="0" ftr="0" dt="0"/>
  <p:txStyles>
    <p:titleStyle>
      <a:lvl1pPr algn="l" defTabSz="593568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086" indent="-239086" algn="l" defTabSz="59356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4041" indent="-228773" algn="l" defTabSz="59356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4041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2818" indent="-228773" algn="l" defTabSz="59356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2818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1601" indent="-228773" algn="l" defTabSz="59356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1601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0369" indent="-228773" algn="l" defTabSz="59356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0369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64727" indent="-296779" algn="l" defTabSz="59356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58307" indent="-296779" algn="l" defTabSz="59356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51888" indent="-296779" algn="l" defTabSz="59356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45481" indent="-296779" algn="l" defTabSz="59356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3568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7172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0762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4346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67935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61514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55098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48689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17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670095831"/>
              </p:ext>
            </p:extLst>
          </p:nvPr>
        </p:nvGraphicFramePr>
        <p:xfrm>
          <a:off x="1" y="2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5868" name="Slide do think-cell" r:id="rId15" imgW="0" imgH="0" progId="TCLayout.ActiveDocument.1">
                  <p:embed/>
                </p:oleObj>
              </mc:Choice>
              <mc:Fallback>
                <p:oleObj name="Slide do think-cell" r:id="rId15" imgW="0" imgH="0" progId="TCLayout.ActiveDocument.1">
                  <p:embed/>
                  <p:pic>
                    <p:nvPicPr>
                      <p:cNvPr id="0" name="AutoShape 12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2"/>
                        <a:ext cx="211676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10776432" y="36518"/>
            <a:ext cx="876339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4790"/>
            <a:endParaRPr lang="pt-BR" sz="8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10519874" y="1932900"/>
            <a:ext cx="267220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10682583" y="4106726"/>
            <a:ext cx="234679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936841" y="1951039"/>
            <a:ext cx="5736421" cy="11060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ext styles</a:t>
            </a:r>
          </a:p>
          <a:p>
            <a:pPr lvl="1"/>
            <a:r>
              <a:rPr lang="pt-BR" noProof="0" smtClean="0"/>
              <a:t>Second level</a:t>
            </a:r>
          </a:p>
          <a:p>
            <a:pPr lvl="2"/>
            <a:r>
              <a:rPr lang="pt-BR" noProof="0" smtClean="0"/>
              <a:t>Third level</a:t>
            </a:r>
          </a:p>
          <a:p>
            <a:pPr lvl="3"/>
            <a:r>
              <a:rPr lang="pt-BR" noProof="0" smtClean="0"/>
              <a:t>Fourth level</a:t>
            </a:r>
          </a:p>
          <a:p>
            <a:pPr lvl="4"/>
            <a:r>
              <a:rPr lang="pt-BR" noProof="0" smtClean="0"/>
              <a:t>Fifth level</a:t>
            </a:r>
            <a:endParaRPr lang="pt-BR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211676" y="230193"/>
            <a:ext cx="10530036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58764" y="26992"/>
            <a:ext cx="886083" cy="2212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pt-BR" sz="1400" smtClean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TRACKER</a:t>
            </a:r>
            <a:endParaRPr lang="pt-BR" sz="1400" dirty="0">
              <a:solidFill>
                <a:srgbClr val="80808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58786" y="621826"/>
            <a:ext cx="11491891" cy="281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pt-BR" sz="1800" smtClean="0">
                <a:solidFill>
                  <a:srgbClr val="D5E7FF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Unit of measure</a:t>
            </a:r>
            <a:endParaRPr lang="pt-BR" sz="1800" dirty="0" smtClean="0">
              <a:solidFill>
                <a:srgbClr val="D5E7FF">
                  <a:lumMod val="75000"/>
                </a:srgbClr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158761" y="6266463"/>
            <a:ext cx="11398753" cy="358776"/>
            <a:chOff x="75" y="3877"/>
            <a:chExt cx="5385" cy="226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877"/>
              <a:ext cx="5385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pt-BR" sz="100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1 Footnote</a:t>
              </a:r>
              <a:endParaRPr lang="pt-BR" sz="1000" dirty="0" smtClean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06"/>
              <a:ext cx="4323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t" anchorCtr="0">
              <a:spAutoFit/>
            </a:bodyPr>
            <a:lstStyle/>
            <a:p>
              <a:pPr marL="609221" indent="-609221" defTabSz="894790">
                <a:tabLst>
                  <a:tab pos="612394" algn="l"/>
                </a:tabLst>
              </a:pPr>
              <a:r>
                <a:rPr lang="pt-BR" sz="1000" dirty="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FONTE: </a:t>
              </a:r>
              <a:r>
                <a:rPr lang="pt-BR" sz="1000" dirty="0" err="1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ource</a:t>
              </a:r>
              <a:endParaRPr lang="pt-BR" sz="1000" dirty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936840" y="1123953"/>
            <a:ext cx="5685618" cy="511174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 hidden="1"/>
            <p:cNvSpPr>
              <a:spLocks noChangeArrowheads="1"/>
            </p:cNvSpPr>
            <p:nvPr/>
          </p:nvSpPr>
          <p:spPr bwMode="auto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pt-BR" b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itle</a:t>
              </a:r>
            </a:p>
            <a:p>
              <a:r>
                <a:rPr lang="pt-BR" smtClean="0">
                  <a:solidFill>
                    <a:srgbClr val="80808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Unit of measure</a:t>
              </a:r>
              <a:endParaRPr lang="pt-BR" dirty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28" name="Group 27"/>
          <p:cNvGrpSpPr/>
          <p:nvPr/>
        </p:nvGrpSpPr>
        <p:grpSpPr>
          <a:xfrm>
            <a:off x="11335740" y="60963"/>
            <a:ext cx="613376" cy="655256"/>
            <a:chOff x="5526523" y="2325890"/>
            <a:chExt cx="3423032" cy="3656747"/>
          </a:xfrm>
        </p:grpSpPr>
        <p:sp>
          <p:nvSpPr>
            <p:cNvPr id="29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30" name="Group 29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31" name="Donut 30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2" name="Oval 31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3" name="Oval 32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  <p:sp>
        <p:nvSpPr>
          <p:cNvPr id="24" name="Slide Number"/>
          <p:cNvSpPr txBox="1">
            <a:spLocks/>
          </p:cNvSpPr>
          <p:nvPr/>
        </p:nvSpPr>
        <p:spPr>
          <a:xfrm>
            <a:off x="11394525" y="6426673"/>
            <a:ext cx="278354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endParaRPr lang="pt-BR" dirty="0">
              <a:solidFill>
                <a:srgbClr val="000000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5" name="TextBox 13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26" name="TextBox 18"/>
          <p:cNvSpPr txBox="1"/>
          <p:nvPr userDrawn="1"/>
        </p:nvSpPr>
        <p:spPr>
          <a:xfrm>
            <a:off x="-281813" y="1855222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7" name="TextBox 22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8" name="Freeform 20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41" name="TextBox 39"/>
          <p:cNvSpPr txBox="1"/>
          <p:nvPr userDrawn="1"/>
        </p:nvSpPr>
        <p:spPr>
          <a:xfrm>
            <a:off x="9223673" y="6781924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3568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3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5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6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7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8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9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0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1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2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3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3691142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554" r:id="rId1"/>
    <p:sldLayoutId id="2147485555" r:id="rId2"/>
    <p:sldLayoutId id="2147485556" r:id="rId3"/>
    <p:sldLayoutId id="2147485557" r:id="rId4"/>
    <p:sldLayoutId id="2147485558" r:id="rId5"/>
    <p:sldLayoutId id="2147485559" r:id="rId6"/>
    <p:sldLayoutId id="2147485560" r:id="rId7"/>
    <p:sldLayoutId id="2147485561" r:id="rId8"/>
    <p:sldLayoutId id="2147485562" r:id="rId9"/>
    <p:sldLayoutId id="2147485564" r:id="rId10"/>
    <p:sldLayoutId id="2147485565" r:id="rId11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defTabSz="894790" rtl="0" eaLnBrk="1" fontAlgn="base" hangingPunct="1">
        <a:spcBef>
          <a:spcPct val="0"/>
        </a:spcBef>
        <a:spcAft>
          <a:spcPct val="0"/>
        </a:spcAft>
        <a:tabLst>
          <a:tab pos="269707" algn="l"/>
        </a:tabLst>
        <a:defRPr lang="en-US" sz="2000" b="1" baseline="0" noProof="0" dirty="0" smtClean="0">
          <a:solidFill>
            <a:schemeClr val="accent4"/>
          </a:solidFill>
          <a:latin typeface="Arial" panose="020B0604020202020204" pitchFamily="34" charset="0"/>
          <a:ea typeface="+mj-ea"/>
          <a:cs typeface="Arial" panose="020B0604020202020204" pitchFamily="34" charset="0"/>
          <a:sym typeface="Arial" panose="020B0604020202020204" pitchFamily="34" charset="0"/>
        </a:defRPr>
      </a:lvl1pPr>
      <a:lvl2pPr algn="l" defTabSz="894790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2pPr>
      <a:lvl3pPr algn="l" defTabSz="894790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3pPr>
      <a:lvl4pPr algn="l" defTabSz="894790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4pPr>
      <a:lvl5pPr algn="l" defTabSz="894790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5pPr>
      <a:lvl6pPr marL="456918" algn="l" defTabSz="894790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6pPr>
      <a:lvl7pPr marL="913831" algn="l" defTabSz="894790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7pPr>
      <a:lvl8pPr marL="1370745" algn="l" defTabSz="894790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8pPr>
      <a:lvl9pPr marL="1827664" algn="l" defTabSz="894790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4790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400" baseline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1pPr>
      <a:lvl2pPr marL="193555" indent="-193555" algn="l" defTabSz="894790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15000"/>
        <a:buFont typeface="Simplon BP Regular" pitchFamily="2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2pPr>
      <a:lvl3pPr marL="456918" indent="-261774" algn="l" defTabSz="894790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charset="0"/>
        <a:buChar char="–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3pPr>
      <a:lvl4pPr marL="613982" indent="-155479" algn="l" defTabSz="894790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pitchFamily="34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4pPr>
      <a:lvl5pPr marL="749341" indent="-130094" algn="l" defTabSz="894790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89000"/>
        <a:buFont typeface="Arial" charset="0"/>
        <a:buChar char="-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5pPr>
      <a:lvl6pPr marL="749341" indent="-130094" algn="l" defTabSz="89479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9341" indent="-130094" algn="l" defTabSz="89479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9341" indent="-130094" algn="l" defTabSz="89479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9341" indent="-130094" algn="l" defTabSz="89479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383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918" algn="l" defTabSz="91383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3831" algn="l" defTabSz="91383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0745" algn="l" defTabSz="91383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7664" algn="l" defTabSz="91383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4578" algn="l" defTabSz="91383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1493" algn="l" defTabSz="91383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8412" algn="l" defTabSz="91383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5330" algn="l" defTabSz="91383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1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82" y="1854713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2063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2961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81813" y="1855235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2961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2961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96" tIns="46696" rIns="46696" bIns="46696" numCol="1" anchor="t" anchorCtr="0" compatLnSpc="1">
            <a:prstTxWarp prst="textNoShape">
              <a:avLst/>
            </a:prstTxWarp>
          </a:bodyPr>
          <a:lstStyle/>
          <a:p>
            <a:pPr defTabSz="592961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2961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2961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96" tIns="46696" rIns="46696" bIns="46696" numCol="1" anchor="t" anchorCtr="0" compatLnSpc="1">
            <a:prstTxWarp prst="textNoShape">
              <a:avLst/>
            </a:prstTxWarp>
          </a:bodyPr>
          <a:lstStyle/>
          <a:p>
            <a:pPr defTabSz="592961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2961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2961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96" tIns="46696" rIns="46696" bIns="46696" numCol="1" anchor="t" anchorCtr="0" compatLnSpc="1">
            <a:prstTxWarp prst="textNoShape">
              <a:avLst/>
            </a:prstTxWarp>
          </a:bodyPr>
          <a:lstStyle/>
          <a:p>
            <a:pPr defTabSz="592961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2961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2961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96" tIns="46696" rIns="46696" bIns="46696" numCol="1" anchor="t" anchorCtr="0" compatLnSpc="1">
            <a:prstTxWarp prst="textNoShape">
              <a:avLst/>
            </a:prstTxWarp>
          </a:bodyPr>
          <a:lstStyle/>
          <a:p>
            <a:pPr defTabSz="592961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2961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2961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96" tIns="46696" rIns="46696" bIns="46696" numCol="1" anchor="t" anchorCtr="0" compatLnSpc="1">
            <a:prstTxWarp prst="textNoShape">
              <a:avLst/>
            </a:prstTxWarp>
          </a:bodyPr>
          <a:lstStyle/>
          <a:p>
            <a:pPr defTabSz="592961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2961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2961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96" tIns="46696" rIns="46696" bIns="46696" numCol="1" anchor="t" anchorCtr="0" compatLnSpc="1">
            <a:prstTxWarp prst="textNoShape">
              <a:avLst/>
            </a:prstTxWarp>
          </a:bodyPr>
          <a:lstStyle/>
          <a:p>
            <a:pPr defTabSz="592961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2961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2961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96" tIns="46696" rIns="46696" bIns="46696" numCol="1" anchor="t" anchorCtr="0" compatLnSpc="1">
            <a:prstTxWarp prst="textNoShape">
              <a:avLst/>
            </a:prstTxWarp>
          </a:bodyPr>
          <a:lstStyle/>
          <a:p>
            <a:pPr defTabSz="592961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2961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2961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9223673" y="6781937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2961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613" tIns="59310" rIns="118613" bIns="59310" numCol="1" anchor="t" anchorCtr="0" compatLnSpc="1">
            <a:prstTxWarp prst="textNoShape">
              <a:avLst/>
            </a:prstTxWarp>
          </a:bodyPr>
          <a:lstStyle/>
          <a:p>
            <a:pPr defTabSz="592961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13" tIns="59310" rIns="118613" bIns="59310" numCol="1" anchor="t" anchorCtr="0" compatLnSpc="1">
            <a:prstTxWarp prst="textNoShape">
              <a:avLst/>
            </a:prstTxWarp>
          </a:bodyPr>
          <a:lstStyle/>
          <a:p>
            <a:pPr defTabSz="592961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13" tIns="59310" rIns="118613" bIns="59310" numCol="1" anchor="t" anchorCtr="0" compatLnSpc="1">
            <a:prstTxWarp prst="textNoShape">
              <a:avLst/>
            </a:prstTxWarp>
          </a:bodyPr>
          <a:lstStyle/>
          <a:p>
            <a:pPr defTabSz="592961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13" tIns="59310" rIns="118613" bIns="59310" numCol="1" anchor="t" anchorCtr="0" compatLnSpc="1">
            <a:prstTxWarp prst="textNoShape">
              <a:avLst/>
            </a:prstTxWarp>
          </a:bodyPr>
          <a:lstStyle/>
          <a:p>
            <a:pPr defTabSz="592961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613" tIns="59310" rIns="118613" bIns="59310" numCol="1" anchor="t" anchorCtr="0" compatLnSpc="1">
            <a:prstTxWarp prst="textNoShape">
              <a:avLst/>
            </a:prstTxWarp>
          </a:bodyPr>
          <a:lstStyle/>
          <a:p>
            <a:pPr defTabSz="592961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13" tIns="59310" rIns="118613" bIns="59310" numCol="1" anchor="t" anchorCtr="0" compatLnSpc="1">
            <a:prstTxWarp prst="textNoShape">
              <a:avLst/>
            </a:prstTxWarp>
          </a:bodyPr>
          <a:lstStyle/>
          <a:p>
            <a:pPr defTabSz="592961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13" tIns="59310" rIns="118613" bIns="59310" numCol="1" anchor="t" anchorCtr="0" compatLnSpc="1">
            <a:prstTxWarp prst="textNoShape">
              <a:avLst/>
            </a:prstTxWarp>
          </a:bodyPr>
          <a:lstStyle/>
          <a:p>
            <a:pPr defTabSz="592961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13" tIns="59310" rIns="118613" bIns="59310" numCol="1" anchor="t" anchorCtr="0" compatLnSpc="1">
            <a:prstTxWarp prst="textNoShape">
              <a:avLst/>
            </a:prstTxWarp>
          </a:bodyPr>
          <a:lstStyle/>
          <a:p>
            <a:pPr defTabSz="592961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613" tIns="59310" rIns="118613" bIns="59310" numCol="1" anchor="t" anchorCtr="0" compatLnSpc="1">
            <a:prstTxWarp prst="textNoShape">
              <a:avLst/>
            </a:prstTxWarp>
          </a:bodyPr>
          <a:lstStyle/>
          <a:p>
            <a:pPr defTabSz="592961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13" tIns="59310" rIns="118613" bIns="59310" numCol="1" anchor="t" anchorCtr="0" compatLnSpc="1">
            <a:prstTxWarp prst="textNoShape">
              <a:avLst/>
            </a:prstTxWarp>
          </a:bodyPr>
          <a:lstStyle/>
          <a:p>
            <a:pPr defTabSz="592961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13" tIns="59310" rIns="118613" bIns="59310" numCol="1" anchor="t" anchorCtr="0" compatLnSpc="1">
            <a:prstTxWarp prst="textNoShape">
              <a:avLst/>
            </a:prstTxWarp>
          </a:bodyPr>
          <a:lstStyle/>
          <a:p>
            <a:pPr defTabSz="592961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13" tIns="59310" rIns="118613" bIns="59310" numCol="1" anchor="t" anchorCtr="0" compatLnSpc="1">
            <a:prstTxWarp prst="textNoShape">
              <a:avLst/>
            </a:prstTxWarp>
          </a:bodyPr>
          <a:lstStyle/>
          <a:p>
            <a:pPr defTabSz="592961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31776652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64" r:id="rId1"/>
    <p:sldLayoutId id="2147483865" r:id="rId2"/>
    <p:sldLayoutId id="2147483866" r:id="rId3"/>
    <p:sldLayoutId id="2147483867" r:id="rId4"/>
  </p:sldLayoutIdLst>
  <p:hf sldNum="0" hdr="0" ftr="0" dt="0"/>
  <p:txStyles>
    <p:titleStyle>
      <a:lvl1pPr algn="l" defTabSz="592961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8843" indent="-238843" algn="l" defTabSz="592961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3560" indent="-228541" algn="l" defTabSz="592961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3560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2102" indent="-228541" algn="l" defTabSz="592961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2102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0651" indent="-228541" algn="l" defTabSz="592961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0651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59181" indent="-228541" algn="l" defTabSz="592961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59181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61402" indent="-296476" algn="l" defTabSz="592961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54378" indent="-296476" algn="l" defTabSz="592961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47360" indent="-296476" algn="l" defTabSz="592961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40343" indent="-296476" algn="l" defTabSz="592961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29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2961" algn="l" defTabSz="5929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5962" algn="l" defTabSz="5929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78952" algn="l" defTabSz="5929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1931" algn="l" defTabSz="5929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64914" algn="l" defTabSz="5929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57887" algn="l" defTabSz="5929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50871" algn="l" defTabSz="5929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43855" algn="l" defTabSz="5929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18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82" y="1854695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2045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81813" y="1855214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75" tIns="46775" rIns="46775" bIns="46775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75" tIns="46775" rIns="46775" bIns="46775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75" tIns="46775" rIns="46775" bIns="46775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75" tIns="46775" rIns="46775" bIns="46775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75" tIns="46775" rIns="46775" bIns="46775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75" tIns="46775" rIns="46775" bIns="46775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75" tIns="46775" rIns="46775" bIns="46775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9223673" y="6781916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3972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6411716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684" r:id="rId1"/>
    <p:sldLayoutId id="2147485685" r:id="rId2"/>
    <p:sldLayoutId id="2147485686" r:id="rId3"/>
    <p:sldLayoutId id="2147485687" r:id="rId4"/>
  </p:sldLayoutIdLst>
  <p:hf sldNum="0" hdr="0" ftr="0" dt="0"/>
  <p:txStyles>
    <p:titleStyle>
      <a:lvl1pPr algn="l" defTabSz="593972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246" indent="-239246" algn="l" defTabSz="593972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4363" indent="-228927" algn="l" defTabSz="593972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4363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3296" indent="-228927" algn="l" defTabSz="593972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3296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2232" indent="-228927" algn="l" defTabSz="593972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2232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1158" indent="-228927" algn="l" defTabSz="593972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1158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66945" indent="-296983" algn="l" defTabSz="593972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60927" indent="-296983" algn="l" defTabSz="593972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54913" indent="-296983" algn="l" defTabSz="593972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48906" indent="-296983" algn="l" defTabSz="593972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3972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7980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1972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5954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69951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63935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57922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51913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18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1978" y="358964"/>
            <a:ext cx="7338636" cy="102481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3772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1855218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3772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59" tIns="46759" rIns="46759" bIns="46759" numCol="1" anchor="t" anchorCtr="0" compatLnSpc="1">
            <a:prstTxWarp prst="textNoShape">
              <a:avLst/>
            </a:prstTxWarp>
          </a:bodyPr>
          <a:lstStyle/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16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59" tIns="46759" rIns="46759" bIns="46759" numCol="1" anchor="t" anchorCtr="0" compatLnSpc="1">
            <a:prstTxWarp prst="textNoShape">
              <a:avLst/>
            </a:prstTxWarp>
          </a:bodyPr>
          <a:lstStyle/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59" tIns="46759" rIns="46759" bIns="46759" numCol="1" anchor="t" anchorCtr="0" compatLnSpc="1">
            <a:prstTxWarp prst="textNoShape">
              <a:avLst/>
            </a:prstTxWarp>
          </a:bodyPr>
          <a:lstStyle/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9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59" tIns="46759" rIns="46759" bIns="46759" numCol="1" anchor="t" anchorCtr="0" compatLnSpc="1">
            <a:prstTxWarp prst="textNoShape">
              <a:avLst/>
            </a:prstTxWarp>
          </a:bodyPr>
          <a:lstStyle/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Freeform 28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59" tIns="46759" rIns="46759" bIns="46759" numCol="1" anchor="t" anchorCtr="0" compatLnSpc="1">
            <a:prstTxWarp prst="textNoShape">
              <a:avLst/>
            </a:prstTxWarp>
          </a:bodyPr>
          <a:lstStyle/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59" tIns="46759" rIns="46759" bIns="46759" numCol="1" anchor="t" anchorCtr="0" compatLnSpc="1">
            <a:prstTxWarp prst="textNoShape">
              <a:avLst/>
            </a:prstTxWarp>
          </a:bodyPr>
          <a:lstStyle/>
          <a:p>
            <a:pPr defTabSz="59377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377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377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59" tIns="46759" rIns="46759" bIns="46759" numCol="1" anchor="t" anchorCtr="0" compatLnSpc="1">
            <a:prstTxWarp prst="textNoShape">
              <a:avLst/>
            </a:prstTxWarp>
          </a:bodyPr>
          <a:lstStyle/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2" name="TextBox 39"/>
          <p:cNvSpPr txBox="1"/>
          <p:nvPr userDrawn="1"/>
        </p:nvSpPr>
        <p:spPr>
          <a:xfrm>
            <a:off x="9223673" y="6781920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3772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772" tIns="59387" rIns="118772" bIns="59387" numCol="1" anchor="t" anchorCtr="0" compatLnSpc="1">
            <a:prstTxWarp prst="textNoShape">
              <a:avLst/>
            </a:prstTxWarp>
          </a:bodyPr>
          <a:lstStyle/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72" tIns="59387" rIns="118772" bIns="59387" numCol="1" anchor="t" anchorCtr="0" compatLnSpc="1">
            <a:prstTxWarp prst="textNoShape">
              <a:avLst/>
            </a:prstTxWarp>
          </a:bodyPr>
          <a:lstStyle/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72" tIns="59387" rIns="118772" bIns="59387" numCol="1" anchor="t" anchorCtr="0" compatLnSpc="1">
            <a:prstTxWarp prst="textNoShape">
              <a:avLst/>
            </a:prstTxWarp>
          </a:bodyPr>
          <a:lstStyle/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72" tIns="59387" rIns="118772" bIns="59387" numCol="1" anchor="t" anchorCtr="0" compatLnSpc="1">
            <a:prstTxWarp prst="textNoShape">
              <a:avLst/>
            </a:prstTxWarp>
          </a:bodyPr>
          <a:lstStyle/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772" tIns="59387" rIns="118772" bIns="59387" numCol="1" anchor="t" anchorCtr="0" compatLnSpc="1">
            <a:prstTxWarp prst="textNoShape">
              <a:avLst/>
            </a:prstTxWarp>
          </a:bodyPr>
          <a:lstStyle/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72" tIns="59387" rIns="118772" bIns="59387" numCol="1" anchor="t" anchorCtr="0" compatLnSpc="1">
            <a:prstTxWarp prst="textNoShape">
              <a:avLst/>
            </a:prstTxWarp>
          </a:bodyPr>
          <a:lstStyle/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72" tIns="59387" rIns="118772" bIns="59387" numCol="1" anchor="t" anchorCtr="0" compatLnSpc="1">
            <a:prstTxWarp prst="textNoShape">
              <a:avLst/>
            </a:prstTxWarp>
          </a:bodyPr>
          <a:lstStyle/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72" tIns="59387" rIns="118772" bIns="59387" numCol="1" anchor="t" anchorCtr="0" compatLnSpc="1">
            <a:prstTxWarp prst="textNoShape">
              <a:avLst/>
            </a:prstTxWarp>
          </a:bodyPr>
          <a:lstStyle/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772" tIns="59387" rIns="118772" bIns="59387" numCol="1" anchor="t" anchorCtr="0" compatLnSpc="1">
            <a:prstTxWarp prst="textNoShape">
              <a:avLst/>
            </a:prstTxWarp>
          </a:bodyPr>
          <a:lstStyle/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72" tIns="59387" rIns="118772" bIns="59387" numCol="1" anchor="t" anchorCtr="0" compatLnSpc="1">
            <a:prstTxWarp prst="textNoShape">
              <a:avLst/>
            </a:prstTxWarp>
          </a:bodyPr>
          <a:lstStyle/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3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72" tIns="59387" rIns="118772" bIns="59387" numCol="1" anchor="t" anchorCtr="0" compatLnSpc="1">
            <a:prstTxWarp prst="textNoShape">
              <a:avLst/>
            </a:prstTxWarp>
          </a:bodyPr>
          <a:lstStyle/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72" tIns="59387" rIns="118772" bIns="59387" numCol="1" anchor="t" anchorCtr="0" compatLnSpc="1">
            <a:prstTxWarp prst="textNoShape">
              <a:avLst/>
            </a:prstTxWarp>
          </a:bodyPr>
          <a:lstStyle/>
          <a:p>
            <a:pPr defTabSz="5937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244008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689" r:id="rId1"/>
    <p:sldLayoutId id="2147485690" r:id="rId2"/>
    <p:sldLayoutId id="2147485691" r:id="rId3"/>
    <p:sldLayoutId id="2147485692" r:id="rId4"/>
    <p:sldLayoutId id="2147485693" r:id="rId5"/>
    <p:sldLayoutId id="2147485694" r:id="rId6"/>
    <p:sldLayoutId id="2147485695" r:id="rId7"/>
    <p:sldLayoutId id="2147485696" r:id="rId8"/>
  </p:sldLayoutIdLst>
  <p:hf sldNum="0" hdr="0" ftr="0" dt="0"/>
  <p:txStyles>
    <p:titleStyle>
      <a:lvl1pPr algn="l" defTabSz="593772" rtl="0" eaLnBrk="1" latinLnBrk="0" hangingPunct="1">
        <a:lnSpc>
          <a:spcPts val="5486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A037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164" indent="-239164" algn="l" defTabSz="593772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4203" indent="-228850" algn="l" defTabSz="593772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4203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3056" indent="-228850" algn="l" defTabSz="593772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3056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1916" indent="-228850" algn="l" defTabSz="593772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1916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0763" indent="-228850" algn="l" defTabSz="593772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0763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65835" indent="-296881" algn="l" defTabSz="593772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59617" indent="-296881" algn="l" defTabSz="593772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53400" indent="-296881" algn="l" defTabSz="593772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47194" indent="-296881" algn="l" defTabSz="593772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37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3772" algn="l" defTabSz="5937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7576" algn="l" defTabSz="5937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1367" algn="l" defTabSz="5937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5148" algn="l" defTabSz="5937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68944" algn="l" defTabSz="5937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62725" algn="l" defTabSz="5937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56509" algn="l" defTabSz="5937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50299" algn="l" defTabSz="5937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18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1978" y="358941"/>
            <a:ext cx="7338636" cy="102481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1855194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58" tIns="46858" rIns="46858" bIns="46858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16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58" tIns="46858" rIns="46858" bIns="46858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58" tIns="46858" rIns="46858" bIns="46858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9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58" tIns="46858" rIns="46858" bIns="46858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Freeform 28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58" tIns="46858" rIns="46858" bIns="46858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58" tIns="46858" rIns="46858" bIns="46858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58" tIns="46858" rIns="46858" bIns="46858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2" name="TextBox 39"/>
          <p:cNvSpPr txBox="1"/>
          <p:nvPr userDrawn="1"/>
        </p:nvSpPr>
        <p:spPr>
          <a:xfrm>
            <a:off x="9223673" y="6781895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5054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022" tIns="59511" rIns="119022" bIns="59511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22" tIns="59511" rIns="119022" bIns="59511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22" tIns="59511" rIns="119022" bIns="59511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22" tIns="59511" rIns="119022" bIns="59511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022" tIns="59511" rIns="119022" bIns="59511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22" tIns="59511" rIns="119022" bIns="59511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22" tIns="59511" rIns="119022" bIns="59511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22" tIns="59511" rIns="119022" bIns="59511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022" tIns="59511" rIns="119022" bIns="59511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22" tIns="59511" rIns="119022" bIns="59511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3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22" tIns="59511" rIns="119022" bIns="59511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22" tIns="59511" rIns="119022" bIns="59511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1494926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699" r:id="rId1"/>
    <p:sldLayoutId id="2147485700" r:id="rId2"/>
    <p:sldLayoutId id="2147485701" r:id="rId3"/>
    <p:sldLayoutId id="2147485702" r:id="rId4"/>
    <p:sldLayoutId id="2147485703" r:id="rId5"/>
    <p:sldLayoutId id="2147485704" r:id="rId6"/>
    <p:sldLayoutId id="2147485705" r:id="rId7"/>
    <p:sldLayoutId id="2147485706" r:id="rId8"/>
  </p:sldLayoutIdLst>
  <p:hf sldNum="0" hdr="0" ftr="0" dt="0"/>
  <p:txStyles>
    <p:titleStyle>
      <a:lvl1pPr algn="l" defTabSz="595054" rtl="0" eaLnBrk="1" latinLnBrk="0" hangingPunct="1">
        <a:lnSpc>
          <a:spcPts val="5486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A037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679" indent="-239679" algn="l" defTabSz="5950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5222" indent="-229347" algn="l" defTabSz="5950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5222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4571" indent="-229347" algn="l" defTabSz="5950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4571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3925" indent="-229347" algn="l" defTabSz="5950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3925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3270" indent="-229347" algn="l" defTabSz="5950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3270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72868" indent="-297524" algn="l" defTabSz="595054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67925" indent="-297524" algn="l" defTabSz="595054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62986" indent="-297524" algn="l" defTabSz="595054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58051" indent="-297524" algn="l" defTabSz="595054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50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5054" algn="l" defTabSz="5950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90131" algn="l" defTabSz="5950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5197" algn="l" defTabSz="5950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80261" algn="l" defTabSz="5950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75334" algn="l" defTabSz="5950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70394" algn="l" defTabSz="5950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65458" algn="l" defTabSz="5950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60522" algn="l" defTabSz="5950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18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1978" y="358941"/>
            <a:ext cx="7338636" cy="102481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1855194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58" tIns="46858" rIns="46858" bIns="46858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16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58" tIns="46858" rIns="46858" bIns="46858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58" tIns="46858" rIns="46858" bIns="46858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9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58" tIns="46858" rIns="46858" bIns="46858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Freeform 28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58" tIns="46858" rIns="46858" bIns="46858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58" tIns="46858" rIns="46858" bIns="46858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58" tIns="46858" rIns="46858" bIns="46858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2" name="TextBox 39"/>
          <p:cNvSpPr txBox="1"/>
          <p:nvPr userDrawn="1"/>
        </p:nvSpPr>
        <p:spPr>
          <a:xfrm>
            <a:off x="9223673" y="6781895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5054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022" tIns="59511" rIns="119022" bIns="59511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22" tIns="59511" rIns="119022" bIns="59511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22" tIns="59511" rIns="119022" bIns="59511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22" tIns="59511" rIns="119022" bIns="59511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022" tIns="59511" rIns="119022" bIns="59511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22" tIns="59511" rIns="119022" bIns="59511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22" tIns="59511" rIns="119022" bIns="59511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22" tIns="59511" rIns="119022" bIns="59511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022" tIns="59511" rIns="119022" bIns="59511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22" tIns="59511" rIns="119022" bIns="59511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3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22" tIns="59511" rIns="119022" bIns="59511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22" tIns="59511" rIns="119022" bIns="59511" numCol="1" anchor="t" anchorCtr="0" compatLnSpc="1">
            <a:prstTxWarp prst="textNoShape">
              <a:avLst/>
            </a:prstTxWarp>
          </a:bodyPr>
          <a:lstStyle/>
          <a:p>
            <a:pPr defTabSz="5950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29793649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709" r:id="rId1"/>
    <p:sldLayoutId id="2147485710" r:id="rId2"/>
    <p:sldLayoutId id="2147485711" r:id="rId3"/>
    <p:sldLayoutId id="2147485712" r:id="rId4"/>
    <p:sldLayoutId id="2147485713" r:id="rId5"/>
    <p:sldLayoutId id="2147485714" r:id="rId6"/>
    <p:sldLayoutId id="2147485715" r:id="rId7"/>
    <p:sldLayoutId id="2147485716" r:id="rId8"/>
  </p:sldLayoutIdLst>
  <p:hf sldNum="0" hdr="0" ftr="0" dt="0"/>
  <p:txStyles>
    <p:titleStyle>
      <a:lvl1pPr algn="l" defTabSz="595054" rtl="0" eaLnBrk="1" latinLnBrk="0" hangingPunct="1">
        <a:lnSpc>
          <a:spcPts val="5486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A037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679" indent="-239679" algn="l" defTabSz="5950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5222" indent="-229347" algn="l" defTabSz="5950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5222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4571" indent="-229347" algn="l" defTabSz="5950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4571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3925" indent="-229347" algn="l" defTabSz="5950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3925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3270" indent="-229347" algn="l" defTabSz="5950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3270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72868" indent="-297524" algn="l" defTabSz="595054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67925" indent="-297524" algn="l" defTabSz="595054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62986" indent="-297524" algn="l" defTabSz="595054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58051" indent="-297524" algn="l" defTabSz="595054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50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5054" algn="l" defTabSz="5950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90131" algn="l" defTabSz="5950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5197" algn="l" defTabSz="5950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80261" algn="l" defTabSz="5950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75334" algn="l" defTabSz="5950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70394" algn="l" defTabSz="5950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65458" algn="l" defTabSz="5950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60522" algn="l" defTabSz="5950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18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82" y="1854733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2084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81813" y="1855253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9223673" y="6781955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1947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96367653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719" r:id="rId1"/>
    <p:sldLayoutId id="2147485720" r:id="rId2"/>
    <p:sldLayoutId id="2147485721" r:id="rId3"/>
    <p:sldLayoutId id="2147485722" r:id="rId4"/>
  </p:sldLayoutIdLst>
  <p:hf sldNum="0" hdr="0" ftr="0" dt="0"/>
  <p:txStyles>
    <p:titleStyle>
      <a:lvl1pPr algn="l" defTabSz="591947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8434" indent="-238434" algn="l" defTabSz="59194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2756" indent="-228154" algn="l" defTabSz="59194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2756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0913" indent="-228154" algn="l" defTabSz="59194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0913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29070" indent="-228154" algn="l" defTabSz="59194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29070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57207" indent="-228154" algn="l" defTabSz="59194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57207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55872" indent="-295965" algn="l" defTabSz="59194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47841" indent="-295965" algn="l" defTabSz="59194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39815" indent="-295965" algn="l" defTabSz="59194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31791" indent="-295965" algn="l" defTabSz="59194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1947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3950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75935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67908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59881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51854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43833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35810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18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82" y="1854691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2041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81813" y="1855210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90" tIns="46790" rIns="46790" bIns="46790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90" tIns="46790" rIns="46790" bIns="46790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90" tIns="46790" rIns="46790" bIns="46790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90" tIns="46790" rIns="46790" bIns="46790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90" tIns="46790" rIns="46790" bIns="46790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90" tIns="46790" rIns="46790" bIns="46790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417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417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90" tIns="46790" rIns="46790" bIns="46790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9223673" y="6781912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4177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51" tIns="59426" rIns="118851" bIns="59426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51" tIns="59426" rIns="118851" bIns="59426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51" tIns="59426" rIns="118851" bIns="59426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51" tIns="59426" rIns="118851" bIns="59426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51" tIns="59426" rIns="118851" bIns="59426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51" tIns="59426" rIns="118851" bIns="59426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51" tIns="59426" rIns="118851" bIns="59426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51" tIns="59426" rIns="118851" bIns="59426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51" tIns="59426" rIns="118851" bIns="59426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51" tIns="59426" rIns="118851" bIns="59426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51" tIns="59426" rIns="118851" bIns="59426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51" tIns="59426" rIns="118851" bIns="59426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2732819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725" r:id="rId1"/>
    <p:sldLayoutId id="2147485726" r:id="rId2"/>
    <p:sldLayoutId id="2147485727" r:id="rId3"/>
    <p:sldLayoutId id="2147485728" r:id="rId4"/>
    <p:sldLayoutId id="2147485729" r:id="rId5"/>
    <p:sldLayoutId id="2147485730" r:id="rId6"/>
    <p:sldLayoutId id="2147485731" r:id="rId7"/>
    <p:sldLayoutId id="2147485732" r:id="rId8"/>
    <p:sldLayoutId id="2147485733" r:id="rId9"/>
    <p:sldLayoutId id="2147485734" r:id="rId10"/>
  </p:sldLayoutIdLst>
  <p:hf sldNum="0" hdr="0" ftr="0" dt="0"/>
  <p:txStyles>
    <p:titleStyle>
      <a:lvl1pPr algn="l" defTabSz="594177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327" indent="-239327" algn="l" defTabSz="59417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4524" indent="-229007" algn="l" defTabSz="59417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4524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3535" indent="-229007" algn="l" defTabSz="59417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3535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2550" indent="-229007" algn="l" defTabSz="59417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2550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1554" indent="-229007" algn="l" defTabSz="59417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1554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68054" indent="-297085" algn="l" defTabSz="59417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62237" indent="-297085" algn="l" defTabSz="59417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56426" indent="-297085" algn="l" defTabSz="59417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50618" indent="-297085" algn="l" defTabSz="59417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41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4177" algn="l" defTabSz="5941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8384" algn="l" defTabSz="5941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2577" algn="l" defTabSz="5941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6763" algn="l" defTabSz="5941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70960" algn="l" defTabSz="5941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65145" algn="l" defTabSz="5941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59333" algn="l" defTabSz="5941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53524" algn="l" defTabSz="5941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18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1978" y="358962"/>
            <a:ext cx="7338636" cy="102481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1855214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75" tIns="46775" rIns="46775" bIns="46775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16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75" tIns="46775" rIns="46775" bIns="46775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75" tIns="46775" rIns="46775" bIns="46775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9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75" tIns="46775" rIns="46775" bIns="46775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Freeform 28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75" tIns="46775" rIns="46775" bIns="46775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75" tIns="46775" rIns="46775" bIns="46775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75" tIns="46775" rIns="46775" bIns="46775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2" name="TextBox 39"/>
          <p:cNvSpPr txBox="1"/>
          <p:nvPr userDrawn="1"/>
        </p:nvSpPr>
        <p:spPr>
          <a:xfrm>
            <a:off x="9223673" y="6781916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3972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3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12" tIns="59407" rIns="118812" bIns="59407" numCol="1" anchor="t" anchorCtr="0" compatLnSpc="1">
            <a:prstTxWarp prst="textNoShape">
              <a:avLst/>
            </a:prstTxWarp>
          </a:bodyPr>
          <a:lstStyle/>
          <a:p>
            <a:pPr defTabSz="59397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88437112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736" r:id="rId1"/>
    <p:sldLayoutId id="2147485737" r:id="rId2"/>
    <p:sldLayoutId id="2147485738" r:id="rId3"/>
    <p:sldLayoutId id="2147485739" r:id="rId4"/>
    <p:sldLayoutId id="2147485740" r:id="rId5"/>
    <p:sldLayoutId id="2147485741" r:id="rId6"/>
    <p:sldLayoutId id="2147485742" r:id="rId7"/>
    <p:sldLayoutId id="2147485743" r:id="rId8"/>
  </p:sldLayoutIdLst>
  <p:hf sldNum="0" hdr="0" ftr="0" dt="0"/>
  <p:txStyles>
    <p:titleStyle>
      <a:lvl1pPr algn="l" defTabSz="593972" rtl="0" eaLnBrk="1" latinLnBrk="0" hangingPunct="1">
        <a:lnSpc>
          <a:spcPts val="5486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A037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246" indent="-239246" algn="l" defTabSz="593972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4363" indent="-228927" algn="l" defTabSz="593972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4363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3296" indent="-228927" algn="l" defTabSz="593972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3296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2232" indent="-228927" algn="l" defTabSz="593972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2232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1158" indent="-228927" algn="l" defTabSz="593972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1158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66945" indent="-296983" algn="l" defTabSz="593972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60927" indent="-296983" algn="l" defTabSz="593972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54913" indent="-296983" algn="l" defTabSz="593972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48906" indent="-296983" algn="l" defTabSz="593972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3972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7980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1972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5954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69951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63935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57922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51913" algn="l" defTabSz="5939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18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82" y="1854691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2041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81813" y="1855210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90" tIns="46790" rIns="46790" bIns="46790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90" tIns="46790" rIns="46790" bIns="46790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90" tIns="46790" rIns="46790" bIns="46790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90" tIns="46790" rIns="46790" bIns="46790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90" tIns="46790" rIns="46790" bIns="46790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90" tIns="46790" rIns="46790" bIns="46790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417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417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90" tIns="46790" rIns="46790" bIns="46790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9223673" y="6781912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4177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51" tIns="59426" rIns="118851" bIns="59426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51" tIns="59426" rIns="118851" bIns="59426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51" tIns="59426" rIns="118851" bIns="59426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51" tIns="59426" rIns="118851" bIns="59426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51" tIns="59426" rIns="118851" bIns="59426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51" tIns="59426" rIns="118851" bIns="59426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51" tIns="59426" rIns="118851" bIns="59426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51" tIns="59426" rIns="118851" bIns="59426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51" tIns="59426" rIns="118851" bIns="59426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51" tIns="59426" rIns="118851" bIns="59426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51" tIns="59426" rIns="118851" bIns="59426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51" tIns="59426" rIns="118851" bIns="59426" numCol="1" anchor="t" anchorCtr="0" compatLnSpc="1">
            <a:prstTxWarp prst="textNoShape">
              <a:avLst/>
            </a:prstTxWarp>
          </a:bodyPr>
          <a:lstStyle/>
          <a:p>
            <a:pPr defTabSz="5941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1368766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746" r:id="rId1"/>
    <p:sldLayoutId id="2147485747" r:id="rId2"/>
    <p:sldLayoutId id="2147485748" r:id="rId3"/>
    <p:sldLayoutId id="2147485749" r:id="rId4"/>
    <p:sldLayoutId id="2147485750" r:id="rId5"/>
    <p:sldLayoutId id="2147485751" r:id="rId6"/>
    <p:sldLayoutId id="2147485752" r:id="rId7"/>
    <p:sldLayoutId id="2147485753" r:id="rId8"/>
    <p:sldLayoutId id="2147485754" r:id="rId9"/>
    <p:sldLayoutId id="2147485755" r:id="rId10"/>
  </p:sldLayoutIdLst>
  <p:hf sldNum="0" hdr="0" ftr="0" dt="0"/>
  <p:txStyles>
    <p:titleStyle>
      <a:lvl1pPr algn="l" defTabSz="594177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327" indent="-239327" algn="l" defTabSz="59417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4524" indent="-229007" algn="l" defTabSz="59417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4524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3535" indent="-229007" algn="l" defTabSz="59417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3535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2550" indent="-229007" algn="l" defTabSz="59417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2550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1554" indent="-229007" algn="l" defTabSz="59417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1554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68054" indent="-297085" algn="l" defTabSz="59417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62237" indent="-297085" algn="l" defTabSz="59417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56426" indent="-297085" algn="l" defTabSz="59417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50618" indent="-297085" algn="l" defTabSz="59417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41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4177" algn="l" defTabSz="5941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8384" algn="l" defTabSz="5941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2577" algn="l" defTabSz="5941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6763" algn="l" defTabSz="5941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70960" algn="l" defTabSz="5941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65145" algn="l" defTabSz="5941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59333" algn="l" defTabSz="5941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53524" algn="l" defTabSz="5941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18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78" y="1854632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Click to edit Master text styles</a:t>
            </a:r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Second level</a:t>
            </a:r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Third level</a:t>
            </a:r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Fourth level</a:t>
            </a:r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Fifth 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1982" y="358900"/>
            <a:ext cx="10725159" cy="102481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lvl="0">
              <a:lnSpc>
                <a:spcPct val="100000"/>
              </a:lnSpc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4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7459" y="6371922"/>
            <a:ext cx="10176095" cy="282263"/>
          </a:xfrm>
          <a:prstGeom prst="rect">
            <a:avLst/>
          </a:prstGeom>
        </p:spPr>
        <p:txBody>
          <a:bodyPr vert="horz" lIns="119434" tIns="59716" rIns="119434" bIns="59716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4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3552" y="6371922"/>
            <a:ext cx="578105" cy="282263"/>
          </a:xfrm>
          <a:prstGeom prst="rect">
            <a:avLst/>
          </a:prstGeom>
        </p:spPr>
        <p:txBody>
          <a:bodyPr vert="horz" lIns="119434" tIns="59716" rIns="119434" bIns="59716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fld id="{74850952-3374-434C-8FC6-DE28F8CD25B0}" type="slidenum">
              <a:rPr lang="pt-BR" smtClean="0">
                <a:solidFill>
                  <a:srgbClr val="5F5F5F"/>
                </a:solidFill>
              </a:rPr>
              <a:pPr defTabSz="597158" fontAlgn="auto">
                <a:spcBef>
                  <a:spcPts val="0"/>
                </a:spcBef>
                <a:spcAft>
                  <a:spcPts val="0"/>
                </a:spcAft>
              </a:pPr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47" name="TextBox 46"/>
          <p:cNvSpPr txBox="1"/>
          <p:nvPr userDrawn="1"/>
        </p:nvSpPr>
        <p:spPr>
          <a:xfrm>
            <a:off x="-281813" y="7363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715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Oi 42pt</a:t>
            </a:r>
          </a:p>
        </p:txBody>
      </p:sp>
      <p:sp>
        <p:nvSpPr>
          <p:cNvPr id="48" name="TextBox 47"/>
          <p:cNvSpPr txBox="1"/>
          <p:nvPr userDrawn="1"/>
        </p:nvSpPr>
        <p:spPr>
          <a:xfrm>
            <a:off x="-281813" y="1855154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715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49" name="TextBox 48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50" name="Freeform 5"/>
          <p:cNvSpPr>
            <a:spLocks/>
          </p:cNvSpPr>
          <p:nvPr userDrawn="1"/>
        </p:nvSpPr>
        <p:spPr bwMode="auto">
          <a:xfrm>
            <a:off x="11944818" y="3078502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20" tIns="47020" rIns="47020" bIns="47020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51" name="Freeform 50"/>
          <p:cNvSpPr>
            <a:spLocks/>
          </p:cNvSpPr>
          <p:nvPr userDrawn="1"/>
        </p:nvSpPr>
        <p:spPr bwMode="auto">
          <a:xfrm>
            <a:off x="11944818" y="2513906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20" tIns="47020" rIns="47020" bIns="47020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4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52" name="Freeform 5"/>
          <p:cNvSpPr>
            <a:spLocks/>
          </p:cNvSpPr>
          <p:nvPr userDrawn="1"/>
        </p:nvSpPr>
        <p:spPr bwMode="auto">
          <a:xfrm>
            <a:off x="11944818" y="1949310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20" tIns="47020" rIns="47020" bIns="47020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9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53" name="Freeform 5"/>
          <p:cNvSpPr>
            <a:spLocks/>
          </p:cNvSpPr>
          <p:nvPr userDrawn="1"/>
        </p:nvSpPr>
        <p:spPr bwMode="auto">
          <a:xfrm>
            <a:off x="11944818" y="1384714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20" tIns="47020" rIns="47020" bIns="47020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0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54" name="Freeform 53"/>
          <p:cNvSpPr>
            <a:spLocks/>
          </p:cNvSpPr>
          <p:nvPr userDrawn="1"/>
        </p:nvSpPr>
        <p:spPr bwMode="auto">
          <a:xfrm>
            <a:off x="11944818" y="820118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20" tIns="47020" rIns="47020" bIns="47020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140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55" name="Freeform 5"/>
          <p:cNvSpPr>
            <a:spLocks/>
          </p:cNvSpPr>
          <p:nvPr userDrawn="1"/>
        </p:nvSpPr>
        <p:spPr bwMode="auto">
          <a:xfrm>
            <a:off x="11944818" y="258729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20" tIns="47020" rIns="47020" bIns="47020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715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715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56" name="Freeform 5"/>
          <p:cNvSpPr>
            <a:spLocks/>
          </p:cNvSpPr>
          <p:nvPr userDrawn="1"/>
        </p:nvSpPr>
        <p:spPr bwMode="auto">
          <a:xfrm>
            <a:off x="11944818" y="3643098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20" tIns="47020" rIns="47020" bIns="47020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57" name="Freeform 5"/>
          <p:cNvSpPr>
            <a:spLocks/>
          </p:cNvSpPr>
          <p:nvPr userDrawn="1"/>
        </p:nvSpPr>
        <p:spPr bwMode="auto">
          <a:xfrm>
            <a:off x="11949114" y="4301731"/>
            <a:ext cx="424105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8" name="Freeform 5"/>
          <p:cNvSpPr>
            <a:spLocks/>
          </p:cNvSpPr>
          <p:nvPr userDrawn="1"/>
        </p:nvSpPr>
        <p:spPr bwMode="auto">
          <a:xfrm>
            <a:off x="11949112" y="4493138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9" name="Freeform 5"/>
          <p:cNvSpPr>
            <a:spLocks/>
          </p:cNvSpPr>
          <p:nvPr userDrawn="1"/>
        </p:nvSpPr>
        <p:spPr bwMode="auto">
          <a:xfrm>
            <a:off x="12102362" y="4493138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0" name="Freeform 5"/>
          <p:cNvSpPr>
            <a:spLocks/>
          </p:cNvSpPr>
          <p:nvPr userDrawn="1"/>
        </p:nvSpPr>
        <p:spPr bwMode="auto">
          <a:xfrm>
            <a:off x="12255608" y="4493135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1" name="Freeform 5"/>
          <p:cNvSpPr>
            <a:spLocks/>
          </p:cNvSpPr>
          <p:nvPr userDrawn="1"/>
        </p:nvSpPr>
        <p:spPr bwMode="auto">
          <a:xfrm>
            <a:off x="11949114" y="4775433"/>
            <a:ext cx="424105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2" name="Freeform 5"/>
          <p:cNvSpPr>
            <a:spLocks/>
          </p:cNvSpPr>
          <p:nvPr userDrawn="1"/>
        </p:nvSpPr>
        <p:spPr bwMode="auto">
          <a:xfrm>
            <a:off x="11949112" y="4982131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3" name="Freeform 5"/>
          <p:cNvSpPr>
            <a:spLocks/>
          </p:cNvSpPr>
          <p:nvPr userDrawn="1"/>
        </p:nvSpPr>
        <p:spPr bwMode="auto">
          <a:xfrm>
            <a:off x="12102362" y="4982128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4" name="Freeform 5"/>
          <p:cNvSpPr>
            <a:spLocks/>
          </p:cNvSpPr>
          <p:nvPr userDrawn="1"/>
        </p:nvSpPr>
        <p:spPr bwMode="auto">
          <a:xfrm>
            <a:off x="12255608" y="4982127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5" name="Freeform 5"/>
          <p:cNvSpPr>
            <a:spLocks/>
          </p:cNvSpPr>
          <p:nvPr userDrawn="1"/>
        </p:nvSpPr>
        <p:spPr bwMode="auto">
          <a:xfrm>
            <a:off x="11949114" y="5245930"/>
            <a:ext cx="424105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6" name="Freeform 5"/>
          <p:cNvSpPr>
            <a:spLocks/>
          </p:cNvSpPr>
          <p:nvPr userDrawn="1"/>
        </p:nvSpPr>
        <p:spPr bwMode="auto">
          <a:xfrm>
            <a:off x="11949112" y="5437334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7" name="Freeform 5"/>
          <p:cNvSpPr>
            <a:spLocks/>
          </p:cNvSpPr>
          <p:nvPr userDrawn="1"/>
        </p:nvSpPr>
        <p:spPr bwMode="auto">
          <a:xfrm>
            <a:off x="12102362" y="5437333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8" name="Freeform 5"/>
          <p:cNvSpPr>
            <a:spLocks/>
          </p:cNvSpPr>
          <p:nvPr userDrawn="1"/>
        </p:nvSpPr>
        <p:spPr bwMode="auto">
          <a:xfrm>
            <a:off x="12255608" y="5437333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9" name="TextBox 39"/>
          <p:cNvSpPr txBox="1"/>
          <p:nvPr userDrawn="1"/>
        </p:nvSpPr>
        <p:spPr>
          <a:xfrm>
            <a:off x="11949113" y="5619122"/>
            <a:ext cx="621766" cy="86593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7158" fontAlgn="auto">
              <a:spcBef>
                <a:spcPts val="1045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 de cores (usar apenas 2 cores dos esquemas abaixo)</a:t>
            </a:r>
          </a:p>
        </p:txBody>
      </p:sp>
      <p:sp>
        <p:nvSpPr>
          <p:cNvPr id="43" name="Freeform 5"/>
          <p:cNvSpPr>
            <a:spLocks/>
          </p:cNvSpPr>
          <p:nvPr userDrawn="1"/>
        </p:nvSpPr>
        <p:spPr bwMode="auto">
          <a:xfrm>
            <a:off x="12411753" y="25872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BD78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" name="Freeform 5"/>
          <p:cNvSpPr>
            <a:spLocks/>
          </p:cNvSpPr>
          <p:nvPr userDrawn="1"/>
        </p:nvSpPr>
        <p:spPr bwMode="auto">
          <a:xfrm>
            <a:off x="12411753" y="537757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7A23C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0" name="Freeform 5"/>
          <p:cNvSpPr>
            <a:spLocks/>
          </p:cNvSpPr>
          <p:nvPr userDrawn="1"/>
        </p:nvSpPr>
        <p:spPr bwMode="auto">
          <a:xfrm>
            <a:off x="12411753" y="86222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86DB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1" name="Freeform 5"/>
          <p:cNvSpPr>
            <a:spLocks/>
          </p:cNvSpPr>
          <p:nvPr userDrawn="1"/>
        </p:nvSpPr>
        <p:spPr bwMode="auto">
          <a:xfrm>
            <a:off x="12411753" y="113250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B51F7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2" name="Freeform 71"/>
          <p:cNvSpPr>
            <a:spLocks/>
          </p:cNvSpPr>
          <p:nvPr userDrawn="1"/>
        </p:nvSpPr>
        <p:spPr bwMode="auto">
          <a:xfrm>
            <a:off x="12411753" y="144158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95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3" name="Freeform 5"/>
          <p:cNvSpPr>
            <a:spLocks/>
          </p:cNvSpPr>
          <p:nvPr userDrawn="1"/>
        </p:nvSpPr>
        <p:spPr bwMode="auto">
          <a:xfrm>
            <a:off x="12411753" y="171186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CC52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4" name="Freeform 5"/>
          <p:cNvSpPr>
            <a:spLocks/>
          </p:cNvSpPr>
          <p:nvPr userDrawn="1"/>
        </p:nvSpPr>
        <p:spPr bwMode="auto">
          <a:xfrm>
            <a:off x="12411753" y="200887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C8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5" name="Freeform 5"/>
          <p:cNvSpPr>
            <a:spLocks/>
          </p:cNvSpPr>
          <p:nvPr userDrawn="1"/>
        </p:nvSpPr>
        <p:spPr bwMode="auto">
          <a:xfrm>
            <a:off x="12411753" y="227915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CCC6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6" name="Freeform 5"/>
          <p:cNvSpPr>
            <a:spLocks/>
          </p:cNvSpPr>
          <p:nvPr userDrawn="1"/>
        </p:nvSpPr>
        <p:spPr bwMode="auto">
          <a:xfrm>
            <a:off x="12411753" y="256409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69D17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7" name="Freeform 5"/>
          <p:cNvSpPr>
            <a:spLocks/>
          </p:cNvSpPr>
          <p:nvPr userDrawn="1"/>
        </p:nvSpPr>
        <p:spPr bwMode="auto">
          <a:xfrm>
            <a:off x="12411753" y="283437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9E0B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8" name="Freeform 5"/>
          <p:cNvSpPr>
            <a:spLocks/>
          </p:cNvSpPr>
          <p:nvPr userDrawn="1"/>
        </p:nvSpPr>
        <p:spPr bwMode="auto">
          <a:xfrm>
            <a:off x="12411753" y="3155524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E6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9" name="Freeform 5"/>
          <p:cNvSpPr>
            <a:spLocks/>
          </p:cNvSpPr>
          <p:nvPr userDrawn="1"/>
        </p:nvSpPr>
        <p:spPr bwMode="auto">
          <a:xfrm>
            <a:off x="12411753" y="342580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AFC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80" name="Freeform 5"/>
          <p:cNvSpPr>
            <a:spLocks/>
          </p:cNvSpPr>
          <p:nvPr userDrawn="1"/>
        </p:nvSpPr>
        <p:spPr bwMode="auto">
          <a:xfrm>
            <a:off x="12411753" y="3734884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DEDEDE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81" name="Freeform 5"/>
          <p:cNvSpPr>
            <a:spLocks/>
          </p:cNvSpPr>
          <p:nvPr userDrawn="1"/>
        </p:nvSpPr>
        <p:spPr bwMode="auto">
          <a:xfrm>
            <a:off x="12411753" y="400516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9C9C9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4" tIns="59716" rIns="119434" bIns="59716" numCol="1" anchor="t" anchorCtr="0" compatLnSpc="1">
            <a:prstTxWarp prst="textNoShape">
              <a:avLst/>
            </a:prstTxWarp>
          </a:bodyPr>
          <a:lstStyle/>
          <a:p>
            <a:pPr defTabSz="597158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5181291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758" r:id="rId1"/>
    <p:sldLayoutId id="2147485759" r:id="rId2"/>
    <p:sldLayoutId id="2147485760" r:id="rId3"/>
  </p:sldLayoutIdLst>
  <p:hf hdr="0" dt="0"/>
  <p:txStyles>
    <p:titleStyle>
      <a:lvl1pPr algn="l" defTabSz="597158" rtl="0" eaLnBrk="1" latinLnBrk="0" hangingPunct="1">
        <a:lnSpc>
          <a:spcPts val="5487"/>
        </a:lnSpc>
        <a:spcBef>
          <a:spcPct val="0"/>
        </a:spcBef>
        <a:spcAft>
          <a:spcPts val="0"/>
        </a:spcAft>
        <a:buNone/>
        <a:defRPr lang="en-US" sz="5500" b="0" i="0" kern="1200" noProof="0" dirty="0">
          <a:solidFill>
            <a:srgbClr val="A037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40523" indent="-240523" algn="l" defTabSz="59715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6895" indent="-230154" algn="l" defTabSz="59715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6895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7051" indent="-230154" algn="l" defTabSz="59715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7051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7204" indent="-230154" algn="l" defTabSz="59715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7204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7360" indent="-230154" algn="l" defTabSz="59715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7360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84366" indent="-298578" algn="l" defTabSz="59715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81521" indent="-298578" algn="l" defTabSz="59715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78678" indent="-298578" algn="l" defTabSz="59715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75834" indent="-298578" algn="l" defTabSz="59715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715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7158" algn="l" defTabSz="59715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94313" algn="l" defTabSz="59715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91473" algn="l" defTabSz="59715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88628" algn="l" defTabSz="59715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85786" algn="l" defTabSz="59715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82943" algn="l" defTabSz="59715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80101" algn="l" defTabSz="59715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77257" algn="l" defTabSz="59715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18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1978" y="358945"/>
            <a:ext cx="7338636" cy="102481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4854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1855198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4854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43" tIns="46843" rIns="46843" bIns="46843" numCol="1" anchor="t" anchorCtr="0" compatLnSpc="1">
            <a:prstTxWarp prst="textNoShape">
              <a:avLst/>
            </a:prstTxWarp>
          </a:bodyPr>
          <a:lstStyle/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16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43" tIns="46843" rIns="46843" bIns="46843" numCol="1" anchor="t" anchorCtr="0" compatLnSpc="1">
            <a:prstTxWarp prst="textNoShape">
              <a:avLst/>
            </a:prstTxWarp>
          </a:bodyPr>
          <a:lstStyle/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43" tIns="46843" rIns="46843" bIns="46843" numCol="1" anchor="t" anchorCtr="0" compatLnSpc="1">
            <a:prstTxWarp prst="textNoShape">
              <a:avLst/>
            </a:prstTxWarp>
          </a:bodyPr>
          <a:lstStyle/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9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43" tIns="46843" rIns="46843" bIns="46843" numCol="1" anchor="t" anchorCtr="0" compatLnSpc="1">
            <a:prstTxWarp prst="textNoShape">
              <a:avLst/>
            </a:prstTxWarp>
          </a:bodyPr>
          <a:lstStyle/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Freeform 28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43" tIns="46843" rIns="46843" bIns="46843" numCol="1" anchor="t" anchorCtr="0" compatLnSpc="1">
            <a:prstTxWarp prst="textNoShape">
              <a:avLst/>
            </a:prstTxWarp>
          </a:bodyPr>
          <a:lstStyle/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43" tIns="46843" rIns="46843" bIns="46843" numCol="1" anchor="t" anchorCtr="0" compatLnSpc="1">
            <a:prstTxWarp prst="textNoShape">
              <a:avLst/>
            </a:prstTxWarp>
          </a:bodyPr>
          <a:lstStyle/>
          <a:p>
            <a:pPr defTabSz="5948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48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48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43" tIns="46843" rIns="46843" bIns="46843" numCol="1" anchor="t" anchorCtr="0" compatLnSpc="1">
            <a:prstTxWarp prst="textNoShape">
              <a:avLst/>
            </a:prstTxWarp>
          </a:bodyPr>
          <a:lstStyle/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2" name="TextBox 39"/>
          <p:cNvSpPr txBox="1"/>
          <p:nvPr userDrawn="1"/>
        </p:nvSpPr>
        <p:spPr>
          <a:xfrm>
            <a:off x="9223673" y="6781899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4854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983" tIns="59491" rIns="118983" bIns="59491" numCol="1" anchor="t" anchorCtr="0" compatLnSpc="1">
            <a:prstTxWarp prst="textNoShape">
              <a:avLst/>
            </a:prstTxWarp>
          </a:bodyPr>
          <a:lstStyle/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83" tIns="59491" rIns="118983" bIns="59491" numCol="1" anchor="t" anchorCtr="0" compatLnSpc="1">
            <a:prstTxWarp prst="textNoShape">
              <a:avLst/>
            </a:prstTxWarp>
          </a:bodyPr>
          <a:lstStyle/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83" tIns="59491" rIns="118983" bIns="59491" numCol="1" anchor="t" anchorCtr="0" compatLnSpc="1">
            <a:prstTxWarp prst="textNoShape">
              <a:avLst/>
            </a:prstTxWarp>
          </a:bodyPr>
          <a:lstStyle/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83" tIns="59491" rIns="118983" bIns="59491" numCol="1" anchor="t" anchorCtr="0" compatLnSpc="1">
            <a:prstTxWarp prst="textNoShape">
              <a:avLst/>
            </a:prstTxWarp>
          </a:bodyPr>
          <a:lstStyle/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983" tIns="59491" rIns="118983" bIns="59491" numCol="1" anchor="t" anchorCtr="0" compatLnSpc="1">
            <a:prstTxWarp prst="textNoShape">
              <a:avLst/>
            </a:prstTxWarp>
          </a:bodyPr>
          <a:lstStyle/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83" tIns="59491" rIns="118983" bIns="59491" numCol="1" anchor="t" anchorCtr="0" compatLnSpc="1">
            <a:prstTxWarp prst="textNoShape">
              <a:avLst/>
            </a:prstTxWarp>
          </a:bodyPr>
          <a:lstStyle/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83" tIns="59491" rIns="118983" bIns="59491" numCol="1" anchor="t" anchorCtr="0" compatLnSpc="1">
            <a:prstTxWarp prst="textNoShape">
              <a:avLst/>
            </a:prstTxWarp>
          </a:bodyPr>
          <a:lstStyle/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83" tIns="59491" rIns="118983" bIns="59491" numCol="1" anchor="t" anchorCtr="0" compatLnSpc="1">
            <a:prstTxWarp prst="textNoShape">
              <a:avLst/>
            </a:prstTxWarp>
          </a:bodyPr>
          <a:lstStyle/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983" tIns="59491" rIns="118983" bIns="59491" numCol="1" anchor="t" anchorCtr="0" compatLnSpc="1">
            <a:prstTxWarp prst="textNoShape">
              <a:avLst/>
            </a:prstTxWarp>
          </a:bodyPr>
          <a:lstStyle/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83" tIns="59491" rIns="118983" bIns="59491" numCol="1" anchor="t" anchorCtr="0" compatLnSpc="1">
            <a:prstTxWarp prst="textNoShape">
              <a:avLst/>
            </a:prstTxWarp>
          </a:bodyPr>
          <a:lstStyle/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3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83" tIns="59491" rIns="118983" bIns="59491" numCol="1" anchor="t" anchorCtr="0" compatLnSpc="1">
            <a:prstTxWarp prst="textNoShape">
              <a:avLst/>
            </a:prstTxWarp>
          </a:bodyPr>
          <a:lstStyle/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83" tIns="59491" rIns="118983" bIns="59491" numCol="1" anchor="t" anchorCtr="0" compatLnSpc="1">
            <a:prstTxWarp prst="textNoShape">
              <a:avLst/>
            </a:prstTxWarp>
          </a:bodyPr>
          <a:lstStyle/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1062521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762" r:id="rId1"/>
    <p:sldLayoutId id="2147485763" r:id="rId2"/>
    <p:sldLayoutId id="2147485764" r:id="rId3"/>
    <p:sldLayoutId id="2147485765" r:id="rId4"/>
    <p:sldLayoutId id="2147485766" r:id="rId5"/>
    <p:sldLayoutId id="2147485767" r:id="rId6"/>
    <p:sldLayoutId id="2147485768" r:id="rId7"/>
    <p:sldLayoutId id="2147485769" r:id="rId8"/>
  </p:sldLayoutIdLst>
  <p:hf sldNum="0" hdr="0" ftr="0" dt="0"/>
  <p:txStyles>
    <p:titleStyle>
      <a:lvl1pPr algn="l" defTabSz="594854" rtl="0" eaLnBrk="1" latinLnBrk="0" hangingPunct="1">
        <a:lnSpc>
          <a:spcPts val="5486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A037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598" indent="-239598" algn="l" defTabSz="5948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5061" indent="-229267" algn="l" defTabSz="5948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5061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4332" indent="-229267" algn="l" defTabSz="5948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4332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3607" indent="-229267" algn="l" defTabSz="5948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3607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2874" indent="-229267" algn="l" defTabSz="5948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2874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71756" indent="-297422" algn="l" defTabSz="594854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66612" indent="-297422" algn="l" defTabSz="594854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61470" indent="-297422" algn="l" defTabSz="594854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56334" indent="-297422" algn="l" defTabSz="594854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48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4854" algn="l" defTabSz="5948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9729" algn="l" defTabSz="5948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4592" algn="l" defTabSz="5948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9452" algn="l" defTabSz="5948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74325" algn="l" defTabSz="5948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69183" algn="l" defTabSz="5948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64043" algn="l" defTabSz="5948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58906" algn="l" defTabSz="5948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1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1978" y="358972"/>
            <a:ext cx="7338636" cy="102481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1855226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16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9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Freeform 28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2" name="TextBox 39"/>
          <p:cNvSpPr txBox="1"/>
          <p:nvPr userDrawn="1"/>
        </p:nvSpPr>
        <p:spPr>
          <a:xfrm>
            <a:off x="9223673" y="6781928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3363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3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14555120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71" r:id="rId1"/>
    <p:sldLayoutId id="2147483872" r:id="rId2"/>
    <p:sldLayoutId id="2147483873" r:id="rId3"/>
    <p:sldLayoutId id="2147483874" r:id="rId4"/>
    <p:sldLayoutId id="2147483875" r:id="rId5"/>
    <p:sldLayoutId id="2147483876" r:id="rId6"/>
    <p:sldLayoutId id="2147483877" r:id="rId7"/>
    <p:sldLayoutId id="2147483878" r:id="rId8"/>
  </p:sldLayoutIdLst>
  <p:hf sldNum="0" hdr="0" ftr="0" dt="0"/>
  <p:txStyles>
    <p:titleStyle>
      <a:lvl1pPr algn="l" defTabSz="593363" rtl="0" eaLnBrk="1" latinLnBrk="0" hangingPunct="1">
        <a:lnSpc>
          <a:spcPts val="5486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A037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005" indent="-239005" algn="l" defTabSz="59336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3881" indent="-228695" algn="l" defTabSz="59336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3881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2579" indent="-228695" algn="l" defTabSz="59336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2579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1282" indent="-228695" algn="l" defTabSz="59336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1282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59973" indent="-228695" algn="l" defTabSz="59336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59973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63617" indent="-296677" algn="l" defTabSz="59336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56998" indent="-296677" algn="l" defTabSz="59336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50378" indent="-296677" algn="l" defTabSz="59336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43767" indent="-296677" algn="l" defTabSz="59336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3363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6768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0158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3541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66928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60307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53688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47078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19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82" y="1854670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2020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81813" y="1855192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69" tIns="46869" rIns="46869" bIns="46869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69" tIns="46869" rIns="46869" bIns="46869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69" tIns="46869" rIns="46869" bIns="46869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69" tIns="46869" rIns="46869" bIns="46869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69" tIns="46869" rIns="46869" bIns="46869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69" tIns="46869" rIns="46869" bIns="46869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519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519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69" tIns="46869" rIns="46869" bIns="46869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9223673" y="6781894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5190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051" tIns="59524" rIns="119051" bIns="59524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51" tIns="59524" rIns="119051" bIns="59524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51" tIns="59524" rIns="119051" bIns="59524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51" tIns="59524" rIns="119051" bIns="59524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051" tIns="59524" rIns="119051" bIns="59524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51" tIns="59524" rIns="119051" bIns="59524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51" tIns="59524" rIns="119051" bIns="59524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51" tIns="59524" rIns="119051" bIns="59524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051" tIns="59524" rIns="119051" bIns="59524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51" tIns="59524" rIns="119051" bIns="59524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51" tIns="59524" rIns="119051" bIns="59524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51" tIns="59524" rIns="119051" bIns="59524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71867025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771" r:id="rId1"/>
    <p:sldLayoutId id="2147485772" r:id="rId2"/>
    <p:sldLayoutId id="2147485773" r:id="rId3"/>
    <p:sldLayoutId id="2147485774" r:id="rId4"/>
  </p:sldLayoutIdLst>
  <p:hf sldNum="0" hdr="0" ftr="0" dt="0"/>
  <p:txStyles>
    <p:titleStyle>
      <a:lvl1pPr algn="l" defTabSz="595190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732" indent="-239732" algn="l" defTabSz="595190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5329" indent="-229398" algn="l" defTabSz="595190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5329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4729" indent="-229398" algn="l" defTabSz="595190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4729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4136" indent="-229398" algn="l" defTabSz="595190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4136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3533" indent="-229398" algn="l" defTabSz="595190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3533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73606" indent="-297593" algn="l" defTabSz="595190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68800" indent="-297593" algn="l" defTabSz="595190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63998" indent="-297593" algn="l" defTabSz="595190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59195" indent="-297593" algn="l" defTabSz="595190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51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5190" algn="l" defTabSz="5951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90402" algn="l" defTabSz="5951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5600" algn="l" defTabSz="5951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80801" algn="l" defTabSz="5951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76008" algn="l" defTabSz="5951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71203" algn="l" defTabSz="5951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66402" algn="l" defTabSz="5951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61600" algn="l" defTabSz="5951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19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4014859990"/>
              </p:ext>
            </p:extLst>
          </p:nvPr>
        </p:nvGraphicFramePr>
        <p:xfrm>
          <a:off x="1" y="2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72236" name="Slide do think-cell" r:id="rId14" imgW="0" imgH="0" progId="TCLayout.ActiveDocument.1">
                  <p:embed/>
                </p:oleObj>
              </mc:Choice>
              <mc:Fallback>
                <p:oleObj name="Slide do think-cell" r:id="rId14" imgW="0" imgH="0" progId="TCLayout.ActiveDocument.1">
                  <p:embed/>
                  <p:pic>
                    <p:nvPicPr>
                      <p:cNvPr id="0" name="AutoShape 11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2"/>
                        <a:ext cx="211676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10776432" y="36518"/>
            <a:ext cx="876339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88028"/>
            <a:endParaRPr lang="pt-BR" sz="8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10519874" y="1932900"/>
            <a:ext cx="267220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10682583" y="4106726"/>
            <a:ext cx="234679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936841" y="1951039"/>
            <a:ext cx="5736421" cy="11060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ext styles</a:t>
            </a:r>
          </a:p>
          <a:p>
            <a:pPr lvl="1"/>
            <a:r>
              <a:rPr lang="pt-BR" noProof="0" smtClean="0"/>
              <a:t>Second level</a:t>
            </a:r>
          </a:p>
          <a:p>
            <a:pPr lvl="2"/>
            <a:r>
              <a:rPr lang="pt-BR" noProof="0" smtClean="0"/>
              <a:t>Third level</a:t>
            </a:r>
          </a:p>
          <a:p>
            <a:pPr lvl="3"/>
            <a:r>
              <a:rPr lang="pt-BR" noProof="0" smtClean="0"/>
              <a:t>Fourth level</a:t>
            </a:r>
          </a:p>
          <a:p>
            <a:pPr lvl="4"/>
            <a:r>
              <a:rPr lang="pt-BR" noProof="0" smtClean="0"/>
              <a:t>Fifth level</a:t>
            </a:r>
            <a:endParaRPr lang="pt-BR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211676" y="230280"/>
            <a:ext cx="10530036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58852" y="26992"/>
            <a:ext cx="886083" cy="2212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pt-BR" sz="1400" smtClean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TRACKER</a:t>
            </a:r>
            <a:endParaRPr lang="pt-BR" sz="1400" dirty="0">
              <a:solidFill>
                <a:srgbClr val="80808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58875" y="621826"/>
            <a:ext cx="11491891" cy="281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pt-BR" sz="1800" smtClean="0">
                <a:solidFill>
                  <a:srgbClr val="D5E7FF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Unit of measure</a:t>
            </a:r>
            <a:endParaRPr lang="pt-BR" sz="1800" dirty="0" smtClean="0">
              <a:solidFill>
                <a:srgbClr val="D5E7FF">
                  <a:lumMod val="75000"/>
                </a:srgbClr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158761" y="6265675"/>
            <a:ext cx="11398753" cy="358776"/>
            <a:chOff x="75" y="3877"/>
            <a:chExt cx="5385" cy="226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877"/>
              <a:ext cx="5385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pt-BR" sz="100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1 Footnote</a:t>
              </a:r>
              <a:endParaRPr lang="pt-BR" sz="1000" dirty="0" smtClean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06"/>
              <a:ext cx="4323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t" anchorCtr="0">
              <a:spAutoFit/>
            </a:bodyPr>
            <a:lstStyle/>
            <a:p>
              <a:pPr marL="604644" indent="-604644" defTabSz="888028">
                <a:tabLst>
                  <a:tab pos="607774" algn="l"/>
                </a:tabLst>
              </a:pPr>
              <a:r>
                <a:rPr lang="pt-BR" sz="1000" dirty="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FONTE: </a:t>
              </a:r>
              <a:r>
                <a:rPr lang="pt-BR" sz="1000" dirty="0" err="1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ource</a:t>
              </a:r>
              <a:endParaRPr lang="pt-BR" sz="1000" dirty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936840" y="1123953"/>
            <a:ext cx="5685618" cy="511174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 hidden="1"/>
            <p:cNvSpPr>
              <a:spLocks noChangeArrowheads="1"/>
            </p:cNvSpPr>
            <p:nvPr/>
          </p:nvSpPr>
          <p:spPr bwMode="auto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pt-BR" b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itle</a:t>
              </a:r>
            </a:p>
            <a:p>
              <a:r>
                <a:rPr lang="pt-BR" smtClean="0">
                  <a:solidFill>
                    <a:srgbClr val="80808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Unit of measure</a:t>
              </a:r>
              <a:endParaRPr lang="pt-BR" dirty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28" name="Group 27"/>
          <p:cNvGrpSpPr/>
          <p:nvPr userDrawn="1"/>
        </p:nvGrpSpPr>
        <p:grpSpPr>
          <a:xfrm>
            <a:off x="11335740" y="60963"/>
            <a:ext cx="613376" cy="655256"/>
            <a:chOff x="5526523" y="2325890"/>
            <a:chExt cx="3423032" cy="3656747"/>
          </a:xfrm>
        </p:grpSpPr>
        <p:sp>
          <p:nvSpPr>
            <p:cNvPr id="29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30" name="Group 29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31" name="Donut 30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2" name="Oval 31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3" name="Oval 32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1697532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776" r:id="rId1"/>
    <p:sldLayoutId id="2147485777" r:id="rId2"/>
    <p:sldLayoutId id="2147485778" r:id="rId3"/>
    <p:sldLayoutId id="2147485779" r:id="rId4"/>
    <p:sldLayoutId id="2147485780" r:id="rId5"/>
    <p:sldLayoutId id="2147485781" r:id="rId6"/>
    <p:sldLayoutId id="2147485782" r:id="rId7"/>
    <p:sldLayoutId id="2147485783" r:id="rId8"/>
    <p:sldLayoutId id="2147485784" r:id="rId9"/>
    <p:sldLayoutId id="2147485785" r:id="rId10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defTabSz="888028" rtl="0" eaLnBrk="1" fontAlgn="base" hangingPunct="1">
        <a:spcBef>
          <a:spcPct val="0"/>
        </a:spcBef>
        <a:spcAft>
          <a:spcPct val="0"/>
        </a:spcAft>
        <a:tabLst>
          <a:tab pos="267688" algn="l"/>
        </a:tabLst>
        <a:defRPr lang="en-US" sz="2000" b="1" baseline="0" noProof="0" dirty="0" smtClean="0">
          <a:solidFill>
            <a:schemeClr val="accent4"/>
          </a:solidFill>
          <a:latin typeface="Arial" panose="020B0604020202020204" pitchFamily="34" charset="0"/>
          <a:ea typeface="+mj-ea"/>
          <a:cs typeface="Arial" panose="020B0604020202020204" pitchFamily="34" charset="0"/>
          <a:sym typeface="Arial" panose="020B0604020202020204" pitchFamily="34" charset="0"/>
        </a:defRPr>
      </a:lvl1pPr>
      <a:lvl2pPr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2pPr>
      <a:lvl3pPr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3pPr>
      <a:lvl4pPr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4pPr>
      <a:lvl5pPr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5pPr>
      <a:lvl6pPr marL="453493"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6pPr>
      <a:lvl7pPr marL="906935"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7pPr>
      <a:lvl8pPr marL="1360390"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8pPr>
      <a:lvl9pPr marL="1813863"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88028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400" baseline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1pPr>
      <a:lvl2pPr marL="192114" indent="-192114" algn="l" defTabSz="888028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15000"/>
        <a:buFont typeface="Simplon BP Regular" pitchFamily="2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2pPr>
      <a:lvl3pPr marL="453493" indent="-259777" algn="l" defTabSz="888028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charset="0"/>
        <a:buChar char="–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3pPr>
      <a:lvl4pPr marL="609346" indent="-154337" algn="l" defTabSz="888028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pitchFamily="34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4pPr>
      <a:lvl5pPr marL="743666" indent="-129115" algn="l" defTabSz="888028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89000"/>
        <a:buFont typeface="Arial" charset="0"/>
        <a:buChar char="-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5pPr>
      <a:lvl6pPr marL="743666" indent="-129115" algn="l" defTabSz="88802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3666" indent="-129115" algn="l" defTabSz="88802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3666" indent="-129115" algn="l" defTabSz="88802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3666" indent="-129115" algn="l" defTabSz="88802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3493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06935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0390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13863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67322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20778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74250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27718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9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4128235308"/>
              </p:ext>
            </p:extLst>
          </p:nvPr>
        </p:nvGraphicFramePr>
        <p:xfrm>
          <a:off x="1" y="2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80423" name="Slide do think-cell" r:id="rId14" imgW="0" imgH="0" progId="TCLayout.ActiveDocument.1">
                  <p:embed/>
                </p:oleObj>
              </mc:Choice>
              <mc:Fallback>
                <p:oleObj name="Slide do think-cell" r:id="rId14" imgW="0" imgH="0" progId="TCLayout.ActiveDocument.1">
                  <p:embed/>
                  <p:pic>
                    <p:nvPicPr>
                      <p:cNvPr id="0" name="AutoShape 10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2"/>
                        <a:ext cx="211676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10776432" y="36518"/>
            <a:ext cx="876339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88028"/>
            <a:endParaRPr lang="pt-BR" sz="8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10519874" y="1932900"/>
            <a:ext cx="267220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10682583" y="4106726"/>
            <a:ext cx="234679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936841" y="1951039"/>
            <a:ext cx="5736421" cy="11060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ext styles</a:t>
            </a:r>
          </a:p>
          <a:p>
            <a:pPr lvl="1"/>
            <a:r>
              <a:rPr lang="pt-BR" noProof="0" smtClean="0"/>
              <a:t>Second level</a:t>
            </a:r>
          </a:p>
          <a:p>
            <a:pPr lvl="2"/>
            <a:r>
              <a:rPr lang="pt-BR" noProof="0" smtClean="0"/>
              <a:t>Third level</a:t>
            </a:r>
          </a:p>
          <a:p>
            <a:pPr lvl="3"/>
            <a:r>
              <a:rPr lang="pt-BR" noProof="0" smtClean="0"/>
              <a:t>Fourth level</a:t>
            </a:r>
          </a:p>
          <a:p>
            <a:pPr lvl="4"/>
            <a:r>
              <a:rPr lang="pt-BR" noProof="0" smtClean="0"/>
              <a:t>Fifth level</a:t>
            </a:r>
            <a:endParaRPr lang="pt-BR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211676" y="230280"/>
            <a:ext cx="10530036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58852" y="26992"/>
            <a:ext cx="886083" cy="2212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pt-BR" sz="1400" smtClean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TRACKER</a:t>
            </a:r>
            <a:endParaRPr lang="pt-BR" sz="1400" dirty="0">
              <a:solidFill>
                <a:srgbClr val="80808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58875" y="621826"/>
            <a:ext cx="11491891" cy="281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pt-BR" sz="1800" smtClean="0">
                <a:solidFill>
                  <a:srgbClr val="D5E7FF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Unit of measure</a:t>
            </a:r>
            <a:endParaRPr lang="pt-BR" sz="1800" dirty="0" smtClean="0">
              <a:solidFill>
                <a:srgbClr val="D5E7FF">
                  <a:lumMod val="75000"/>
                </a:srgbClr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158761" y="6265675"/>
            <a:ext cx="11398753" cy="358776"/>
            <a:chOff x="75" y="3877"/>
            <a:chExt cx="5385" cy="226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877"/>
              <a:ext cx="5385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pt-BR" sz="100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1 Footnote</a:t>
              </a:r>
              <a:endParaRPr lang="pt-BR" sz="1000" dirty="0" smtClean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06"/>
              <a:ext cx="4323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t" anchorCtr="0">
              <a:spAutoFit/>
            </a:bodyPr>
            <a:lstStyle/>
            <a:p>
              <a:pPr marL="604644" indent="-604644" defTabSz="888028">
                <a:tabLst>
                  <a:tab pos="607774" algn="l"/>
                </a:tabLst>
              </a:pPr>
              <a:r>
                <a:rPr lang="pt-BR" sz="1000" dirty="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FONTE: </a:t>
              </a:r>
              <a:r>
                <a:rPr lang="pt-BR" sz="1000" dirty="0" err="1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ource</a:t>
              </a:r>
              <a:endParaRPr lang="pt-BR" sz="1000" dirty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936840" y="1123953"/>
            <a:ext cx="5685618" cy="511174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 hidden="1"/>
            <p:cNvSpPr>
              <a:spLocks noChangeArrowheads="1"/>
            </p:cNvSpPr>
            <p:nvPr/>
          </p:nvSpPr>
          <p:spPr bwMode="auto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pt-BR" b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itle</a:t>
              </a:r>
            </a:p>
            <a:p>
              <a:r>
                <a:rPr lang="pt-BR" smtClean="0">
                  <a:solidFill>
                    <a:srgbClr val="80808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Unit of measure</a:t>
              </a:r>
              <a:endParaRPr lang="pt-BR" dirty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28" name="Group 27"/>
          <p:cNvGrpSpPr/>
          <p:nvPr userDrawn="1"/>
        </p:nvGrpSpPr>
        <p:grpSpPr>
          <a:xfrm>
            <a:off x="11335740" y="60963"/>
            <a:ext cx="613376" cy="655256"/>
            <a:chOff x="5526523" y="2325890"/>
            <a:chExt cx="3423032" cy="3656747"/>
          </a:xfrm>
        </p:grpSpPr>
        <p:sp>
          <p:nvSpPr>
            <p:cNvPr id="29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30" name="Group 29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31" name="Donut 30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2" name="Oval 31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3" name="Oval 32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24687360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803" r:id="rId1"/>
    <p:sldLayoutId id="2147485804" r:id="rId2"/>
    <p:sldLayoutId id="2147485805" r:id="rId3"/>
    <p:sldLayoutId id="2147485806" r:id="rId4"/>
    <p:sldLayoutId id="2147485807" r:id="rId5"/>
    <p:sldLayoutId id="2147485808" r:id="rId6"/>
    <p:sldLayoutId id="2147485809" r:id="rId7"/>
    <p:sldLayoutId id="2147485810" r:id="rId8"/>
    <p:sldLayoutId id="2147485811" r:id="rId9"/>
    <p:sldLayoutId id="2147485812" r:id="rId10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defTabSz="888028" rtl="0" eaLnBrk="1" fontAlgn="base" hangingPunct="1">
        <a:spcBef>
          <a:spcPct val="0"/>
        </a:spcBef>
        <a:spcAft>
          <a:spcPct val="0"/>
        </a:spcAft>
        <a:tabLst>
          <a:tab pos="267688" algn="l"/>
        </a:tabLst>
        <a:defRPr lang="en-US" sz="2000" b="1" baseline="0" noProof="0" dirty="0" smtClean="0">
          <a:solidFill>
            <a:schemeClr val="accent4"/>
          </a:solidFill>
          <a:latin typeface="Arial" panose="020B0604020202020204" pitchFamily="34" charset="0"/>
          <a:ea typeface="+mj-ea"/>
          <a:cs typeface="Arial" panose="020B0604020202020204" pitchFamily="34" charset="0"/>
          <a:sym typeface="Arial" panose="020B0604020202020204" pitchFamily="34" charset="0"/>
        </a:defRPr>
      </a:lvl1pPr>
      <a:lvl2pPr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2pPr>
      <a:lvl3pPr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3pPr>
      <a:lvl4pPr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4pPr>
      <a:lvl5pPr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5pPr>
      <a:lvl6pPr marL="453493"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6pPr>
      <a:lvl7pPr marL="906935"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7pPr>
      <a:lvl8pPr marL="1360390"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8pPr>
      <a:lvl9pPr marL="1813863"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88028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400" baseline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1pPr>
      <a:lvl2pPr marL="192114" indent="-192114" algn="l" defTabSz="888028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15000"/>
        <a:buFont typeface="Simplon BP Regular" pitchFamily="2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2pPr>
      <a:lvl3pPr marL="453493" indent="-259777" algn="l" defTabSz="888028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charset="0"/>
        <a:buChar char="–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3pPr>
      <a:lvl4pPr marL="609346" indent="-154337" algn="l" defTabSz="888028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pitchFamily="34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4pPr>
      <a:lvl5pPr marL="743666" indent="-129115" algn="l" defTabSz="888028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89000"/>
        <a:buFont typeface="Arial" charset="0"/>
        <a:buChar char="-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5pPr>
      <a:lvl6pPr marL="743666" indent="-129115" algn="l" defTabSz="88802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3666" indent="-129115" algn="l" defTabSz="88802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3666" indent="-129115" algn="l" defTabSz="88802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3666" indent="-129115" algn="l" defTabSz="88802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3493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06935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0390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13863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67322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20778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74250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27718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9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3717156702"/>
              </p:ext>
            </p:extLst>
          </p:nvPr>
        </p:nvGraphicFramePr>
        <p:xfrm>
          <a:off x="1" y="2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84519" name="Slide do think-cell" r:id="rId14" imgW="0" imgH="0" progId="TCLayout.ActiveDocument.1">
                  <p:embed/>
                </p:oleObj>
              </mc:Choice>
              <mc:Fallback>
                <p:oleObj name="Slide do think-cell" r:id="rId14" imgW="0" imgH="0" progId="TCLayout.ActiveDocument.1">
                  <p:embed/>
                  <p:pic>
                    <p:nvPicPr>
                      <p:cNvPr id="0" name="AutoShape 10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2"/>
                        <a:ext cx="211676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10776432" y="36518"/>
            <a:ext cx="876339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88028"/>
            <a:endParaRPr lang="pt-BR" sz="8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10519874" y="1932900"/>
            <a:ext cx="267220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10682583" y="4106726"/>
            <a:ext cx="234679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936841" y="1951039"/>
            <a:ext cx="5736421" cy="11060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ext styles</a:t>
            </a:r>
          </a:p>
          <a:p>
            <a:pPr lvl="1"/>
            <a:r>
              <a:rPr lang="pt-BR" noProof="0" smtClean="0"/>
              <a:t>Second level</a:t>
            </a:r>
          </a:p>
          <a:p>
            <a:pPr lvl="2"/>
            <a:r>
              <a:rPr lang="pt-BR" noProof="0" smtClean="0"/>
              <a:t>Third level</a:t>
            </a:r>
          </a:p>
          <a:p>
            <a:pPr lvl="3"/>
            <a:r>
              <a:rPr lang="pt-BR" noProof="0" smtClean="0"/>
              <a:t>Fourth level</a:t>
            </a:r>
          </a:p>
          <a:p>
            <a:pPr lvl="4"/>
            <a:r>
              <a:rPr lang="pt-BR" noProof="0" smtClean="0"/>
              <a:t>Fifth level</a:t>
            </a:r>
            <a:endParaRPr lang="pt-BR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211676" y="230280"/>
            <a:ext cx="10530036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58852" y="26992"/>
            <a:ext cx="886083" cy="2212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pt-BR" sz="1400" smtClean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TRACKER</a:t>
            </a:r>
            <a:endParaRPr lang="pt-BR" sz="1400" dirty="0">
              <a:solidFill>
                <a:srgbClr val="80808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58875" y="621826"/>
            <a:ext cx="11491891" cy="281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pt-BR" sz="1800" smtClean="0">
                <a:solidFill>
                  <a:srgbClr val="D5E7FF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Unit of measure</a:t>
            </a:r>
            <a:endParaRPr lang="pt-BR" sz="1800" dirty="0" smtClean="0">
              <a:solidFill>
                <a:srgbClr val="D5E7FF">
                  <a:lumMod val="75000"/>
                </a:srgbClr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158761" y="6265675"/>
            <a:ext cx="11398753" cy="358776"/>
            <a:chOff x="75" y="3877"/>
            <a:chExt cx="5385" cy="226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877"/>
              <a:ext cx="5385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pt-BR" sz="100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1 Footnote</a:t>
              </a:r>
              <a:endParaRPr lang="pt-BR" sz="1000" dirty="0" smtClean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06"/>
              <a:ext cx="4323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t" anchorCtr="0">
              <a:spAutoFit/>
            </a:bodyPr>
            <a:lstStyle/>
            <a:p>
              <a:pPr marL="604644" indent="-604644" defTabSz="888028">
                <a:tabLst>
                  <a:tab pos="607774" algn="l"/>
                </a:tabLst>
              </a:pPr>
              <a:r>
                <a:rPr lang="pt-BR" sz="1000" dirty="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FONTE: </a:t>
              </a:r>
              <a:r>
                <a:rPr lang="pt-BR" sz="1000" dirty="0" err="1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ource</a:t>
              </a:r>
              <a:endParaRPr lang="pt-BR" sz="1000" dirty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936840" y="1123953"/>
            <a:ext cx="5685618" cy="511174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 hidden="1"/>
            <p:cNvSpPr>
              <a:spLocks noChangeArrowheads="1"/>
            </p:cNvSpPr>
            <p:nvPr/>
          </p:nvSpPr>
          <p:spPr bwMode="auto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pt-BR" b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itle</a:t>
              </a:r>
            </a:p>
            <a:p>
              <a:r>
                <a:rPr lang="pt-BR" smtClean="0">
                  <a:solidFill>
                    <a:srgbClr val="80808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Unit of measure</a:t>
              </a:r>
              <a:endParaRPr lang="pt-BR" dirty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28" name="Group 27"/>
          <p:cNvGrpSpPr/>
          <p:nvPr userDrawn="1"/>
        </p:nvGrpSpPr>
        <p:grpSpPr>
          <a:xfrm>
            <a:off x="11335740" y="60963"/>
            <a:ext cx="613376" cy="655256"/>
            <a:chOff x="5526523" y="2325890"/>
            <a:chExt cx="3423032" cy="3656747"/>
          </a:xfrm>
        </p:grpSpPr>
        <p:sp>
          <p:nvSpPr>
            <p:cNvPr id="29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30" name="Group 29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31" name="Donut 30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2" name="Oval 31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3" name="Oval 32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6440779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814" r:id="rId1"/>
    <p:sldLayoutId id="2147485815" r:id="rId2"/>
    <p:sldLayoutId id="2147485816" r:id="rId3"/>
    <p:sldLayoutId id="2147485817" r:id="rId4"/>
    <p:sldLayoutId id="2147485818" r:id="rId5"/>
    <p:sldLayoutId id="2147485819" r:id="rId6"/>
    <p:sldLayoutId id="2147485820" r:id="rId7"/>
    <p:sldLayoutId id="2147485821" r:id="rId8"/>
    <p:sldLayoutId id="2147485822" r:id="rId9"/>
    <p:sldLayoutId id="2147485823" r:id="rId10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defTabSz="888028" rtl="0" eaLnBrk="1" fontAlgn="base" hangingPunct="1">
        <a:spcBef>
          <a:spcPct val="0"/>
        </a:spcBef>
        <a:spcAft>
          <a:spcPct val="0"/>
        </a:spcAft>
        <a:tabLst>
          <a:tab pos="267688" algn="l"/>
        </a:tabLst>
        <a:defRPr lang="en-US" sz="2000" b="1" baseline="0" noProof="0" dirty="0" smtClean="0">
          <a:solidFill>
            <a:schemeClr val="accent4"/>
          </a:solidFill>
          <a:latin typeface="Arial" panose="020B0604020202020204" pitchFamily="34" charset="0"/>
          <a:ea typeface="+mj-ea"/>
          <a:cs typeface="Arial" panose="020B0604020202020204" pitchFamily="34" charset="0"/>
          <a:sym typeface="Arial" panose="020B0604020202020204" pitchFamily="34" charset="0"/>
        </a:defRPr>
      </a:lvl1pPr>
      <a:lvl2pPr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2pPr>
      <a:lvl3pPr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3pPr>
      <a:lvl4pPr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4pPr>
      <a:lvl5pPr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5pPr>
      <a:lvl6pPr marL="453493"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6pPr>
      <a:lvl7pPr marL="906935"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7pPr>
      <a:lvl8pPr marL="1360390"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8pPr>
      <a:lvl9pPr marL="1813863"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88028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400" baseline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1pPr>
      <a:lvl2pPr marL="192114" indent="-192114" algn="l" defTabSz="888028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15000"/>
        <a:buFont typeface="Simplon BP Regular" pitchFamily="2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2pPr>
      <a:lvl3pPr marL="453493" indent="-259777" algn="l" defTabSz="888028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charset="0"/>
        <a:buChar char="–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3pPr>
      <a:lvl4pPr marL="609346" indent="-154337" algn="l" defTabSz="888028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pitchFamily="34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4pPr>
      <a:lvl5pPr marL="743666" indent="-129115" algn="l" defTabSz="888028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89000"/>
        <a:buFont typeface="Arial" charset="0"/>
        <a:buChar char="-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5pPr>
      <a:lvl6pPr marL="743666" indent="-129115" algn="l" defTabSz="88802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3666" indent="-129115" algn="l" defTabSz="88802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3666" indent="-129115" algn="l" defTabSz="88802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3666" indent="-129115" algn="l" defTabSz="88802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3493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06935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0390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13863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67322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20778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74250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27718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9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2753529271"/>
              </p:ext>
            </p:extLst>
          </p:nvPr>
        </p:nvGraphicFramePr>
        <p:xfrm>
          <a:off x="1" y="2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91685" name="Slide do think-cell" r:id="rId14" imgW="0" imgH="0" progId="TCLayout.ActiveDocument.1">
                  <p:embed/>
                </p:oleObj>
              </mc:Choice>
              <mc:Fallback>
                <p:oleObj name="Slide do think-cell" r:id="rId14" imgW="0" imgH="0" progId="TCLayout.ActiveDocument.1">
                  <p:embed/>
                  <p:pic>
                    <p:nvPicPr>
                      <p:cNvPr id="0" name="AutoShape 10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2"/>
                        <a:ext cx="211676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10776432" y="36518"/>
            <a:ext cx="876339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88028"/>
            <a:endParaRPr lang="pt-BR" sz="8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10519874" y="1932900"/>
            <a:ext cx="267220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10682583" y="4106726"/>
            <a:ext cx="234679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936841" y="1951039"/>
            <a:ext cx="5736421" cy="11060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ext styles</a:t>
            </a:r>
          </a:p>
          <a:p>
            <a:pPr lvl="1"/>
            <a:r>
              <a:rPr lang="pt-BR" noProof="0" smtClean="0"/>
              <a:t>Second level</a:t>
            </a:r>
          </a:p>
          <a:p>
            <a:pPr lvl="2"/>
            <a:r>
              <a:rPr lang="pt-BR" noProof="0" smtClean="0"/>
              <a:t>Third level</a:t>
            </a:r>
          </a:p>
          <a:p>
            <a:pPr lvl="3"/>
            <a:r>
              <a:rPr lang="pt-BR" noProof="0" smtClean="0"/>
              <a:t>Fourth level</a:t>
            </a:r>
          </a:p>
          <a:p>
            <a:pPr lvl="4"/>
            <a:r>
              <a:rPr lang="pt-BR" noProof="0" smtClean="0"/>
              <a:t>Fifth level</a:t>
            </a:r>
            <a:endParaRPr lang="pt-BR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211676" y="230280"/>
            <a:ext cx="10530036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58852" y="26992"/>
            <a:ext cx="886083" cy="2212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pt-BR" sz="1400" smtClean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TRACKER</a:t>
            </a:r>
            <a:endParaRPr lang="pt-BR" sz="1400" dirty="0">
              <a:solidFill>
                <a:srgbClr val="80808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58875" y="621826"/>
            <a:ext cx="11491891" cy="281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pt-BR" sz="1800" smtClean="0">
                <a:solidFill>
                  <a:srgbClr val="D5E7FF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Unit of measure</a:t>
            </a:r>
            <a:endParaRPr lang="pt-BR" sz="1800" dirty="0" smtClean="0">
              <a:solidFill>
                <a:srgbClr val="D5E7FF">
                  <a:lumMod val="75000"/>
                </a:srgbClr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158761" y="6265675"/>
            <a:ext cx="11398753" cy="358776"/>
            <a:chOff x="75" y="3877"/>
            <a:chExt cx="5385" cy="226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877"/>
              <a:ext cx="5385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pt-BR" sz="100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1 Footnote</a:t>
              </a:r>
              <a:endParaRPr lang="pt-BR" sz="1000" dirty="0" smtClean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06"/>
              <a:ext cx="4323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t" anchorCtr="0">
              <a:spAutoFit/>
            </a:bodyPr>
            <a:lstStyle/>
            <a:p>
              <a:pPr marL="604644" indent="-604644" defTabSz="888028">
                <a:tabLst>
                  <a:tab pos="607774" algn="l"/>
                </a:tabLst>
              </a:pPr>
              <a:r>
                <a:rPr lang="pt-BR" sz="1000" dirty="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FONTE: </a:t>
              </a:r>
              <a:r>
                <a:rPr lang="pt-BR" sz="1000" dirty="0" err="1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ource</a:t>
              </a:r>
              <a:endParaRPr lang="pt-BR" sz="1000" dirty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936840" y="1123953"/>
            <a:ext cx="5685618" cy="511174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 hidden="1"/>
            <p:cNvSpPr>
              <a:spLocks noChangeArrowheads="1"/>
            </p:cNvSpPr>
            <p:nvPr/>
          </p:nvSpPr>
          <p:spPr bwMode="auto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pt-BR" b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itle</a:t>
              </a:r>
            </a:p>
            <a:p>
              <a:r>
                <a:rPr lang="pt-BR" smtClean="0">
                  <a:solidFill>
                    <a:srgbClr val="80808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Unit of measure</a:t>
              </a:r>
              <a:endParaRPr lang="pt-BR" dirty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28" name="Group 27"/>
          <p:cNvGrpSpPr/>
          <p:nvPr userDrawn="1"/>
        </p:nvGrpSpPr>
        <p:grpSpPr>
          <a:xfrm>
            <a:off x="11335740" y="60963"/>
            <a:ext cx="613376" cy="655256"/>
            <a:chOff x="5526523" y="2325890"/>
            <a:chExt cx="3423032" cy="3656747"/>
          </a:xfrm>
        </p:grpSpPr>
        <p:sp>
          <p:nvSpPr>
            <p:cNvPr id="29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30" name="Group 29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31" name="Donut 30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2" name="Oval 31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3" name="Oval 32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1629837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826" r:id="rId1"/>
    <p:sldLayoutId id="2147485827" r:id="rId2"/>
    <p:sldLayoutId id="2147485828" r:id="rId3"/>
    <p:sldLayoutId id="2147485829" r:id="rId4"/>
    <p:sldLayoutId id="2147485830" r:id="rId5"/>
    <p:sldLayoutId id="2147485831" r:id="rId6"/>
    <p:sldLayoutId id="2147485832" r:id="rId7"/>
    <p:sldLayoutId id="2147485833" r:id="rId8"/>
    <p:sldLayoutId id="2147485834" r:id="rId9"/>
    <p:sldLayoutId id="2147485835" r:id="rId10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defTabSz="888028" rtl="0" eaLnBrk="1" fontAlgn="base" hangingPunct="1">
        <a:spcBef>
          <a:spcPct val="0"/>
        </a:spcBef>
        <a:spcAft>
          <a:spcPct val="0"/>
        </a:spcAft>
        <a:tabLst>
          <a:tab pos="267688" algn="l"/>
        </a:tabLst>
        <a:defRPr lang="en-US" sz="2000" b="1" baseline="0" noProof="0" dirty="0" smtClean="0">
          <a:solidFill>
            <a:schemeClr val="accent4"/>
          </a:solidFill>
          <a:latin typeface="Arial" panose="020B0604020202020204" pitchFamily="34" charset="0"/>
          <a:ea typeface="+mj-ea"/>
          <a:cs typeface="Arial" panose="020B0604020202020204" pitchFamily="34" charset="0"/>
          <a:sym typeface="Arial" panose="020B0604020202020204" pitchFamily="34" charset="0"/>
        </a:defRPr>
      </a:lvl1pPr>
      <a:lvl2pPr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2pPr>
      <a:lvl3pPr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3pPr>
      <a:lvl4pPr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4pPr>
      <a:lvl5pPr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5pPr>
      <a:lvl6pPr marL="453493"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6pPr>
      <a:lvl7pPr marL="906935"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7pPr>
      <a:lvl8pPr marL="1360390"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8pPr>
      <a:lvl9pPr marL="1813863"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88028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400" baseline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1pPr>
      <a:lvl2pPr marL="192114" indent="-192114" algn="l" defTabSz="888028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15000"/>
        <a:buFont typeface="Simplon BP Regular" pitchFamily="2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2pPr>
      <a:lvl3pPr marL="453493" indent="-259777" algn="l" defTabSz="888028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charset="0"/>
        <a:buChar char="–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3pPr>
      <a:lvl4pPr marL="609346" indent="-154337" algn="l" defTabSz="888028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pitchFamily="34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4pPr>
      <a:lvl5pPr marL="743666" indent="-129115" algn="l" defTabSz="888028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89000"/>
        <a:buFont typeface="Arial" charset="0"/>
        <a:buChar char="-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5pPr>
      <a:lvl6pPr marL="743666" indent="-129115" algn="l" defTabSz="88802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3666" indent="-129115" algn="l" defTabSz="88802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3666" indent="-129115" algn="l" defTabSz="88802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3666" indent="-129115" algn="l" defTabSz="88802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3493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06935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0390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13863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67322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20778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74250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27718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9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184686016"/>
              </p:ext>
            </p:extLst>
          </p:nvPr>
        </p:nvGraphicFramePr>
        <p:xfrm>
          <a:off x="1" y="2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96805" name="Slide do think-cell" r:id="rId13" imgW="0" imgH="0" progId="TCLayout.ActiveDocument.1">
                  <p:embed/>
                </p:oleObj>
              </mc:Choice>
              <mc:Fallback>
                <p:oleObj name="Slide do think-cell" r:id="rId13" imgW="0" imgH="0" progId="TCLayout.ActiveDocument.1">
                  <p:embed/>
                  <p:pic>
                    <p:nvPicPr>
                      <p:cNvPr id="0" name="AutoShape 10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2"/>
                        <a:ext cx="211676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10776432" y="36518"/>
            <a:ext cx="876339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88028"/>
            <a:endParaRPr lang="pt-BR" sz="8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10519874" y="1932900"/>
            <a:ext cx="267220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10682583" y="4106726"/>
            <a:ext cx="234679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936841" y="1951039"/>
            <a:ext cx="5736421" cy="11060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ext styles</a:t>
            </a:r>
          </a:p>
          <a:p>
            <a:pPr lvl="1"/>
            <a:r>
              <a:rPr lang="pt-BR" noProof="0" smtClean="0"/>
              <a:t>Second level</a:t>
            </a:r>
          </a:p>
          <a:p>
            <a:pPr lvl="2"/>
            <a:r>
              <a:rPr lang="pt-BR" noProof="0" smtClean="0"/>
              <a:t>Third level</a:t>
            </a:r>
          </a:p>
          <a:p>
            <a:pPr lvl="3"/>
            <a:r>
              <a:rPr lang="pt-BR" noProof="0" smtClean="0"/>
              <a:t>Fourth level</a:t>
            </a:r>
          </a:p>
          <a:p>
            <a:pPr lvl="4"/>
            <a:r>
              <a:rPr lang="pt-BR" noProof="0" smtClean="0"/>
              <a:t>Fifth level</a:t>
            </a:r>
            <a:endParaRPr lang="pt-BR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211676" y="230280"/>
            <a:ext cx="10530036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58852" y="26992"/>
            <a:ext cx="886083" cy="2212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pt-BR" sz="1400" smtClean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TRACKER</a:t>
            </a:r>
            <a:endParaRPr lang="pt-BR" sz="1400" dirty="0">
              <a:solidFill>
                <a:srgbClr val="80808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58875" y="621826"/>
            <a:ext cx="11491891" cy="281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pt-BR" sz="1800" smtClean="0">
                <a:solidFill>
                  <a:srgbClr val="D5E7FF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Unit of measure</a:t>
            </a:r>
            <a:endParaRPr lang="pt-BR" sz="1800" dirty="0" smtClean="0">
              <a:solidFill>
                <a:srgbClr val="D5E7FF">
                  <a:lumMod val="75000"/>
                </a:srgbClr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158761" y="6265675"/>
            <a:ext cx="11398753" cy="358776"/>
            <a:chOff x="75" y="3877"/>
            <a:chExt cx="5385" cy="226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877"/>
              <a:ext cx="5385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pt-BR" sz="100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1 Footnote</a:t>
              </a:r>
              <a:endParaRPr lang="pt-BR" sz="1000" dirty="0" smtClean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06"/>
              <a:ext cx="4323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t" anchorCtr="0">
              <a:spAutoFit/>
            </a:bodyPr>
            <a:lstStyle/>
            <a:p>
              <a:pPr marL="604644" indent="-604644" defTabSz="888028">
                <a:tabLst>
                  <a:tab pos="607774" algn="l"/>
                </a:tabLst>
              </a:pPr>
              <a:r>
                <a:rPr lang="pt-BR" sz="1000" dirty="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FONTE: </a:t>
              </a:r>
              <a:r>
                <a:rPr lang="pt-BR" sz="1000" dirty="0" err="1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ource</a:t>
              </a:r>
              <a:endParaRPr lang="pt-BR" sz="1000" dirty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936840" y="1123953"/>
            <a:ext cx="5685618" cy="511174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 hidden="1"/>
            <p:cNvSpPr>
              <a:spLocks noChangeArrowheads="1"/>
            </p:cNvSpPr>
            <p:nvPr/>
          </p:nvSpPr>
          <p:spPr bwMode="auto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pt-BR" b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itle</a:t>
              </a:r>
            </a:p>
            <a:p>
              <a:r>
                <a:rPr lang="pt-BR" smtClean="0">
                  <a:solidFill>
                    <a:srgbClr val="80808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Unit of measure</a:t>
              </a:r>
              <a:endParaRPr lang="pt-BR" dirty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28" name="Group 27"/>
          <p:cNvGrpSpPr/>
          <p:nvPr userDrawn="1"/>
        </p:nvGrpSpPr>
        <p:grpSpPr>
          <a:xfrm>
            <a:off x="11335740" y="60963"/>
            <a:ext cx="613376" cy="655256"/>
            <a:chOff x="5526523" y="2325890"/>
            <a:chExt cx="3423032" cy="3656747"/>
          </a:xfrm>
        </p:grpSpPr>
        <p:sp>
          <p:nvSpPr>
            <p:cNvPr id="29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30" name="Group 29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31" name="Donut 30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2" name="Oval 31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3" name="Oval 32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7257763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838" r:id="rId1"/>
    <p:sldLayoutId id="2147485839" r:id="rId2"/>
    <p:sldLayoutId id="2147485840" r:id="rId3"/>
    <p:sldLayoutId id="2147485841" r:id="rId4"/>
    <p:sldLayoutId id="2147485842" r:id="rId5"/>
    <p:sldLayoutId id="2147485843" r:id="rId6"/>
    <p:sldLayoutId id="2147485844" r:id="rId7"/>
    <p:sldLayoutId id="2147485845" r:id="rId8"/>
    <p:sldLayoutId id="2147485846" r:id="rId9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defTabSz="888028" rtl="0" eaLnBrk="1" fontAlgn="base" hangingPunct="1">
        <a:spcBef>
          <a:spcPct val="0"/>
        </a:spcBef>
        <a:spcAft>
          <a:spcPct val="0"/>
        </a:spcAft>
        <a:tabLst>
          <a:tab pos="267688" algn="l"/>
        </a:tabLst>
        <a:defRPr lang="en-US" sz="2000" b="1" baseline="0" noProof="0" dirty="0" smtClean="0">
          <a:solidFill>
            <a:schemeClr val="accent4"/>
          </a:solidFill>
          <a:latin typeface="Arial" panose="020B0604020202020204" pitchFamily="34" charset="0"/>
          <a:ea typeface="+mj-ea"/>
          <a:cs typeface="Arial" panose="020B0604020202020204" pitchFamily="34" charset="0"/>
          <a:sym typeface="Arial" panose="020B0604020202020204" pitchFamily="34" charset="0"/>
        </a:defRPr>
      </a:lvl1pPr>
      <a:lvl2pPr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2pPr>
      <a:lvl3pPr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3pPr>
      <a:lvl4pPr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4pPr>
      <a:lvl5pPr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5pPr>
      <a:lvl6pPr marL="453493"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6pPr>
      <a:lvl7pPr marL="906935"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7pPr>
      <a:lvl8pPr marL="1360390"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8pPr>
      <a:lvl9pPr marL="1813863" algn="l" defTabSz="88802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88028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400" baseline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1pPr>
      <a:lvl2pPr marL="192114" indent="-192114" algn="l" defTabSz="888028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15000"/>
        <a:buFont typeface="Simplon BP Regular" pitchFamily="2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2pPr>
      <a:lvl3pPr marL="453493" indent="-259777" algn="l" defTabSz="888028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charset="0"/>
        <a:buChar char="–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3pPr>
      <a:lvl4pPr marL="609346" indent="-154337" algn="l" defTabSz="888028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pitchFamily="34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4pPr>
      <a:lvl5pPr marL="743666" indent="-129115" algn="l" defTabSz="888028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89000"/>
        <a:buFont typeface="Arial" charset="0"/>
        <a:buChar char="-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5pPr>
      <a:lvl6pPr marL="743666" indent="-129115" algn="l" defTabSz="88802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3666" indent="-129115" algn="l" defTabSz="88802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3666" indent="-129115" algn="l" defTabSz="88802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3666" indent="-129115" algn="l" defTabSz="88802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3493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06935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0390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13863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67322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20778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74250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27718" algn="l" defTabSz="9069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9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2298253313"/>
              </p:ext>
            </p:extLst>
          </p:nvPr>
        </p:nvGraphicFramePr>
        <p:xfrm>
          <a:off x="1" y="2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00901" name="Slide do think-cell" r:id="rId13" imgW="0" imgH="0" progId="TCLayout.ActiveDocument.1">
                  <p:embed/>
                </p:oleObj>
              </mc:Choice>
              <mc:Fallback>
                <p:oleObj name="Slide do think-cell" r:id="rId13" imgW="0" imgH="0" progId="TCLayout.ActiveDocument.1">
                  <p:embed/>
                  <p:pic>
                    <p:nvPicPr>
                      <p:cNvPr id="0" name="AutoShape 10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2"/>
                        <a:ext cx="211676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10776432" y="36518"/>
            <a:ext cx="876339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87726"/>
            <a:endParaRPr lang="pt-BR" sz="8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10519874" y="1932900"/>
            <a:ext cx="267220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10682583" y="4106726"/>
            <a:ext cx="234679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936841" y="1951039"/>
            <a:ext cx="5736421" cy="11060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ext styles</a:t>
            </a:r>
          </a:p>
          <a:p>
            <a:pPr lvl="1"/>
            <a:r>
              <a:rPr lang="pt-BR" noProof="0" smtClean="0"/>
              <a:t>Second level</a:t>
            </a:r>
          </a:p>
          <a:p>
            <a:pPr lvl="2"/>
            <a:r>
              <a:rPr lang="pt-BR" noProof="0" smtClean="0"/>
              <a:t>Third level</a:t>
            </a:r>
          </a:p>
          <a:p>
            <a:pPr lvl="3"/>
            <a:r>
              <a:rPr lang="pt-BR" noProof="0" smtClean="0"/>
              <a:t>Fourth level</a:t>
            </a:r>
          </a:p>
          <a:p>
            <a:pPr lvl="4"/>
            <a:r>
              <a:rPr lang="pt-BR" noProof="0" smtClean="0"/>
              <a:t>Fifth level</a:t>
            </a:r>
            <a:endParaRPr lang="pt-BR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211676" y="230284"/>
            <a:ext cx="10530036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58857" y="26992"/>
            <a:ext cx="886083" cy="2212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pt-BR" sz="1400" smtClean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TRACKER</a:t>
            </a:r>
            <a:endParaRPr lang="pt-BR" sz="1400" dirty="0">
              <a:solidFill>
                <a:srgbClr val="80808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58879" y="621826"/>
            <a:ext cx="11491891" cy="281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pt-BR" sz="1800" smtClean="0">
                <a:solidFill>
                  <a:srgbClr val="D5E7FF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Unit of measure</a:t>
            </a:r>
            <a:endParaRPr lang="pt-BR" sz="1800" dirty="0" smtClean="0">
              <a:solidFill>
                <a:srgbClr val="D5E7FF">
                  <a:lumMod val="75000"/>
                </a:srgbClr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158761" y="6265638"/>
            <a:ext cx="11398753" cy="358776"/>
            <a:chOff x="75" y="3877"/>
            <a:chExt cx="5385" cy="226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877"/>
              <a:ext cx="5385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pt-BR" sz="100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1 Footnote</a:t>
              </a:r>
              <a:endParaRPr lang="pt-BR" sz="1000" dirty="0" smtClean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06"/>
              <a:ext cx="4323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t" anchorCtr="0">
              <a:spAutoFit/>
            </a:bodyPr>
            <a:lstStyle/>
            <a:p>
              <a:pPr marL="604440" indent="-604440" defTabSz="887726">
                <a:tabLst>
                  <a:tab pos="607566" algn="l"/>
                </a:tabLst>
              </a:pPr>
              <a:r>
                <a:rPr lang="pt-BR" sz="1000" dirty="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FONTE: </a:t>
              </a:r>
              <a:r>
                <a:rPr lang="pt-BR" sz="1000" dirty="0" err="1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ource</a:t>
              </a:r>
              <a:endParaRPr lang="pt-BR" sz="1000" dirty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936840" y="1123953"/>
            <a:ext cx="5685618" cy="511174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 hidden="1"/>
            <p:cNvSpPr>
              <a:spLocks noChangeArrowheads="1"/>
            </p:cNvSpPr>
            <p:nvPr/>
          </p:nvSpPr>
          <p:spPr bwMode="auto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pt-BR" b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itle</a:t>
              </a:r>
            </a:p>
            <a:p>
              <a:r>
                <a:rPr lang="pt-BR" smtClean="0">
                  <a:solidFill>
                    <a:srgbClr val="80808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Unit of measure</a:t>
              </a:r>
              <a:endParaRPr lang="pt-BR" dirty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28" name="Group 27"/>
          <p:cNvGrpSpPr/>
          <p:nvPr userDrawn="1"/>
        </p:nvGrpSpPr>
        <p:grpSpPr>
          <a:xfrm>
            <a:off x="11335740" y="60963"/>
            <a:ext cx="613376" cy="655256"/>
            <a:chOff x="5526523" y="2325890"/>
            <a:chExt cx="3423032" cy="3656747"/>
          </a:xfrm>
        </p:grpSpPr>
        <p:sp>
          <p:nvSpPr>
            <p:cNvPr id="29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30" name="Group 29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31" name="Donut 30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2" name="Oval 31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3" name="Oval 32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2219700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849" r:id="rId1"/>
    <p:sldLayoutId id="2147485850" r:id="rId2"/>
    <p:sldLayoutId id="2147485851" r:id="rId3"/>
    <p:sldLayoutId id="2147485852" r:id="rId4"/>
    <p:sldLayoutId id="2147485853" r:id="rId5"/>
    <p:sldLayoutId id="2147485854" r:id="rId6"/>
    <p:sldLayoutId id="2147485855" r:id="rId7"/>
    <p:sldLayoutId id="2147485856" r:id="rId8"/>
    <p:sldLayoutId id="2147485857" r:id="rId9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defTabSz="887726" rtl="0" eaLnBrk="1" fontAlgn="base" hangingPunct="1">
        <a:spcBef>
          <a:spcPct val="0"/>
        </a:spcBef>
        <a:spcAft>
          <a:spcPct val="0"/>
        </a:spcAft>
        <a:tabLst>
          <a:tab pos="267599" algn="l"/>
        </a:tabLst>
        <a:defRPr lang="en-US" sz="2000" b="1" baseline="0" noProof="0" dirty="0" smtClean="0">
          <a:solidFill>
            <a:schemeClr val="accent4"/>
          </a:solidFill>
          <a:latin typeface="Arial" panose="020B0604020202020204" pitchFamily="34" charset="0"/>
          <a:ea typeface="+mj-ea"/>
          <a:cs typeface="Arial" panose="020B0604020202020204" pitchFamily="34" charset="0"/>
          <a:sym typeface="Arial" panose="020B0604020202020204" pitchFamily="34" charset="0"/>
        </a:defRPr>
      </a:lvl1pPr>
      <a:lvl2pPr algn="l" defTabSz="887726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2pPr>
      <a:lvl3pPr algn="l" defTabSz="887726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3pPr>
      <a:lvl4pPr algn="l" defTabSz="887726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4pPr>
      <a:lvl5pPr algn="l" defTabSz="887726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5pPr>
      <a:lvl6pPr marL="453340" algn="l" defTabSz="887726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6pPr>
      <a:lvl7pPr marL="906629" algn="l" defTabSz="887726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7pPr>
      <a:lvl8pPr marL="1359927" algn="l" defTabSz="887726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8pPr>
      <a:lvl9pPr marL="1813245" algn="l" defTabSz="887726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87726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400" baseline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1pPr>
      <a:lvl2pPr marL="192050" indent="-192050" algn="l" defTabSz="887726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15000"/>
        <a:buFont typeface="Simplon BP Regular" pitchFamily="2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2pPr>
      <a:lvl3pPr marL="453340" indent="-259687" algn="l" defTabSz="887726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charset="0"/>
        <a:buChar char="–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3pPr>
      <a:lvl4pPr marL="609138" indent="-154286" algn="l" defTabSz="887726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pitchFamily="34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4pPr>
      <a:lvl5pPr marL="743414" indent="-129072" algn="l" defTabSz="887726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89000"/>
        <a:buFont typeface="Arial" charset="0"/>
        <a:buChar char="-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5pPr>
      <a:lvl6pPr marL="743414" indent="-129072" algn="l" defTabSz="8877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3414" indent="-129072" algn="l" defTabSz="8877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3414" indent="-129072" algn="l" defTabSz="8877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3414" indent="-129072" algn="l" defTabSz="8877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066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3340" algn="l" defTabSz="9066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06629" algn="l" defTabSz="9066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59927" algn="l" defTabSz="9066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13245" algn="l" defTabSz="9066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66555" algn="l" defTabSz="9066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19859" algn="l" defTabSz="9066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73172" algn="l" defTabSz="9066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26486" algn="l" defTabSz="9066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9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78" y="1854694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2044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6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4036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81816" y="1855214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4036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81816" y="4207633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4036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80" tIns="46780" rIns="46780" bIns="46780" numCol="1" anchor="t" anchorCtr="0" compatLnSpc="1">
            <a:prstTxWarp prst="textNoShape">
              <a:avLst/>
            </a:prstTxWarp>
          </a:bodyPr>
          <a:lstStyle/>
          <a:p>
            <a:pPr defTabSz="594036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4036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4036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80" tIns="46780" rIns="46780" bIns="46780" numCol="1" anchor="t" anchorCtr="0" compatLnSpc="1">
            <a:prstTxWarp prst="textNoShape">
              <a:avLst/>
            </a:prstTxWarp>
          </a:bodyPr>
          <a:lstStyle/>
          <a:p>
            <a:pPr defTabSz="594036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4036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4036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80" tIns="46780" rIns="46780" bIns="46780" numCol="1" anchor="t" anchorCtr="0" compatLnSpc="1">
            <a:prstTxWarp prst="textNoShape">
              <a:avLst/>
            </a:prstTxWarp>
          </a:bodyPr>
          <a:lstStyle/>
          <a:p>
            <a:pPr defTabSz="594036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4036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4036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80" tIns="46780" rIns="46780" bIns="46780" numCol="1" anchor="t" anchorCtr="0" compatLnSpc="1">
            <a:prstTxWarp prst="textNoShape">
              <a:avLst/>
            </a:prstTxWarp>
          </a:bodyPr>
          <a:lstStyle/>
          <a:p>
            <a:pPr defTabSz="594036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4036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4036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80" tIns="46780" rIns="46780" bIns="46780" numCol="1" anchor="t" anchorCtr="0" compatLnSpc="1">
            <a:prstTxWarp prst="textNoShape">
              <a:avLst/>
            </a:prstTxWarp>
          </a:bodyPr>
          <a:lstStyle/>
          <a:p>
            <a:pPr defTabSz="594036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4036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4036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80" tIns="46780" rIns="46780" bIns="46780" numCol="1" anchor="t" anchorCtr="0" compatLnSpc="1">
            <a:prstTxWarp prst="textNoShape">
              <a:avLst/>
            </a:prstTxWarp>
          </a:bodyPr>
          <a:lstStyle/>
          <a:p>
            <a:pPr defTabSz="594036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4036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4036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80" tIns="46780" rIns="46780" bIns="46780" numCol="1" anchor="t" anchorCtr="0" compatLnSpc="1">
            <a:prstTxWarp prst="textNoShape">
              <a:avLst/>
            </a:prstTxWarp>
          </a:bodyPr>
          <a:lstStyle/>
          <a:p>
            <a:pPr defTabSz="594036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4036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4036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9223673" y="6781916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4036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10960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25" tIns="59413" rIns="118825" bIns="59413" numCol="1" anchor="t" anchorCtr="0" compatLnSpc="1">
            <a:prstTxWarp prst="textNoShape">
              <a:avLst/>
            </a:prstTxWarp>
          </a:bodyPr>
          <a:lstStyle/>
          <a:p>
            <a:pPr defTabSz="594036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10960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25" tIns="59413" rIns="118825" bIns="59413" numCol="1" anchor="t" anchorCtr="0" compatLnSpc="1">
            <a:prstTxWarp prst="textNoShape">
              <a:avLst/>
            </a:prstTxWarp>
          </a:bodyPr>
          <a:lstStyle/>
          <a:p>
            <a:pPr defTabSz="594036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25" tIns="59413" rIns="118825" bIns="59413" numCol="1" anchor="t" anchorCtr="0" compatLnSpc="1">
            <a:prstTxWarp prst="textNoShape">
              <a:avLst/>
            </a:prstTxWarp>
          </a:bodyPr>
          <a:lstStyle/>
          <a:p>
            <a:pPr defTabSz="594036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95151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25" tIns="59413" rIns="118825" bIns="59413" numCol="1" anchor="t" anchorCtr="0" compatLnSpc="1">
            <a:prstTxWarp prst="textNoShape">
              <a:avLst/>
            </a:prstTxWarp>
          </a:bodyPr>
          <a:lstStyle/>
          <a:p>
            <a:pPr defTabSz="594036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3149540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25" tIns="59413" rIns="118825" bIns="59413" numCol="1" anchor="t" anchorCtr="0" compatLnSpc="1">
            <a:prstTxWarp prst="textNoShape">
              <a:avLst/>
            </a:prstTxWarp>
          </a:bodyPr>
          <a:lstStyle/>
          <a:p>
            <a:pPr defTabSz="594036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3149538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25" tIns="59413" rIns="118825" bIns="59413" numCol="1" anchor="t" anchorCtr="0" compatLnSpc="1">
            <a:prstTxWarp prst="textNoShape">
              <a:avLst/>
            </a:prstTxWarp>
          </a:bodyPr>
          <a:lstStyle/>
          <a:p>
            <a:pPr defTabSz="594036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25" tIns="59413" rIns="118825" bIns="59413" numCol="1" anchor="t" anchorCtr="0" compatLnSpc="1">
            <a:prstTxWarp prst="textNoShape">
              <a:avLst/>
            </a:prstTxWarp>
          </a:bodyPr>
          <a:lstStyle/>
          <a:p>
            <a:pPr defTabSz="594036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511201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25" tIns="59413" rIns="118825" bIns="59413" numCol="1" anchor="t" anchorCtr="0" compatLnSpc="1">
            <a:prstTxWarp prst="textNoShape">
              <a:avLst/>
            </a:prstTxWarp>
          </a:bodyPr>
          <a:lstStyle/>
          <a:p>
            <a:pPr defTabSz="594036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6279959" y="6748315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25" tIns="59413" rIns="118825" bIns="59413" numCol="1" anchor="t" anchorCtr="0" compatLnSpc="1">
            <a:prstTxWarp prst="textNoShape">
              <a:avLst/>
            </a:prstTxWarp>
          </a:bodyPr>
          <a:lstStyle/>
          <a:p>
            <a:pPr defTabSz="594036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25" tIns="59413" rIns="118825" bIns="59413" numCol="1" anchor="t" anchorCtr="0" compatLnSpc="1">
            <a:prstTxWarp prst="textNoShape">
              <a:avLst/>
            </a:prstTxWarp>
          </a:bodyPr>
          <a:lstStyle/>
          <a:p>
            <a:pPr defTabSz="594036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25" tIns="59413" rIns="118825" bIns="59413" numCol="1" anchor="t" anchorCtr="0" compatLnSpc="1">
            <a:prstTxWarp prst="textNoShape">
              <a:avLst/>
            </a:prstTxWarp>
          </a:bodyPr>
          <a:lstStyle/>
          <a:p>
            <a:pPr defTabSz="594036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8242436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25" tIns="59413" rIns="118825" bIns="59413" numCol="1" anchor="t" anchorCtr="0" compatLnSpc="1">
            <a:prstTxWarp prst="textNoShape">
              <a:avLst/>
            </a:prstTxWarp>
          </a:bodyPr>
          <a:lstStyle/>
          <a:p>
            <a:pPr defTabSz="594036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3858974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876" r:id="rId1"/>
    <p:sldLayoutId id="2147485877" r:id="rId2"/>
    <p:sldLayoutId id="2147485878" r:id="rId3"/>
    <p:sldLayoutId id="2147485879" r:id="rId4"/>
  </p:sldLayoutIdLst>
  <p:hf sldNum="0" hdr="0" ftr="0" dt="0"/>
  <p:txStyles>
    <p:titleStyle>
      <a:lvl1pPr algn="l" defTabSz="594036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272" indent="-239272" algn="l" defTabSz="594036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4413" indent="-228953" algn="l" defTabSz="594036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4413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3370" indent="-228953" algn="l" defTabSz="594036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3370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2333" indent="-228953" algn="l" defTabSz="594036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2333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1281" indent="-228953" algn="l" defTabSz="594036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1281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67291" indent="-297014" algn="l" defTabSz="594036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61336" indent="-297014" algn="l" defTabSz="594036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55384" indent="-297014" algn="l" defTabSz="594036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49442" indent="-297014" algn="l" defTabSz="594036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4036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4036" algn="l" defTabSz="594036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8105" algn="l" defTabSz="594036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2160" algn="l" defTabSz="594036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6207" algn="l" defTabSz="594036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70266" algn="l" defTabSz="594036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64312" algn="l" defTabSz="594036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58362" algn="l" defTabSz="594036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52416" algn="l" defTabSz="594036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19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1978" y="358964"/>
            <a:ext cx="7338636" cy="102481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-281816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3832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6" y="1855218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3832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-281816" y="4207633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3832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64" tIns="46764" rIns="46764" bIns="46764" numCol="1" anchor="t" anchorCtr="0" compatLnSpc="1">
            <a:prstTxWarp prst="textNoShape">
              <a:avLst/>
            </a:prstTxWarp>
          </a:bodyPr>
          <a:lstStyle/>
          <a:p>
            <a:pPr defTabSz="59383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83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383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16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64" tIns="46764" rIns="46764" bIns="46764" numCol="1" anchor="t" anchorCtr="0" compatLnSpc="1">
            <a:prstTxWarp prst="textNoShape">
              <a:avLst/>
            </a:prstTxWarp>
          </a:bodyPr>
          <a:lstStyle/>
          <a:p>
            <a:pPr defTabSz="59383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83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383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64" tIns="46764" rIns="46764" bIns="46764" numCol="1" anchor="t" anchorCtr="0" compatLnSpc="1">
            <a:prstTxWarp prst="textNoShape">
              <a:avLst/>
            </a:prstTxWarp>
          </a:bodyPr>
          <a:lstStyle/>
          <a:p>
            <a:pPr defTabSz="59383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83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383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9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64" tIns="46764" rIns="46764" bIns="46764" numCol="1" anchor="t" anchorCtr="0" compatLnSpc="1">
            <a:prstTxWarp prst="textNoShape">
              <a:avLst/>
            </a:prstTxWarp>
          </a:bodyPr>
          <a:lstStyle/>
          <a:p>
            <a:pPr defTabSz="59383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83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383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Freeform 28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64" tIns="46764" rIns="46764" bIns="46764" numCol="1" anchor="t" anchorCtr="0" compatLnSpc="1">
            <a:prstTxWarp prst="textNoShape">
              <a:avLst/>
            </a:prstTxWarp>
          </a:bodyPr>
          <a:lstStyle/>
          <a:p>
            <a:pPr defTabSz="59383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383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383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64" tIns="46764" rIns="46764" bIns="46764" numCol="1" anchor="t" anchorCtr="0" compatLnSpc="1">
            <a:prstTxWarp prst="textNoShape">
              <a:avLst/>
            </a:prstTxWarp>
          </a:bodyPr>
          <a:lstStyle/>
          <a:p>
            <a:pPr defTabSz="59383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383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383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64" tIns="46764" rIns="46764" bIns="46764" numCol="1" anchor="t" anchorCtr="0" compatLnSpc="1">
            <a:prstTxWarp prst="textNoShape">
              <a:avLst/>
            </a:prstTxWarp>
          </a:bodyPr>
          <a:lstStyle/>
          <a:p>
            <a:pPr defTabSz="59383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383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383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2" name="TextBox 39"/>
          <p:cNvSpPr txBox="1"/>
          <p:nvPr userDrawn="1"/>
        </p:nvSpPr>
        <p:spPr>
          <a:xfrm>
            <a:off x="9223673" y="6781920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3832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-10960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786" tIns="59393" rIns="118786" bIns="59393" numCol="1" anchor="t" anchorCtr="0" compatLnSpc="1">
            <a:prstTxWarp prst="textNoShape">
              <a:avLst/>
            </a:prstTxWarp>
          </a:bodyPr>
          <a:lstStyle/>
          <a:p>
            <a:pPr defTabSz="59383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-10960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86" tIns="59393" rIns="118786" bIns="59393" numCol="1" anchor="t" anchorCtr="0" compatLnSpc="1">
            <a:prstTxWarp prst="textNoShape">
              <a:avLst/>
            </a:prstTxWarp>
          </a:bodyPr>
          <a:lstStyle/>
          <a:p>
            <a:pPr defTabSz="59383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86" tIns="59393" rIns="118786" bIns="59393" numCol="1" anchor="t" anchorCtr="0" compatLnSpc="1">
            <a:prstTxWarp prst="textNoShape">
              <a:avLst/>
            </a:prstTxWarp>
          </a:bodyPr>
          <a:lstStyle/>
          <a:p>
            <a:pPr defTabSz="59383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195151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86" tIns="59393" rIns="118786" bIns="59393" numCol="1" anchor="t" anchorCtr="0" compatLnSpc="1">
            <a:prstTxWarp prst="textNoShape">
              <a:avLst/>
            </a:prstTxWarp>
          </a:bodyPr>
          <a:lstStyle/>
          <a:p>
            <a:pPr defTabSz="59383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3149540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786" tIns="59393" rIns="118786" bIns="59393" numCol="1" anchor="t" anchorCtr="0" compatLnSpc="1">
            <a:prstTxWarp prst="textNoShape">
              <a:avLst/>
            </a:prstTxWarp>
          </a:bodyPr>
          <a:lstStyle/>
          <a:p>
            <a:pPr defTabSz="59383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3149538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86" tIns="59393" rIns="118786" bIns="59393" numCol="1" anchor="t" anchorCtr="0" compatLnSpc="1">
            <a:prstTxWarp prst="textNoShape">
              <a:avLst/>
            </a:prstTxWarp>
          </a:bodyPr>
          <a:lstStyle/>
          <a:p>
            <a:pPr defTabSz="59383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86" tIns="59393" rIns="118786" bIns="59393" numCol="1" anchor="t" anchorCtr="0" compatLnSpc="1">
            <a:prstTxWarp prst="textNoShape">
              <a:avLst/>
            </a:prstTxWarp>
          </a:bodyPr>
          <a:lstStyle/>
          <a:p>
            <a:pPr defTabSz="59383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511201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86" tIns="59393" rIns="118786" bIns="59393" numCol="1" anchor="t" anchorCtr="0" compatLnSpc="1">
            <a:prstTxWarp prst="textNoShape">
              <a:avLst/>
            </a:prstTxWarp>
          </a:bodyPr>
          <a:lstStyle/>
          <a:p>
            <a:pPr defTabSz="59383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6279959" y="6748315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786" tIns="59393" rIns="118786" bIns="59393" numCol="1" anchor="t" anchorCtr="0" compatLnSpc="1">
            <a:prstTxWarp prst="textNoShape">
              <a:avLst/>
            </a:prstTxWarp>
          </a:bodyPr>
          <a:lstStyle/>
          <a:p>
            <a:pPr defTabSz="59383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86" tIns="59393" rIns="118786" bIns="59393" numCol="1" anchor="t" anchorCtr="0" compatLnSpc="1">
            <a:prstTxWarp prst="textNoShape">
              <a:avLst/>
            </a:prstTxWarp>
          </a:bodyPr>
          <a:lstStyle/>
          <a:p>
            <a:pPr defTabSz="59383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3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86" tIns="59393" rIns="118786" bIns="59393" numCol="1" anchor="t" anchorCtr="0" compatLnSpc="1">
            <a:prstTxWarp prst="textNoShape">
              <a:avLst/>
            </a:prstTxWarp>
          </a:bodyPr>
          <a:lstStyle/>
          <a:p>
            <a:pPr defTabSz="59383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" name="Freeform 5"/>
          <p:cNvSpPr>
            <a:spLocks/>
          </p:cNvSpPr>
          <p:nvPr userDrawn="1"/>
        </p:nvSpPr>
        <p:spPr bwMode="auto">
          <a:xfrm>
            <a:off x="8242436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86" tIns="59393" rIns="118786" bIns="59393" numCol="1" anchor="t" anchorCtr="0" compatLnSpc="1">
            <a:prstTxWarp prst="textNoShape">
              <a:avLst/>
            </a:prstTxWarp>
          </a:bodyPr>
          <a:lstStyle/>
          <a:p>
            <a:pPr defTabSz="59383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07516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881" r:id="rId1"/>
    <p:sldLayoutId id="2147485882" r:id="rId2"/>
    <p:sldLayoutId id="2147485883" r:id="rId3"/>
    <p:sldLayoutId id="2147485884" r:id="rId4"/>
    <p:sldLayoutId id="2147485885" r:id="rId5"/>
    <p:sldLayoutId id="2147485886" r:id="rId6"/>
    <p:sldLayoutId id="2147485887" r:id="rId7"/>
    <p:sldLayoutId id="2147485888" r:id="rId8"/>
  </p:sldLayoutIdLst>
  <p:hf sldNum="0" hdr="0" ftr="0" dt="0"/>
  <p:txStyles>
    <p:titleStyle>
      <a:lvl1pPr algn="l" defTabSz="593832" rtl="0" eaLnBrk="1" latinLnBrk="0" hangingPunct="1">
        <a:lnSpc>
          <a:spcPts val="5487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A037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191" indent="-239191" algn="l" defTabSz="593832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4252" indent="-228875" algn="l" defTabSz="593832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4252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3131" indent="-228875" algn="l" defTabSz="593832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3131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2016" indent="-228875" algn="l" defTabSz="593832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2016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0885" indent="-228875" algn="l" defTabSz="593832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0885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66182" indent="-296912" algn="l" defTabSz="593832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60026" indent="-296912" algn="l" defTabSz="593832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53873" indent="-296912" algn="l" defTabSz="593832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47729" indent="-296912" algn="l" defTabSz="593832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383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3832" algn="l" defTabSz="59383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7701" algn="l" defTabSz="59383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1555" algn="l" defTabSz="59383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5402" algn="l" defTabSz="59383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69258" algn="l" defTabSz="59383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63102" algn="l" defTabSz="59383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56951" algn="l" defTabSz="59383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50804" algn="l" defTabSz="59383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19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4089333657"/>
              </p:ext>
            </p:extLst>
          </p:nvPr>
        </p:nvGraphicFramePr>
        <p:xfrm>
          <a:off x="0" y="2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10104" name="Slide do think-cell" r:id="rId14" imgW="0" imgH="0" progId="TCLayout.ActiveDocument.1">
                  <p:embed/>
                </p:oleObj>
              </mc:Choice>
              <mc:Fallback>
                <p:oleObj name="Slide do think-cell" r:id="rId14" imgW="0" imgH="0" progId="TCLayout.ActiveDocument.1">
                  <p:embed/>
                  <p:pic>
                    <p:nvPicPr>
                      <p:cNvPr id="0" name="AutoShape 9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2"/>
                        <a:ext cx="211676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10776431" y="36518"/>
            <a:ext cx="876339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88122"/>
            <a:endParaRPr lang="pt-BR" sz="8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10519874" y="1932900"/>
            <a:ext cx="267220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10682583" y="4106726"/>
            <a:ext cx="234679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936841" y="1951039"/>
            <a:ext cx="5736421" cy="11060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ext styles</a:t>
            </a:r>
          </a:p>
          <a:p>
            <a:pPr lvl="1"/>
            <a:r>
              <a:rPr lang="pt-BR" noProof="0" smtClean="0"/>
              <a:t>Second level</a:t>
            </a:r>
          </a:p>
          <a:p>
            <a:pPr lvl="2"/>
            <a:r>
              <a:rPr lang="pt-BR" noProof="0" smtClean="0"/>
              <a:t>Third level</a:t>
            </a:r>
          </a:p>
          <a:p>
            <a:pPr lvl="3"/>
            <a:r>
              <a:rPr lang="pt-BR" noProof="0" smtClean="0"/>
              <a:t>Fourth level</a:t>
            </a:r>
          </a:p>
          <a:p>
            <a:pPr lvl="4"/>
            <a:r>
              <a:rPr lang="pt-BR" noProof="0" smtClean="0"/>
              <a:t>Fifth level</a:t>
            </a:r>
            <a:endParaRPr lang="pt-BR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211676" y="230280"/>
            <a:ext cx="10530036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58852" y="26992"/>
            <a:ext cx="886083" cy="2212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pt-BR" sz="1400" smtClean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TRACKER</a:t>
            </a:r>
            <a:endParaRPr lang="pt-BR" sz="1400" dirty="0">
              <a:solidFill>
                <a:srgbClr val="80808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58874" y="621826"/>
            <a:ext cx="11491891" cy="281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pt-BR" sz="1800" smtClean="0">
                <a:solidFill>
                  <a:srgbClr val="D5E7FF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Unit of measure</a:t>
            </a:r>
            <a:endParaRPr lang="pt-BR" sz="1800" dirty="0" smtClean="0">
              <a:solidFill>
                <a:srgbClr val="D5E7FF">
                  <a:lumMod val="75000"/>
                </a:srgbClr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158758" y="6265673"/>
            <a:ext cx="11398753" cy="358776"/>
            <a:chOff x="75" y="3877"/>
            <a:chExt cx="5385" cy="226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877"/>
              <a:ext cx="5385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pt-BR" sz="100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1 Footnote</a:t>
              </a:r>
              <a:endParaRPr lang="pt-BR" sz="1000" dirty="0" smtClean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06"/>
              <a:ext cx="4323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t" anchorCtr="0">
              <a:spAutoFit/>
            </a:bodyPr>
            <a:lstStyle/>
            <a:p>
              <a:pPr marL="604708" indent="-604708" defTabSz="888122">
                <a:tabLst>
                  <a:tab pos="607838" algn="l"/>
                </a:tabLst>
              </a:pPr>
              <a:r>
                <a:rPr lang="pt-BR" sz="1000" dirty="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FONTE: </a:t>
              </a:r>
              <a:r>
                <a:rPr lang="pt-BR" sz="1000" dirty="0" err="1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ource</a:t>
              </a:r>
              <a:endParaRPr lang="pt-BR" sz="1000" dirty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936840" y="1123953"/>
            <a:ext cx="5685618" cy="511174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 hidden="1"/>
            <p:cNvSpPr>
              <a:spLocks noChangeArrowheads="1"/>
            </p:cNvSpPr>
            <p:nvPr/>
          </p:nvSpPr>
          <p:spPr bwMode="auto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pt-BR" b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itle</a:t>
              </a:r>
            </a:p>
            <a:p>
              <a:r>
                <a:rPr lang="pt-BR" smtClean="0">
                  <a:solidFill>
                    <a:srgbClr val="80808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Unit of measure</a:t>
              </a:r>
              <a:endParaRPr lang="pt-BR" dirty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28" name="Group 27"/>
          <p:cNvGrpSpPr/>
          <p:nvPr userDrawn="1"/>
        </p:nvGrpSpPr>
        <p:grpSpPr>
          <a:xfrm>
            <a:off x="11335740" y="60963"/>
            <a:ext cx="613376" cy="655256"/>
            <a:chOff x="5526523" y="2325890"/>
            <a:chExt cx="3423032" cy="3656747"/>
          </a:xfrm>
        </p:grpSpPr>
        <p:sp>
          <p:nvSpPr>
            <p:cNvPr id="29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30" name="Group 29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31" name="Donut 30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2" name="Oval 31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3" name="Oval 32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42294916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891" r:id="rId1"/>
    <p:sldLayoutId id="2147485892" r:id="rId2"/>
    <p:sldLayoutId id="2147485893" r:id="rId3"/>
    <p:sldLayoutId id="2147485894" r:id="rId4"/>
    <p:sldLayoutId id="2147485895" r:id="rId5"/>
    <p:sldLayoutId id="2147485896" r:id="rId6"/>
    <p:sldLayoutId id="2147485897" r:id="rId7"/>
    <p:sldLayoutId id="2147485898" r:id="rId8"/>
    <p:sldLayoutId id="2147485899" r:id="rId9"/>
    <p:sldLayoutId id="2147485900" r:id="rId10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defTabSz="888122" rtl="0" eaLnBrk="1" fontAlgn="base" hangingPunct="1">
        <a:spcBef>
          <a:spcPct val="0"/>
        </a:spcBef>
        <a:spcAft>
          <a:spcPct val="0"/>
        </a:spcAft>
        <a:tabLst>
          <a:tab pos="267717" algn="l"/>
        </a:tabLst>
        <a:defRPr lang="en-US" sz="2000" b="1" baseline="0" noProof="0" dirty="0" smtClean="0">
          <a:solidFill>
            <a:schemeClr val="accent4"/>
          </a:solidFill>
          <a:latin typeface="Arial" panose="020B0604020202020204" pitchFamily="34" charset="0"/>
          <a:ea typeface="+mj-ea"/>
          <a:cs typeface="Arial" panose="020B0604020202020204" pitchFamily="34" charset="0"/>
          <a:sym typeface="Arial" panose="020B0604020202020204" pitchFamily="34" charset="0"/>
        </a:defRPr>
      </a:lvl1pPr>
      <a:lvl2pPr algn="l" defTabSz="888122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2pPr>
      <a:lvl3pPr algn="l" defTabSz="888122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3pPr>
      <a:lvl4pPr algn="l" defTabSz="888122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4pPr>
      <a:lvl5pPr algn="l" defTabSz="888122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5pPr>
      <a:lvl6pPr marL="453541" algn="l" defTabSz="888122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6pPr>
      <a:lvl7pPr marL="907033" algn="l" defTabSz="888122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7pPr>
      <a:lvl8pPr marL="1360533" algn="l" defTabSz="888122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8pPr>
      <a:lvl9pPr marL="1814054" algn="l" defTabSz="888122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88122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400" baseline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1pPr>
      <a:lvl2pPr marL="192136" indent="-192136" algn="l" defTabSz="888122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15000"/>
        <a:buFont typeface="Simplon BP Regular" pitchFamily="2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2pPr>
      <a:lvl3pPr marL="453541" indent="-259802" algn="l" defTabSz="888122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charset="0"/>
        <a:buChar char="–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3pPr>
      <a:lvl4pPr marL="609410" indent="-154354" algn="l" defTabSz="888122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pitchFamily="34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4pPr>
      <a:lvl5pPr marL="743745" indent="-129129" algn="l" defTabSz="888122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89000"/>
        <a:buFont typeface="Arial" charset="0"/>
        <a:buChar char="-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5pPr>
      <a:lvl6pPr marL="743745" indent="-129129" algn="l" defTabSz="88812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3745" indent="-129129" algn="l" defTabSz="88812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3745" indent="-129129" algn="l" defTabSz="88812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3745" indent="-129129" algn="l" defTabSz="88812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0703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3541" algn="l" defTabSz="90703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07033" algn="l" defTabSz="90703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0533" algn="l" defTabSz="90703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14054" algn="l" defTabSz="90703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67564" algn="l" defTabSz="90703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21069" algn="l" defTabSz="90703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74587" algn="l" defTabSz="90703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28102" algn="l" defTabSz="90703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82" y="1854734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en-US"/>
              <a:t>Click to edit Master text styles</a:t>
            </a:r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en-US"/>
              <a:t>Second level</a:t>
            </a:r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en-US"/>
              <a:t>Third level</a:t>
            </a:r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en-US"/>
              <a:t>Fourth level</a:t>
            </a:r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en-US"/>
              <a:t>Fifth 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2105" y="359015"/>
            <a:ext cx="10725159" cy="102481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/>
              <a:t>Click</a:t>
            </a:r>
            <a:r>
              <a:rPr lang="pt-PT" dirty="0"/>
              <a:t> to </a:t>
            </a:r>
            <a:r>
              <a:rPr lang="pt-PT" dirty="0" err="1"/>
              <a:t>edit</a:t>
            </a:r>
            <a:r>
              <a:rPr lang="pt-PT" dirty="0"/>
              <a:t> </a:t>
            </a:r>
            <a:r>
              <a:rPr lang="pt-PT" dirty="0" err="1"/>
              <a:t>title</a:t>
            </a:r>
            <a:r>
              <a:rPr lang="pt-PT" dirty="0"/>
              <a:t> </a:t>
            </a:r>
            <a:r>
              <a:rPr lang="pt-PT" dirty="0" err="1"/>
              <a:t>style</a:t>
            </a:r>
            <a:endParaRPr lang="en-US" dirty="0"/>
          </a:p>
        </p:txBody>
      </p:sp>
      <p:sp>
        <p:nvSpPr>
          <p:cNvPr id="13" name="TextBox 12"/>
          <p:cNvSpPr txBox="1"/>
          <p:nvPr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1880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-281813" y="1855258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1880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-281813" y="4207646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1880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4" tIns="46614" rIns="46614" bIns="46614" numCol="1" anchor="t" anchorCtr="0" compatLnSpc="1">
            <a:prstTxWarp prst="textNoShape">
              <a:avLst/>
            </a:prstTxWarp>
          </a:bodyPr>
          <a:lstStyle/>
          <a:p>
            <a:pPr defTabSz="59188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188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188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</a:p>
        </p:txBody>
      </p:sp>
      <p:sp>
        <p:nvSpPr>
          <p:cNvPr id="17" name="Freeform 16"/>
          <p:cNvSpPr>
            <a:spLocks/>
          </p:cNvSpPr>
          <p:nvPr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4" tIns="46614" rIns="46614" bIns="46614" numCol="1" anchor="t" anchorCtr="0" compatLnSpc="1">
            <a:prstTxWarp prst="textNoShape">
              <a:avLst/>
            </a:prstTxWarp>
          </a:bodyPr>
          <a:lstStyle/>
          <a:p>
            <a:pPr defTabSz="59188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188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188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</a:p>
        </p:txBody>
      </p:sp>
      <p:sp>
        <p:nvSpPr>
          <p:cNvPr id="18" name="Freeform 5"/>
          <p:cNvSpPr>
            <a:spLocks/>
          </p:cNvSpPr>
          <p:nvPr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4" tIns="46614" rIns="46614" bIns="46614" numCol="1" anchor="t" anchorCtr="0" compatLnSpc="1">
            <a:prstTxWarp prst="textNoShape">
              <a:avLst/>
            </a:prstTxWarp>
          </a:bodyPr>
          <a:lstStyle/>
          <a:p>
            <a:pPr defTabSz="59188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188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188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</a:p>
        </p:txBody>
      </p:sp>
      <p:sp>
        <p:nvSpPr>
          <p:cNvPr id="19" name="Freeform 5"/>
          <p:cNvSpPr>
            <a:spLocks/>
          </p:cNvSpPr>
          <p:nvPr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4" tIns="46614" rIns="46614" bIns="46614" numCol="1" anchor="t" anchorCtr="0" compatLnSpc="1">
            <a:prstTxWarp prst="textNoShape">
              <a:avLst/>
            </a:prstTxWarp>
          </a:bodyPr>
          <a:lstStyle/>
          <a:p>
            <a:pPr defTabSz="59188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188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188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</a:p>
        </p:txBody>
      </p:sp>
      <p:sp>
        <p:nvSpPr>
          <p:cNvPr id="29" name="Freeform 28"/>
          <p:cNvSpPr>
            <a:spLocks/>
          </p:cNvSpPr>
          <p:nvPr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4" tIns="46614" rIns="46614" bIns="46614" numCol="1" anchor="t" anchorCtr="0" compatLnSpc="1">
            <a:prstTxWarp prst="textNoShape">
              <a:avLst/>
            </a:prstTxWarp>
          </a:bodyPr>
          <a:lstStyle/>
          <a:p>
            <a:pPr defTabSz="59188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188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188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</a:p>
        </p:txBody>
      </p:sp>
      <p:sp>
        <p:nvSpPr>
          <p:cNvPr id="30" name="Freeform 5"/>
          <p:cNvSpPr>
            <a:spLocks/>
          </p:cNvSpPr>
          <p:nvPr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4" tIns="46614" rIns="46614" bIns="46614" numCol="1" anchor="t" anchorCtr="0" compatLnSpc="1">
            <a:prstTxWarp prst="textNoShape">
              <a:avLst/>
            </a:prstTxWarp>
          </a:bodyPr>
          <a:lstStyle/>
          <a:p>
            <a:pPr defTabSz="59188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188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188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</a:p>
        </p:txBody>
      </p:sp>
      <p:sp>
        <p:nvSpPr>
          <p:cNvPr id="31" name="Freeform 5"/>
          <p:cNvSpPr>
            <a:spLocks/>
          </p:cNvSpPr>
          <p:nvPr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4" tIns="46614" rIns="46614" bIns="46614" numCol="1" anchor="t" anchorCtr="0" compatLnSpc="1">
            <a:prstTxWarp prst="textNoShape">
              <a:avLst/>
            </a:prstTxWarp>
          </a:bodyPr>
          <a:lstStyle/>
          <a:p>
            <a:pPr defTabSz="59188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188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188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</a:p>
        </p:txBody>
      </p:sp>
      <p:sp>
        <p:nvSpPr>
          <p:cNvPr id="32" name="TextBox 39"/>
          <p:cNvSpPr txBox="1"/>
          <p:nvPr/>
        </p:nvSpPr>
        <p:spPr>
          <a:xfrm>
            <a:off x="9223673" y="6781957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1880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3" name="Freeform 5"/>
          <p:cNvSpPr>
            <a:spLocks/>
          </p:cNvSpPr>
          <p:nvPr/>
        </p:nvSpPr>
        <p:spPr bwMode="auto">
          <a:xfrm>
            <a:off x="-10960" y="6748323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04" tIns="59203" rIns="118404" bIns="59203" numCol="1" anchor="t" anchorCtr="0" compatLnSpc="1">
            <a:prstTxWarp prst="textNoShape">
              <a:avLst/>
            </a:prstTxWarp>
          </a:bodyPr>
          <a:lstStyle/>
          <a:p>
            <a:pPr defTabSz="59188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04" tIns="59203" rIns="118404" bIns="59203" numCol="1" anchor="t" anchorCtr="0" compatLnSpc="1">
            <a:prstTxWarp prst="textNoShape">
              <a:avLst/>
            </a:prstTxWarp>
          </a:bodyPr>
          <a:lstStyle/>
          <a:p>
            <a:pPr defTabSz="59188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04" tIns="59203" rIns="118404" bIns="59203" numCol="1" anchor="t" anchorCtr="0" compatLnSpc="1">
            <a:prstTxWarp prst="textNoShape">
              <a:avLst/>
            </a:prstTxWarp>
          </a:bodyPr>
          <a:lstStyle/>
          <a:p>
            <a:pPr defTabSz="59188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04" tIns="59203" rIns="118404" bIns="59203" numCol="1" anchor="t" anchorCtr="0" compatLnSpc="1">
            <a:prstTxWarp prst="textNoShape">
              <a:avLst/>
            </a:prstTxWarp>
          </a:bodyPr>
          <a:lstStyle/>
          <a:p>
            <a:pPr defTabSz="59188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/>
        </p:nvSpPr>
        <p:spPr bwMode="auto">
          <a:xfrm>
            <a:off x="3149540" y="6748323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04" tIns="59203" rIns="118404" bIns="59203" numCol="1" anchor="t" anchorCtr="0" compatLnSpc="1">
            <a:prstTxWarp prst="textNoShape">
              <a:avLst/>
            </a:prstTxWarp>
          </a:bodyPr>
          <a:lstStyle/>
          <a:p>
            <a:pPr defTabSz="59188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04" tIns="59203" rIns="118404" bIns="59203" numCol="1" anchor="t" anchorCtr="0" compatLnSpc="1">
            <a:prstTxWarp prst="textNoShape">
              <a:avLst/>
            </a:prstTxWarp>
          </a:bodyPr>
          <a:lstStyle/>
          <a:p>
            <a:pPr defTabSz="59188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04" tIns="59203" rIns="118404" bIns="59203" numCol="1" anchor="t" anchorCtr="0" compatLnSpc="1">
            <a:prstTxWarp prst="textNoShape">
              <a:avLst/>
            </a:prstTxWarp>
          </a:bodyPr>
          <a:lstStyle/>
          <a:p>
            <a:pPr defTabSz="59188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04" tIns="59203" rIns="118404" bIns="59203" numCol="1" anchor="t" anchorCtr="0" compatLnSpc="1">
            <a:prstTxWarp prst="textNoShape">
              <a:avLst/>
            </a:prstTxWarp>
          </a:bodyPr>
          <a:lstStyle/>
          <a:p>
            <a:pPr defTabSz="59188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/>
        </p:nvSpPr>
        <p:spPr bwMode="auto">
          <a:xfrm>
            <a:off x="6279959" y="6748323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04" tIns="59203" rIns="118404" bIns="59203" numCol="1" anchor="t" anchorCtr="0" compatLnSpc="1">
            <a:prstTxWarp prst="textNoShape">
              <a:avLst/>
            </a:prstTxWarp>
          </a:bodyPr>
          <a:lstStyle/>
          <a:p>
            <a:pPr defTabSz="59188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04" tIns="59203" rIns="118404" bIns="59203" numCol="1" anchor="t" anchorCtr="0" compatLnSpc="1">
            <a:prstTxWarp prst="textNoShape">
              <a:avLst/>
            </a:prstTxWarp>
          </a:bodyPr>
          <a:lstStyle/>
          <a:p>
            <a:pPr defTabSz="59188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3" name="Freeform 5"/>
          <p:cNvSpPr>
            <a:spLocks/>
          </p:cNvSpPr>
          <p:nvPr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04" tIns="59203" rIns="118404" bIns="59203" numCol="1" anchor="t" anchorCtr="0" compatLnSpc="1">
            <a:prstTxWarp prst="textNoShape">
              <a:avLst/>
            </a:prstTxWarp>
          </a:bodyPr>
          <a:lstStyle/>
          <a:p>
            <a:pPr defTabSz="59188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" name="Freeform 5"/>
          <p:cNvSpPr>
            <a:spLocks/>
          </p:cNvSpPr>
          <p:nvPr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04" tIns="59203" rIns="118404" bIns="59203" numCol="1" anchor="t" anchorCtr="0" compatLnSpc="1">
            <a:prstTxWarp prst="textNoShape">
              <a:avLst/>
            </a:prstTxWarp>
          </a:bodyPr>
          <a:lstStyle/>
          <a:p>
            <a:pPr defTabSz="59188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82775087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4" r:id="rId1"/>
    <p:sldLayoutId id="2147483675" r:id="rId2"/>
    <p:sldLayoutId id="2147483676" r:id="rId3"/>
    <p:sldLayoutId id="2147483677" r:id="rId4"/>
  </p:sldLayoutIdLst>
  <p:hf sldNum="0" hdr="0" ftr="0" dt="0"/>
  <p:txStyles>
    <p:titleStyle>
      <a:lvl1pPr algn="l" defTabSz="591880" rtl="0" eaLnBrk="1" latinLnBrk="0" hangingPunct="1">
        <a:lnSpc>
          <a:spcPts val="5486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chemeClr val="accent1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8410" indent="-238410" algn="l" defTabSz="591880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2703" indent="-228128" algn="l" defTabSz="591880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2703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0832" indent="-228128" algn="l" defTabSz="591880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0832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28964" indent="-228128" algn="l" defTabSz="591880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28964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57075" indent="-228128" algn="l" defTabSz="591880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57075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55503" indent="-295931" algn="l" defTabSz="591880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47406" indent="-295931" algn="l" defTabSz="591880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39313" indent="-295931" algn="l" defTabSz="591880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31220" indent="-295931" algn="l" defTabSz="591880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188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1880" algn="l" defTabSz="59188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3817" algn="l" defTabSz="59188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75733" algn="l" defTabSz="59188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67638" algn="l" defTabSz="59188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59546" algn="l" defTabSz="59188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51449" algn="l" defTabSz="59188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43364" algn="l" defTabSz="59188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35273" algn="l" defTabSz="59188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2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82" y="1854703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2053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81813" y="1855222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9223673" y="6781924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3568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0756949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81" r:id="rId1"/>
    <p:sldLayoutId id="2147483882" r:id="rId2"/>
    <p:sldLayoutId id="2147483883" r:id="rId3"/>
    <p:sldLayoutId id="2147483884" r:id="rId4"/>
    <p:sldLayoutId id="2147485433" r:id="rId5"/>
  </p:sldLayoutIdLst>
  <p:hf sldNum="0" hdr="0" ftr="0" dt="0"/>
  <p:txStyles>
    <p:titleStyle>
      <a:lvl1pPr algn="l" defTabSz="593568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086" indent="-239086" algn="l" defTabSz="59356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4041" indent="-228773" algn="l" defTabSz="59356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4041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2818" indent="-228773" algn="l" defTabSz="59356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2818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1601" indent="-228773" algn="l" defTabSz="59356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1601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0369" indent="-228773" algn="l" defTabSz="59356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0369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64727" indent="-296779" algn="l" defTabSz="59356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58307" indent="-296779" algn="l" defTabSz="59356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51888" indent="-296779" algn="l" defTabSz="59356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45481" indent="-296779" algn="l" defTabSz="59356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3568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7172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0762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4346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67935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61514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55098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48689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20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78" y="1854670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2020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6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5252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81816" y="1855190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5252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81816" y="4207633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5252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74" tIns="46874" rIns="46874" bIns="46874" numCol="1" anchor="t" anchorCtr="0" compatLnSpc="1">
            <a:prstTxWarp prst="textNoShape">
              <a:avLst/>
            </a:prstTxWarp>
          </a:bodyPr>
          <a:lstStyle/>
          <a:p>
            <a:pPr defTabSz="59525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525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525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74" tIns="46874" rIns="46874" bIns="46874" numCol="1" anchor="t" anchorCtr="0" compatLnSpc="1">
            <a:prstTxWarp prst="textNoShape">
              <a:avLst/>
            </a:prstTxWarp>
          </a:bodyPr>
          <a:lstStyle/>
          <a:p>
            <a:pPr defTabSz="59525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525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525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74" tIns="46874" rIns="46874" bIns="46874" numCol="1" anchor="t" anchorCtr="0" compatLnSpc="1">
            <a:prstTxWarp prst="textNoShape">
              <a:avLst/>
            </a:prstTxWarp>
          </a:bodyPr>
          <a:lstStyle/>
          <a:p>
            <a:pPr defTabSz="59525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525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525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74" tIns="46874" rIns="46874" bIns="46874" numCol="1" anchor="t" anchorCtr="0" compatLnSpc="1">
            <a:prstTxWarp prst="textNoShape">
              <a:avLst/>
            </a:prstTxWarp>
          </a:bodyPr>
          <a:lstStyle/>
          <a:p>
            <a:pPr defTabSz="59525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525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525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74" tIns="46874" rIns="46874" bIns="46874" numCol="1" anchor="t" anchorCtr="0" compatLnSpc="1">
            <a:prstTxWarp prst="textNoShape">
              <a:avLst/>
            </a:prstTxWarp>
          </a:bodyPr>
          <a:lstStyle/>
          <a:p>
            <a:pPr defTabSz="59525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525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525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74" tIns="46874" rIns="46874" bIns="46874" numCol="1" anchor="t" anchorCtr="0" compatLnSpc="1">
            <a:prstTxWarp prst="textNoShape">
              <a:avLst/>
            </a:prstTxWarp>
          </a:bodyPr>
          <a:lstStyle/>
          <a:p>
            <a:pPr defTabSz="59525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525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525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74" tIns="46874" rIns="46874" bIns="46874" numCol="1" anchor="t" anchorCtr="0" compatLnSpc="1">
            <a:prstTxWarp prst="textNoShape">
              <a:avLst/>
            </a:prstTxWarp>
          </a:bodyPr>
          <a:lstStyle/>
          <a:p>
            <a:pPr defTabSz="59525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525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525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9223673" y="6781893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5252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10960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063" tIns="59531" rIns="119063" bIns="59531" numCol="1" anchor="t" anchorCtr="0" compatLnSpc="1">
            <a:prstTxWarp prst="textNoShape">
              <a:avLst/>
            </a:prstTxWarp>
          </a:bodyPr>
          <a:lstStyle/>
          <a:p>
            <a:pPr defTabSz="59525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10960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63" tIns="59531" rIns="119063" bIns="59531" numCol="1" anchor="t" anchorCtr="0" compatLnSpc="1">
            <a:prstTxWarp prst="textNoShape">
              <a:avLst/>
            </a:prstTxWarp>
          </a:bodyPr>
          <a:lstStyle/>
          <a:p>
            <a:pPr defTabSz="59525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63" tIns="59531" rIns="119063" bIns="59531" numCol="1" anchor="t" anchorCtr="0" compatLnSpc="1">
            <a:prstTxWarp prst="textNoShape">
              <a:avLst/>
            </a:prstTxWarp>
          </a:bodyPr>
          <a:lstStyle/>
          <a:p>
            <a:pPr defTabSz="59525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95151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63" tIns="59531" rIns="119063" bIns="59531" numCol="1" anchor="t" anchorCtr="0" compatLnSpc="1">
            <a:prstTxWarp prst="textNoShape">
              <a:avLst/>
            </a:prstTxWarp>
          </a:bodyPr>
          <a:lstStyle/>
          <a:p>
            <a:pPr defTabSz="59525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3149540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063" tIns="59531" rIns="119063" bIns="59531" numCol="1" anchor="t" anchorCtr="0" compatLnSpc="1">
            <a:prstTxWarp prst="textNoShape">
              <a:avLst/>
            </a:prstTxWarp>
          </a:bodyPr>
          <a:lstStyle/>
          <a:p>
            <a:pPr defTabSz="59525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3149538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63" tIns="59531" rIns="119063" bIns="59531" numCol="1" anchor="t" anchorCtr="0" compatLnSpc="1">
            <a:prstTxWarp prst="textNoShape">
              <a:avLst/>
            </a:prstTxWarp>
          </a:bodyPr>
          <a:lstStyle/>
          <a:p>
            <a:pPr defTabSz="59525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63" tIns="59531" rIns="119063" bIns="59531" numCol="1" anchor="t" anchorCtr="0" compatLnSpc="1">
            <a:prstTxWarp prst="textNoShape">
              <a:avLst/>
            </a:prstTxWarp>
          </a:bodyPr>
          <a:lstStyle/>
          <a:p>
            <a:pPr defTabSz="59525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511201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63" tIns="59531" rIns="119063" bIns="59531" numCol="1" anchor="t" anchorCtr="0" compatLnSpc="1">
            <a:prstTxWarp prst="textNoShape">
              <a:avLst/>
            </a:prstTxWarp>
          </a:bodyPr>
          <a:lstStyle/>
          <a:p>
            <a:pPr defTabSz="59525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6279959" y="6748315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063" tIns="59531" rIns="119063" bIns="59531" numCol="1" anchor="t" anchorCtr="0" compatLnSpc="1">
            <a:prstTxWarp prst="textNoShape">
              <a:avLst/>
            </a:prstTxWarp>
          </a:bodyPr>
          <a:lstStyle/>
          <a:p>
            <a:pPr defTabSz="59525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63" tIns="59531" rIns="119063" bIns="59531" numCol="1" anchor="t" anchorCtr="0" compatLnSpc="1">
            <a:prstTxWarp prst="textNoShape">
              <a:avLst/>
            </a:prstTxWarp>
          </a:bodyPr>
          <a:lstStyle/>
          <a:p>
            <a:pPr defTabSz="59525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63" tIns="59531" rIns="119063" bIns="59531" numCol="1" anchor="t" anchorCtr="0" compatLnSpc="1">
            <a:prstTxWarp prst="textNoShape">
              <a:avLst/>
            </a:prstTxWarp>
          </a:bodyPr>
          <a:lstStyle/>
          <a:p>
            <a:pPr defTabSz="59525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8242436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63" tIns="59531" rIns="119063" bIns="59531" numCol="1" anchor="t" anchorCtr="0" compatLnSpc="1">
            <a:prstTxWarp prst="textNoShape">
              <a:avLst/>
            </a:prstTxWarp>
          </a:bodyPr>
          <a:lstStyle/>
          <a:p>
            <a:pPr defTabSz="59525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46349633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903" r:id="rId1"/>
    <p:sldLayoutId id="2147485904" r:id="rId2"/>
    <p:sldLayoutId id="2147485905" r:id="rId3"/>
    <p:sldLayoutId id="2147485906" r:id="rId4"/>
  </p:sldLayoutIdLst>
  <p:hf sldNum="0" hdr="0" ftr="0" dt="0"/>
  <p:txStyles>
    <p:titleStyle>
      <a:lvl1pPr algn="l" defTabSz="595252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759" indent="-239759" algn="l" defTabSz="595252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5380" indent="-229423" algn="l" defTabSz="595252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5380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4805" indent="-229423" algn="l" defTabSz="595252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4805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4236" indent="-229423" algn="l" defTabSz="595252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4236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3657" indent="-229423" algn="l" defTabSz="595252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3657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73954" indent="-297624" algn="l" defTabSz="595252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69211" indent="-297624" algn="l" defTabSz="595252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64469" indent="-297624" algn="l" defTabSz="595252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59733" indent="-297624" algn="l" defTabSz="595252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525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5252" algn="l" defTabSz="59525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90528" algn="l" defTabSz="59525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5790" algn="l" defTabSz="59525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81052" algn="l" defTabSz="59525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76323" algn="l" defTabSz="59525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71582" algn="l" defTabSz="59525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66843" algn="l" defTabSz="59525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62104" algn="l" defTabSz="59525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20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1978" y="358940"/>
            <a:ext cx="7338636" cy="102481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-281816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511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6" y="1855193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511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-281816" y="4207633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63" tIns="46863" rIns="46863" bIns="46863" numCol="1" anchor="t" anchorCtr="0" compatLnSpc="1">
            <a:prstTxWarp prst="textNoShape">
              <a:avLst/>
            </a:prstTxWarp>
          </a:bodyPr>
          <a:lstStyle/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16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63" tIns="46863" rIns="46863" bIns="46863" numCol="1" anchor="t" anchorCtr="0" compatLnSpc="1">
            <a:prstTxWarp prst="textNoShape">
              <a:avLst/>
            </a:prstTxWarp>
          </a:bodyPr>
          <a:lstStyle/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63" tIns="46863" rIns="46863" bIns="46863" numCol="1" anchor="t" anchorCtr="0" compatLnSpc="1">
            <a:prstTxWarp prst="textNoShape">
              <a:avLst/>
            </a:prstTxWarp>
          </a:bodyPr>
          <a:lstStyle/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9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63" tIns="46863" rIns="46863" bIns="46863" numCol="1" anchor="t" anchorCtr="0" compatLnSpc="1">
            <a:prstTxWarp prst="textNoShape">
              <a:avLst/>
            </a:prstTxWarp>
          </a:bodyPr>
          <a:lstStyle/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Freeform 28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63" tIns="46863" rIns="46863" bIns="46863" numCol="1" anchor="t" anchorCtr="0" compatLnSpc="1">
            <a:prstTxWarp prst="textNoShape">
              <a:avLst/>
            </a:prstTxWarp>
          </a:bodyPr>
          <a:lstStyle/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63" tIns="46863" rIns="46863" bIns="46863" numCol="1" anchor="t" anchorCtr="0" compatLnSpc="1">
            <a:prstTxWarp prst="textNoShape">
              <a:avLst/>
            </a:prstTxWarp>
          </a:bodyPr>
          <a:lstStyle/>
          <a:p>
            <a:pPr defTabSz="59511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511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511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63" tIns="46863" rIns="46863" bIns="46863" numCol="1" anchor="t" anchorCtr="0" compatLnSpc="1">
            <a:prstTxWarp prst="textNoShape">
              <a:avLst/>
            </a:prstTxWarp>
          </a:bodyPr>
          <a:lstStyle/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2" name="TextBox 39"/>
          <p:cNvSpPr txBox="1"/>
          <p:nvPr userDrawn="1"/>
        </p:nvSpPr>
        <p:spPr>
          <a:xfrm>
            <a:off x="9223673" y="6781895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5118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-10960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036" tIns="59518" rIns="119036" bIns="59518" numCol="1" anchor="t" anchorCtr="0" compatLnSpc="1">
            <a:prstTxWarp prst="textNoShape">
              <a:avLst/>
            </a:prstTxWarp>
          </a:bodyPr>
          <a:lstStyle/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-10960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36" tIns="59518" rIns="119036" bIns="59518" numCol="1" anchor="t" anchorCtr="0" compatLnSpc="1">
            <a:prstTxWarp prst="textNoShape">
              <a:avLst/>
            </a:prstTxWarp>
          </a:bodyPr>
          <a:lstStyle/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36" tIns="59518" rIns="119036" bIns="59518" numCol="1" anchor="t" anchorCtr="0" compatLnSpc="1">
            <a:prstTxWarp prst="textNoShape">
              <a:avLst/>
            </a:prstTxWarp>
          </a:bodyPr>
          <a:lstStyle/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195151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36" tIns="59518" rIns="119036" bIns="59518" numCol="1" anchor="t" anchorCtr="0" compatLnSpc="1">
            <a:prstTxWarp prst="textNoShape">
              <a:avLst/>
            </a:prstTxWarp>
          </a:bodyPr>
          <a:lstStyle/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3149540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036" tIns="59518" rIns="119036" bIns="59518" numCol="1" anchor="t" anchorCtr="0" compatLnSpc="1">
            <a:prstTxWarp prst="textNoShape">
              <a:avLst/>
            </a:prstTxWarp>
          </a:bodyPr>
          <a:lstStyle/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3149538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36" tIns="59518" rIns="119036" bIns="59518" numCol="1" anchor="t" anchorCtr="0" compatLnSpc="1">
            <a:prstTxWarp prst="textNoShape">
              <a:avLst/>
            </a:prstTxWarp>
          </a:bodyPr>
          <a:lstStyle/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36" tIns="59518" rIns="119036" bIns="59518" numCol="1" anchor="t" anchorCtr="0" compatLnSpc="1">
            <a:prstTxWarp prst="textNoShape">
              <a:avLst/>
            </a:prstTxWarp>
          </a:bodyPr>
          <a:lstStyle/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511201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36" tIns="59518" rIns="119036" bIns="59518" numCol="1" anchor="t" anchorCtr="0" compatLnSpc="1">
            <a:prstTxWarp prst="textNoShape">
              <a:avLst/>
            </a:prstTxWarp>
          </a:bodyPr>
          <a:lstStyle/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6279959" y="6748315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036" tIns="59518" rIns="119036" bIns="59518" numCol="1" anchor="t" anchorCtr="0" compatLnSpc="1">
            <a:prstTxWarp prst="textNoShape">
              <a:avLst/>
            </a:prstTxWarp>
          </a:bodyPr>
          <a:lstStyle/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36" tIns="59518" rIns="119036" bIns="59518" numCol="1" anchor="t" anchorCtr="0" compatLnSpc="1">
            <a:prstTxWarp prst="textNoShape">
              <a:avLst/>
            </a:prstTxWarp>
          </a:bodyPr>
          <a:lstStyle/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3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36" tIns="59518" rIns="119036" bIns="59518" numCol="1" anchor="t" anchorCtr="0" compatLnSpc="1">
            <a:prstTxWarp prst="textNoShape">
              <a:avLst/>
            </a:prstTxWarp>
          </a:bodyPr>
          <a:lstStyle/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" name="Freeform 5"/>
          <p:cNvSpPr>
            <a:spLocks/>
          </p:cNvSpPr>
          <p:nvPr userDrawn="1"/>
        </p:nvSpPr>
        <p:spPr bwMode="auto">
          <a:xfrm>
            <a:off x="8242436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36" tIns="59518" rIns="119036" bIns="59518" numCol="1" anchor="t" anchorCtr="0" compatLnSpc="1">
            <a:prstTxWarp prst="textNoShape">
              <a:avLst/>
            </a:prstTxWarp>
          </a:bodyPr>
          <a:lstStyle/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23065827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908" r:id="rId1"/>
    <p:sldLayoutId id="2147485909" r:id="rId2"/>
    <p:sldLayoutId id="2147485910" r:id="rId3"/>
    <p:sldLayoutId id="2147485911" r:id="rId4"/>
    <p:sldLayoutId id="2147485912" r:id="rId5"/>
    <p:sldLayoutId id="2147485913" r:id="rId6"/>
    <p:sldLayoutId id="2147485914" r:id="rId7"/>
    <p:sldLayoutId id="2147485915" r:id="rId8"/>
  </p:sldLayoutIdLst>
  <p:hf sldNum="0" hdr="0" ftr="0" dt="0"/>
  <p:txStyles>
    <p:titleStyle>
      <a:lvl1pPr algn="l" defTabSz="595118" rtl="0" eaLnBrk="1" latinLnBrk="0" hangingPunct="1">
        <a:lnSpc>
          <a:spcPts val="5487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A037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705" indent="-239705" algn="l" defTabSz="59511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5272" indent="-229370" algn="l" defTabSz="59511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5272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4646" indent="-229370" algn="l" defTabSz="59511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4646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4024" indent="-229370" algn="l" defTabSz="59511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4024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3393" indent="-229370" algn="l" defTabSz="59511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3393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73213" indent="-297556" algn="l" defTabSz="59511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68335" indent="-297556" algn="l" defTabSz="59511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63459" indent="-297556" algn="l" defTabSz="59511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58589" indent="-297556" algn="l" defTabSz="59511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51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5118" algn="l" defTabSz="5951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90259" algn="l" defTabSz="5951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5387" algn="l" defTabSz="5951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80513" algn="l" defTabSz="5951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75649" algn="l" defTabSz="5951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70773" algn="l" defTabSz="5951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65899" algn="l" defTabSz="5951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61027" algn="l" defTabSz="5951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20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1978" y="358940"/>
            <a:ext cx="7338636" cy="102481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-281816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511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6" y="1855193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511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-281816" y="4207633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63" tIns="46863" rIns="46863" bIns="46863" numCol="1" anchor="t" anchorCtr="0" compatLnSpc="1">
            <a:prstTxWarp prst="textNoShape">
              <a:avLst/>
            </a:prstTxWarp>
          </a:bodyPr>
          <a:lstStyle/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16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63" tIns="46863" rIns="46863" bIns="46863" numCol="1" anchor="t" anchorCtr="0" compatLnSpc="1">
            <a:prstTxWarp prst="textNoShape">
              <a:avLst/>
            </a:prstTxWarp>
          </a:bodyPr>
          <a:lstStyle/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63" tIns="46863" rIns="46863" bIns="46863" numCol="1" anchor="t" anchorCtr="0" compatLnSpc="1">
            <a:prstTxWarp prst="textNoShape">
              <a:avLst/>
            </a:prstTxWarp>
          </a:bodyPr>
          <a:lstStyle/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9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63" tIns="46863" rIns="46863" bIns="46863" numCol="1" anchor="t" anchorCtr="0" compatLnSpc="1">
            <a:prstTxWarp prst="textNoShape">
              <a:avLst/>
            </a:prstTxWarp>
          </a:bodyPr>
          <a:lstStyle/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Freeform 28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63" tIns="46863" rIns="46863" bIns="46863" numCol="1" anchor="t" anchorCtr="0" compatLnSpc="1">
            <a:prstTxWarp prst="textNoShape">
              <a:avLst/>
            </a:prstTxWarp>
          </a:bodyPr>
          <a:lstStyle/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63" tIns="46863" rIns="46863" bIns="46863" numCol="1" anchor="t" anchorCtr="0" compatLnSpc="1">
            <a:prstTxWarp prst="textNoShape">
              <a:avLst/>
            </a:prstTxWarp>
          </a:bodyPr>
          <a:lstStyle/>
          <a:p>
            <a:pPr defTabSz="59511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511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511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63" tIns="46863" rIns="46863" bIns="46863" numCol="1" anchor="t" anchorCtr="0" compatLnSpc="1">
            <a:prstTxWarp prst="textNoShape">
              <a:avLst/>
            </a:prstTxWarp>
          </a:bodyPr>
          <a:lstStyle/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2" name="TextBox 39"/>
          <p:cNvSpPr txBox="1"/>
          <p:nvPr userDrawn="1"/>
        </p:nvSpPr>
        <p:spPr>
          <a:xfrm>
            <a:off x="9223673" y="6781895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5118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-10960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036" tIns="59518" rIns="119036" bIns="59518" numCol="1" anchor="t" anchorCtr="0" compatLnSpc="1">
            <a:prstTxWarp prst="textNoShape">
              <a:avLst/>
            </a:prstTxWarp>
          </a:bodyPr>
          <a:lstStyle/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-10960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36" tIns="59518" rIns="119036" bIns="59518" numCol="1" anchor="t" anchorCtr="0" compatLnSpc="1">
            <a:prstTxWarp prst="textNoShape">
              <a:avLst/>
            </a:prstTxWarp>
          </a:bodyPr>
          <a:lstStyle/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36" tIns="59518" rIns="119036" bIns="59518" numCol="1" anchor="t" anchorCtr="0" compatLnSpc="1">
            <a:prstTxWarp prst="textNoShape">
              <a:avLst/>
            </a:prstTxWarp>
          </a:bodyPr>
          <a:lstStyle/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195151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36" tIns="59518" rIns="119036" bIns="59518" numCol="1" anchor="t" anchorCtr="0" compatLnSpc="1">
            <a:prstTxWarp prst="textNoShape">
              <a:avLst/>
            </a:prstTxWarp>
          </a:bodyPr>
          <a:lstStyle/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3149540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036" tIns="59518" rIns="119036" bIns="59518" numCol="1" anchor="t" anchorCtr="0" compatLnSpc="1">
            <a:prstTxWarp prst="textNoShape">
              <a:avLst/>
            </a:prstTxWarp>
          </a:bodyPr>
          <a:lstStyle/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3149538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36" tIns="59518" rIns="119036" bIns="59518" numCol="1" anchor="t" anchorCtr="0" compatLnSpc="1">
            <a:prstTxWarp prst="textNoShape">
              <a:avLst/>
            </a:prstTxWarp>
          </a:bodyPr>
          <a:lstStyle/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36" tIns="59518" rIns="119036" bIns="59518" numCol="1" anchor="t" anchorCtr="0" compatLnSpc="1">
            <a:prstTxWarp prst="textNoShape">
              <a:avLst/>
            </a:prstTxWarp>
          </a:bodyPr>
          <a:lstStyle/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511201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36" tIns="59518" rIns="119036" bIns="59518" numCol="1" anchor="t" anchorCtr="0" compatLnSpc="1">
            <a:prstTxWarp prst="textNoShape">
              <a:avLst/>
            </a:prstTxWarp>
          </a:bodyPr>
          <a:lstStyle/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6279959" y="6748315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036" tIns="59518" rIns="119036" bIns="59518" numCol="1" anchor="t" anchorCtr="0" compatLnSpc="1">
            <a:prstTxWarp prst="textNoShape">
              <a:avLst/>
            </a:prstTxWarp>
          </a:bodyPr>
          <a:lstStyle/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36" tIns="59518" rIns="119036" bIns="59518" numCol="1" anchor="t" anchorCtr="0" compatLnSpc="1">
            <a:prstTxWarp prst="textNoShape">
              <a:avLst/>
            </a:prstTxWarp>
          </a:bodyPr>
          <a:lstStyle/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3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36" tIns="59518" rIns="119036" bIns="59518" numCol="1" anchor="t" anchorCtr="0" compatLnSpc="1">
            <a:prstTxWarp prst="textNoShape">
              <a:avLst/>
            </a:prstTxWarp>
          </a:bodyPr>
          <a:lstStyle/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" name="Freeform 5"/>
          <p:cNvSpPr>
            <a:spLocks/>
          </p:cNvSpPr>
          <p:nvPr userDrawn="1"/>
        </p:nvSpPr>
        <p:spPr bwMode="auto">
          <a:xfrm>
            <a:off x="8242436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36" tIns="59518" rIns="119036" bIns="59518" numCol="1" anchor="t" anchorCtr="0" compatLnSpc="1">
            <a:prstTxWarp prst="textNoShape">
              <a:avLst/>
            </a:prstTxWarp>
          </a:bodyPr>
          <a:lstStyle/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57285589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918" r:id="rId1"/>
    <p:sldLayoutId id="2147485919" r:id="rId2"/>
    <p:sldLayoutId id="2147485920" r:id="rId3"/>
    <p:sldLayoutId id="2147485921" r:id="rId4"/>
    <p:sldLayoutId id="2147485922" r:id="rId5"/>
    <p:sldLayoutId id="2147485923" r:id="rId6"/>
    <p:sldLayoutId id="2147485924" r:id="rId7"/>
    <p:sldLayoutId id="2147485925" r:id="rId8"/>
  </p:sldLayoutIdLst>
  <p:hf sldNum="0" hdr="0" ftr="0" dt="0"/>
  <p:txStyles>
    <p:titleStyle>
      <a:lvl1pPr algn="l" defTabSz="595118" rtl="0" eaLnBrk="1" latinLnBrk="0" hangingPunct="1">
        <a:lnSpc>
          <a:spcPts val="5487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A037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705" indent="-239705" algn="l" defTabSz="59511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5272" indent="-229370" algn="l" defTabSz="59511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5272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4646" indent="-229370" algn="l" defTabSz="59511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4646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4024" indent="-229370" algn="l" defTabSz="59511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4024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3393" indent="-229370" algn="l" defTabSz="59511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3393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73213" indent="-297556" algn="l" defTabSz="59511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68335" indent="-297556" algn="l" defTabSz="59511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63459" indent="-297556" algn="l" defTabSz="59511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58589" indent="-297556" algn="l" defTabSz="59511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51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5118" algn="l" defTabSz="5951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90259" algn="l" defTabSz="5951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5387" algn="l" defTabSz="5951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80513" algn="l" defTabSz="5951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75649" algn="l" defTabSz="5951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70773" algn="l" defTabSz="5951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65899" algn="l" defTabSz="5951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61027" algn="l" defTabSz="5951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20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959874748"/>
              </p:ext>
            </p:extLst>
          </p:nvPr>
        </p:nvGraphicFramePr>
        <p:xfrm>
          <a:off x="1589" y="1589"/>
          <a:ext cx="158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17267" name="Slide do think-cell" r:id="rId8" imgW="0" imgH="0" progId="TCLayout.ActiveDocument.1">
                  <p:embed/>
                </p:oleObj>
              </mc:Choice>
              <mc:Fallback>
                <p:oleObj name="Slide do think-cell" r:id="rId8" imgW="0" imgH="0" progId="TCLayout.ActiveDocument.1">
                  <p:embed/>
                  <p:pic>
                    <p:nvPicPr>
                      <p:cNvPr id="0" name="AutoShape 8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9"/>
                        <a:ext cx="158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78" y="1854676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2025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6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4982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81816" y="1855196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4982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81816" y="4207633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4982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53" tIns="46853" rIns="46853" bIns="46853" numCol="1" anchor="t" anchorCtr="0" compatLnSpc="1">
            <a:prstTxWarp prst="textNoShape">
              <a:avLst/>
            </a:prstTxWarp>
          </a:bodyPr>
          <a:lstStyle/>
          <a:p>
            <a:pPr defTabSz="59498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498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498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53" tIns="46853" rIns="46853" bIns="46853" numCol="1" anchor="t" anchorCtr="0" compatLnSpc="1">
            <a:prstTxWarp prst="textNoShape">
              <a:avLst/>
            </a:prstTxWarp>
          </a:bodyPr>
          <a:lstStyle/>
          <a:p>
            <a:pPr defTabSz="59498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498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498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53" tIns="46853" rIns="46853" bIns="46853" numCol="1" anchor="t" anchorCtr="0" compatLnSpc="1">
            <a:prstTxWarp prst="textNoShape">
              <a:avLst/>
            </a:prstTxWarp>
          </a:bodyPr>
          <a:lstStyle/>
          <a:p>
            <a:pPr defTabSz="59498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498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498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53" tIns="46853" rIns="46853" bIns="46853" numCol="1" anchor="t" anchorCtr="0" compatLnSpc="1">
            <a:prstTxWarp prst="textNoShape">
              <a:avLst/>
            </a:prstTxWarp>
          </a:bodyPr>
          <a:lstStyle/>
          <a:p>
            <a:pPr defTabSz="59498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498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498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53" tIns="46853" rIns="46853" bIns="46853" numCol="1" anchor="t" anchorCtr="0" compatLnSpc="1">
            <a:prstTxWarp prst="textNoShape">
              <a:avLst/>
            </a:prstTxWarp>
          </a:bodyPr>
          <a:lstStyle/>
          <a:p>
            <a:pPr defTabSz="59498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498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498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53" tIns="46853" rIns="46853" bIns="46853" numCol="1" anchor="t" anchorCtr="0" compatLnSpc="1">
            <a:prstTxWarp prst="textNoShape">
              <a:avLst/>
            </a:prstTxWarp>
          </a:bodyPr>
          <a:lstStyle/>
          <a:p>
            <a:pPr defTabSz="59498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498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498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53" tIns="46853" rIns="46853" bIns="46853" numCol="1" anchor="t" anchorCtr="0" compatLnSpc="1">
            <a:prstTxWarp prst="textNoShape">
              <a:avLst/>
            </a:prstTxWarp>
          </a:bodyPr>
          <a:lstStyle/>
          <a:p>
            <a:pPr defTabSz="59498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498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498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9223673" y="6781898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4982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10960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009" tIns="59505" rIns="119009" bIns="59505" numCol="1" anchor="t" anchorCtr="0" compatLnSpc="1">
            <a:prstTxWarp prst="textNoShape">
              <a:avLst/>
            </a:prstTxWarp>
          </a:bodyPr>
          <a:lstStyle/>
          <a:p>
            <a:pPr defTabSz="59498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10960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09" tIns="59505" rIns="119009" bIns="59505" numCol="1" anchor="t" anchorCtr="0" compatLnSpc="1">
            <a:prstTxWarp prst="textNoShape">
              <a:avLst/>
            </a:prstTxWarp>
          </a:bodyPr>
          <a:lstStyle/>
          <a:p>
            <a:pPr defTabSz="59498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09" tIns="59505" rIns="119009" bIns="59505" numCol="1" anchor="t" anchorCtr="0" compatLnSpc="1">
            <a:prstTxWarp prst="textNoShape">
              <a:avLst/>
            </a:prstTxWarp>
          </a:bodyPr>
          <a:lstStyle/>
          <a:p>
            <a:pPr defTabSz="59498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95151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09" tIns="59505" rIns="119009" bIns="59505" numCol="1" anchor="t" anchorCtr="0" compatLnSpc="1">
            <a:prstTxWarp prst="textNoShape">
              <a:avLst/>
            </a:prstTxWarp>
          </a:bodyPr>
          <a:lstStyle/>
          <a:p>
            <a:pPr defTabSz="59498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3149540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009" tIns="59505" rIns="119009" bIns="59505" numCol="1" anchor="t" anchorCtr="0" compatLnSpc="1">
            <a:prstTxWarp prst="textNoShape">
              <a:avLst/>
            </a:prstTxWarp>
          </a:bodyPr>
          <a:lstStyle/>
          <a:p>
            <a:pPr defTabSz="59498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3149538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09" tIns="59505" rIns="119009" bIns="59505" numCol="1" anchor="t" anchorCtr="0" compatLnSpc="1">
            <a:prstTxWarp prst="textNoShape">
              <a:avLst/>
            </a:prstTxWarp>
          </a:bodyPr>
          <a:lstStyle/>
          <a:p>
            <a:pPr defTabSz="59498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09" tIns="59505" rIns="119009" bIns="59505" numCol="1" anchor="t" anchorCtr="0" compatLnSpc="1">
            <a:prstTxWarp prst="textNoShape">
              <a:avLst/>
            </a:prstTxWarp>
          </a:bodyPr>
          <a:lstStyle/>
          <a:p>
            <a:pPr defTabSz="59498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511201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09" tIns="59505" rIns="119009" bIns="59505" numCol="1" anchor="t" anchorCtr="0" compatLnSpc="1">
            <a:prstTxWarp prst="textNoShape">
              <a:avLst/>
            </a:prstTxWarp>
          </a:bodyPr>
          <a:lstStyle/>
          <a:p>
            <a:pPr defTabSz="59498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6279959" y="6748315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009" tIns="59505" rIns="119009" bIns="59505" numCol="1" anchor="t" anchorCtr="0" compatLnSpc="1">
            <a:prstTxWarp prst="textNoShape">
              <a:avLst/>
            </a:prstTxWarp>
          </a:bodyPr>
          <a:lstStyle/>
          <a:p>
            <a:pPr defTabSz="59498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09" tIns="59505" rIns="119009" bIns="59505" numCol="1" anchor="t" anchorCtr="0" compatLnSpc="1">
            <a:prstTxWarp prst="textNoShape">
              <a:avLst/>
            </a:prstTxWarp>
          </a:bodyPr>
          <a:lstStyle/>
          <a:p>
            <a:pPr defTabSz="59498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09" tIns="59505" rIns="119009" bIns="59505" numCol="1" anchor="t" anchorCtr="0" compatLnSpc="1">
            <a:prstTxWarp prst="textNoShape">
              <a:avLst/>
            </a:prstTxWarp>
          </a:bodyPr>
          <a:lstStyle/>
          <a:p>
            <a:pPr defTabSz="59498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8242436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09" tIns="59505" rIns="119009" bIns="59505" numCol="1" anchor="t" anchorCtr="0" compatLnSpc="1">
            <a:prstTxWarp prst="textNoShape">
              <a:avLst/>
            </a:prstTxWarp>
          </a:bodyPr>
          <a:lstStyle/>
          <a:p>
            <a:pPr defTabSz="59498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18940402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928" r:id="rId1"/>
    <p:sldLayoutId id="2147485929" r:id="rId2"/>
    <p:sldLayoutId id="2147485930" r:id="rId3"/>
    <p:sldLayoutId id="2147485931" r:id="rId4"/>
  </p:sldLayoutIdLst>
  <p:hf sldNum="0" hdr="0" ftr="0" dt="0"/>
  <p:txStyles>
    <p:titleStyle>
      <a:lvl1pPr algn="l" defTabSz="594982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651" indent="-239651" algn="l" defTabSz="594982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5164" indent="-229318" algn="l" defTabSz="594982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5164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4486" indent="-229318" algn="l" defTabSz="594982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4486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3812" indent="-229318" algn="l" defTabSz="594982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3812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3129" indent="-229318" algn="l" defTabSz="594982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3129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72472" indent="-297490" algn="l" defTabSz="594982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67460" indent="-297490" algn="l" defTabSz="594982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62448" indent="-297490" algn="l" defTabSz="594982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57444" indent="-297490" algn="l" defTabSz="594982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498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4982" algn="l" defTabSz="59498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9989" algn="l" defTabSz="59498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4984" algn="l" defTabSz="59498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9975" algn="l" defTabSz="59498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74977" algn="l" defTabSz="59498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69965" algn="l" defTabSz="59498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64957" algn="l" defTabSz="59498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59949" algn="l" defTabSz="59498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20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2382127736"/>
              </p:ext>
            </p:extLst>
          </p:nvPr>
        </p:nvGraphicFramePr>
        <p:xfrm>
          <a:off x="1589" y="1589"/>
          <a:ext cx="158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19315" name="Slide do think-cell" r:id="rId8" imgW="0" imgH="0" progId="TCLayout.ActiveDocument.1">
                  <p:embed/>
                </p:oleObj>
              </mc:Choice>
              <mc:Fallback>
                <p:oleObj name="Slide do think-cell" r:id="rId8" imgW="0" imgH="0" progId="TCLayout.ActiveDocument.1">
                  <p:embed/>
                  <p:pic>
                    <p:nvPicPr>
                      <p:cNvPr id="0" name="AutoShape 8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9"/>
                        <a:ext cx="158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78" y="1854676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2025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6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4982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81816" y="1855196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4982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81816" y="4207633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4982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53" tIns="46853" rIns="46853" bIns="46853" numCol="1" anchor="t" anchorCtr="0" compatLnSpc="1">
            <a:prstTxWarp prst="textNoShape">
              <a:avLst/>
            </a:prstTxWarp>
          </a:bodyPr>
          <a:lstStyle/>
          <a:p>
            <a:pPr defTabSz="59498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498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498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53" tIns="46853" rIns="46853" bIns="46853" numCol="1" anchor="t" anchorCtr="0" compatLnSpc="1">
            <a:prstTxWarp prst="textNoShape">
              <a:avLst/>
            </a:prstTxWarp>
          </a:bodyPr>
          <a:lstStyle/>
          <a:p>
            <a:pPr defTabSz="59498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498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498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53" tIns="46853" rIns="46853" bIns="46853" numCol="1" anchor="t" anchorCtr="0" compatLnSpc="1">
            <a:prstTxWarp prst="textNoShape">
              <a:avLst/>
            </a:prstTxWarp>
          </a:bodyPr>
          <a:lstStyle/>
          <a:p>
            <a:pPr defTabSz="59498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498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498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53" tIns="46853" rIns="46853" bIns="46853" numCol="1" anchor="t" anchorCtr="0" compatLnSpc="1">
            <a:prstTxWarp prst="textNoShape">
              <a:avLst/>
            </a:prstTxWarp>
          </a:bodyPr>
          <a:lstStyle/>
          <a:p>
            <a:pPr defTabSz="59498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498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498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53" tIns="46853" rIns="46853" bIns="46853" numCol="1" anchor="t" anchorCtr="0" compatLnSpc="1">
            <a:prstTxWarp prst="textNoShape">
              <a:avLst/>
            </a:prstTxWarp>
          </a:bodyPr>
          <a:lstStyle/>
          <a:p>
            <a:pPr defTabSz="59498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498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498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53" tIns="46853" rIns="46853" bIns="46853" numCol="1" anchor="t" anchorCtr="0" compatLnSpc="1">
            <a:prstTxWarp prst="textNoShape">
              <a:avLst/>
            </a:prstTxWarp>
          </a:bodyPr>
          <a:lstStyle/>
          <a:p>
            <a:pPr defTabSz="59498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498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498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53" tIns="46853" rIns="46853" bIns="46853" numCol="1" anchor="t" anchorCtr="0" compatLnSpc="1">
            <a:prstTxWarp prst="textNoShape">
              <a:avLst/>
            </a:prstTxWarp>
          </a:bodyPr>
          <a:lstStyle/>
          <a:p>
            <a:pPr defTabSz="59498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498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4982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9223673" y="6781898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4982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10960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009" tIns="59505" rIns="119009" bIns="59505" numCol="1" anchor="t" anchorCtr="0" compatLnSpc="1">
            <a:prstTxWarp prst="textNoShape">
              <a:avLst/>
            </a:prstTxWarp>
          </a:bodyPr>
          <a:lstStyle/>
          <a:p>
            <a:pPr defTabSz="59498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10960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09" tIns="59505" rIns="119009" bIns="59505" numCol="1" anchor="t" anchorCtr="0" compatLnSpc="1">
            <a:prstTxWarp prst="textNoShape">
              <a:avLst/>
            </a:prstTxWarp>
          </a:bodyPr>
          <a:lstStyle/>
          <a:p>
            <a:pPr defTabSz="59498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09" tIns="59505" rIns="119009" bIns="59505" numCol="1" anchor="t" anchorCtr="0" compatLnSpc="1">
            <a:prstTxWarp prst="textNoShape">
              <a:avLst/>
            </a:prstTxWarp>
          </a:bodyPr>
          <a:lstStyle/>
          <a:p>
            <a:pPr defTabSz="59498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95151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09" tIns="59505" rIns="119009" bIns="59505" numCol="1" anchor="t" anchorCtr="0" compatLnSpc="1">
            <a:prstTxWarp prst="textNoShape">
              <a:avLst/>
            </a:prstTxWarp>
          </a:bodyPr>
          <a:lstStyle/>
          <a:p>
            <a:pPr defTabSz="59498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3149540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009" tIns="59505" rIns="119009" bIns="59505" numCol="1" anchor="t" anchorCtr="0" compatLnSpc="1">
            <a:prstTxWarp prst="textNoShape">
              <a:avLst/>
            </a:prstTxWarp>
          </a:bodyPr>
          <a:lstStyle/>
          <a:p>
            <a:pPr defTabSz="59498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3149538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09" tIns="59505" rIns="119009" bIns="59505" numCol="1" anchor="t" anchorCtr="0" compatLnSpc="1">
            <a:prstTxWarp prst="textNoShape">
              <a:avLst/>
            </a:prstTxWarp>
          </a:bodyPr>
          <a:lstStyle/>
          <a:p>
            <a:pPr defTabSz="59498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09" tIns="59505" rIns="119009" bIns="59505" numCol="1" anchor="t" anchorCtr="0" compatLnSpc="1">
            <a:prstTxWarp prst="textNoShape">
              <a:avLst/>
            </a:prstTxWarp>
          </a:bodyPr>
          <a:lstStyle/>
          <a:p>
            <a:pPr defTabSz="59498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511201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09" tIns="59505" rIns="119009" bIns="59505" numCol="1" anchor="t" anchorCtr="0" compatLnSpc="1">
            <a:prstTxWarp prst="textNoShape">
              <a:avLst/>
            </a:prstTxWarp>
          </a:bodyPr>
          <a:lstStyle/>
          <a:p>
            <a:pPr defTabSz="59498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6279959" y="6748315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009" tIns="59505" rIns="119009" bIns="59505" numCol="1" anchor="t" anchorCtr="0" compatLnSpc="1">
            <a:prstTxWarp prst="textNoShape">
              <a:avLst/>
            </a:prstTxWarp>
          </a:bodyPr>
          <a:lstStyle/>
          <a:p>
            <a:pPr defTabSz="59498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09" tIns="59505" rIns="119009" bIns="59505" numCol="1" anchor="t" anchorCtr="0" compatLnSpc="1">
            <a:prstTxWarp prst="textNoShape">
              <a:avLst/>
            </a:prstTxWarp>
          </a:bodyPr>
          <a:lstStyle/>
          <a:p>
            <a:pPr defTabSz="59498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09" tIns="59505" rIns="119009" bIns="59505" numCol="1" anchor="t" anchorCtr="0" compatLnSpc="1">
            <a:prstTxWarp prst="textNoShape">
              <a:avLst/>
            </a:prstTxWarp>
          </a:bodyPr>
          <a:lstStyle/>
          <a:p>
            <a:pPr defTabSz="59498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8242436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09" tIns="59505" rIns="119009" bIns="59505" numCol="1" anchor="t" anchorCtr="0" compatLnSpc="1">
            <a:prstTxWarp prst="textNoShape">
              <a:avLst/>
            </a:prstTxWarp>
          </a:bodyPr>
          <a:lstStyle/>
          <a:p>
            <a:pPr defTabSz="594982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91537000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934" r:id="rId1"/>
    <p:sldLayoutId id="2147485935" r:id="rId2"/>
    <p:sldLayoutId id="2147485936" r:id="rId3"/>
    <p:sldLayoutId id="2147485937" r:id="rId4"/>
  </p:sldLayoutIdLst>
  <p:hf sldNum="0" hdr="0" ftr="0" dt="0"/>
  <p:txStyles>
    <p:titleStyle>
      <a:lvl1pPr algn="l" defTabSz="594982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651" indent="-239651" algn="l" defTabSz="594982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5164" indent="-229318" algn="l" defTabSz="594982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5164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4486" indent="-229318" algn="l" defTabSz="594982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4486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3812" indent="-229318" algn="l" defTabSz="594982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3812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3129" indent="-229318" algn="l" defTabSz="594982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3129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72472" indent="-297490" algn="l" defTabSz="594982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67460" indent="-297490" algn="l" defTabSz="594982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62448" indent="-297490" algn="l" defTabSz="594982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57444" indent="-297490" algn="l" defTabSz="594982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498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4982" algn="l" defTabSz="59498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9989" algn="l" defTabSz="59498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4984" algn="l" defTabSz="59498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9975" algn="l" defTabSz="59498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74977" algn="l" defTabSz="59498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69965" algn="l" defTabSz="59498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64957" algn="l" defTabSz="59498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59949" algn="l" defTabSz="59498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20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1978" y="358983"/>
            <a:ext cx="7338636" cy="102481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-281816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2886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6" y="1855236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2886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-281816" y="4207633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2886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91" tIns="46691" rIns="46691" bIns="46691" numCol="1" anchor="t" anchorCtr="0" compatLnSpc="1">
            <a:prstTxWarp prst="textNoShape">
              <a:avLst/>
            </a:prstTxWarp>
          </a:bodyPr>
          <a:lstStyle/>
          <a:p>
            <a:pPr defTabSz="592886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2886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2886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16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91" tIns="46691" rIns="46691" bIns="46691" numCol="1" anchor="t" anchorCtr="0" compatLnSpc="1">
            <a:prstTxWarp prst="textNoShape">
              <a:avLst/>
            </a:prstTxWarp>
          </a:bodyPr>
          <a:lstStyle/>
          <a:p>
            <a:pPr defTabSz="592886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2886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2886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91" tIns="46691" rIns="46691" bIns="46691" numCol="1" anchor="t" anchorCtr="0" compatLnSpc="1">
            <a:prstTxWarp prst="textNoShape">
              <a:avLst/>
            </a:prstTxWarp>
          </a:bodyPr>
          <a:lstStyle/>
          <a:p>
            <a:pPr defTabSz="592886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2886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2886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9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91" tIns="46691" rIns="46691" bIns="46691" numCol="1" anchor="t" anchorCtr="0" compatLnSpc="1">
            <a:prstTxWarp prst="textNoShape">
              <a:avLst/>
            </a:prstTxWarp>
          </a:bodyPr>
          <a:lstStyle/>
          <a:p>
            <a:pPr defTabSz="592886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2886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2886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Freeform 28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91" tIns="46691" rIns="46691" bIns="46691" numCol="1" anchor="t" anchorCtr="0" compatLnSpc="1">
            <a:prstTxWarp prst="textNoShape">
              <a:avLst/>
            </a:prstTxWarp>
          </a:bodyPr>
          <a:lstStyle/>
          <a:p>
            <a:pPr defTabSz="592886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2886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2886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91" tIns="46691" rIns="46691" bIns="46691" numCol="1" anchor="t" anchorCtr="0" compatLnSpc="1">
            <a:prstTxWarp prst="textNoShape">
              <a:avLst/>
            </a:prstTxWarp>
          </a:bodyPr>
          <a:lstStyle/>
          <a:p>
            <a:pPr defTabSz="592886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2886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2886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91" tIns="46691" rIns="46691" bIns="46691" numCol="1" anchor="t" anchorCtr="0" compatLnSpc="1">
            <a:prstTxWarp prst="textNoShape">
              <a:avLst/>
            </a:prstTxWarp>
          </a:bodyPr>
          <a:lstStyle/>
          <a:p>
            <a:pPr defTabSz="592886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2886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2886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2" name="TextBox 39"/>
          <p:cNvSpPr txBox="1"/>
          <p:nvPr userDrawn="1"/>
        </p:nvSpPr>
        <p:spPr>
          <a:xfrm>
            <a:off x="9223673" y="6781938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2886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-10960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600" tIns="59301" rIns="118600" bIns="59301" numCol="1" anchor="t" anchorCtr="0" compatLnSpc="1">
            <a:prstTxWarp prst="textNoShape">
              <a:avLst/>
            </a:prstTxWarp>
          </a:bodyPr>
          <a:lstStyle/>
          <a:p>
            <a:pPr defTabSz="592886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-10960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00" tIns="59301" rIns="118600" bIns="59301" numCol="1" anchor="t" anchorCtr="0" compatLnSpc="1">
            <a:prstTxWarp prst="textNoShape">
              <a:avLst/>
            </a:prstTxWarp>
          </a:bodyPr>
          <a:lstStyle/>
          <a:p>
            <a:pPr defTabSz="592886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00" tIns="59301" rIns="118600" bIns="59301" numCol="1" anchor="t" anchorCtr="0" compatLnSpc="1">
            <a:prstTxWarp prst="textNoShape">
              <a:avLst/>
            </a:prstTxWarp>
          </a:bodyPr>
          <a:lstStyle/>
          <a:p>
            <a:pPr defTabSz="592886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195151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00" tIns="59301" rIns="118600" bIns="59301" numCol="1" anchor="t" anchorCtr="0" compatLnSpc="1">
            <a:prstTxWarp prst="textNoShape">
              <a:avLst/>
            </a:prstTxWarp>
          </a:bodyPr>
          <a:lstStyle/>
          <a:p>
            <a:pPr defTabSz="592886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3149540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600" tIns="59301" rIns="118600" bIns="59301" numCol="1" anchor="t" anchorCtr="0" compatLnSpc="1">
            <a:prstTxWarp prst="textNoShape">
              <a:avLst/>
            </a:prstTxWarp>
          </a:bodyPr>
          <a:lstStyle/>
          <a:p>
            <a:pPr defTabSz="592886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3149538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00" tIns="59301" rIns="118600" bIns="59301" numCol="1" anchor="t" anchorCtr="0" compatLnSpc="1">
            <a:prstTxWarp prst="textNoShape">
              <a:avLst/>
            </a:prstTxWarp>
          </a:bodyPr>
          <a:lstStyle/>
          <a:p>
            <a:pPr defTabSz="592886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00" tIns="59301" rIns="118600" bIns="59301" numCol="1" anchor="t" anchorCtr="0" compatLnSpc="1">
            <a:prstTxWarp prst="textNoShape">
              <a:avLst/>
            </a:prstTxWarp>
          </a:bodyPr>
          <a:lstStyle/>
          <a:p>
            <a:pPr defTabSz="592886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511201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00" tIns="59301" rIns="118600" bIns="59301" numCol="1" anchor="t" anchorCtr="0" compatLnSpc="1">
            <a:prstTxWarp prst="textNoShape">
              <a:avLst/>
            </a:prstTxWarp>
          </a:bodyPr>
          <a:lstStyle/>
          <a:p>
            <a:pPr defTabSz="592886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6279959" y="6748315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600" tIns="59301" rIns="118600" bIns="59301" numCol="1" anchor="t" anchorCtr="0" compatLnSpc="1">
            <a:prstTxWarp prst="textNoShape">
              <a:avLst/>
            </a:prstTxWarp>
          </a:bodyPr>
          <a:lstStyle/>
          <a:p>
            <a:pPr defTabSz="592886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00" tIns="59301" rIns="118600" bIns="59301" numCol="1" anchor="t" anchorCtr="0" compatLnSpc="1">
            <a:prstTxWarp prst="textNoShape">
              <a:avLst/>
            </a:prstTxWarp>
          </a:bodyPr>
          <a:lstStyle/>
          <a:p>
            <a:pPr defTabSz="592886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3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00" tIns="59301" rIns="118600" bIns="59301" numCol="1" anchor="t" anchorCtr="0" compatLnSpc="1">
            <a:prstTxWarp prst="textNoShape">
              <a:avLst/>
            </a:prstTxWarp>
          </a:bodyPr>
          <a:lstStyle/>
          <a:p>
            <a:pPr defTabSz="592886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" name="Freeform 5"/>
          <p:cNvSpPr>
            <a:spLocks/>
          </p:cNvSpPr>
          <p:nvPr userDrawn="1"/>
        </p:nvSpPr>
        <p:spPr bwMode="auto">
          <a:xfrm>
            <a:off x="8242436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00" tIns="59301" rIns="118600" bIns="59301" numCol="1" anchor="t" anchorCtr="0" compatLnSpc="1">
            <a:prstTxWarp prst="textNoShape">
              <a:avLst/>
            </a:prstTxWarp>
          </a:bodyPr>
          <a:lstStyle/>
          <a:p>
            <a:pPr defTabSz="592886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5412467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941" r:id="rId1"/>
    <p:sldLayoutId id="2147485942" r:id="rId2"/>
    <p:sldLayoutId id="2147485943" r:id="rId3"/>
    <p:sldLayoutId id="2147485944" r:id="rId4"/>
    <p:sldLayoutId id="2147485945" r:id="rId5"/>
    <p:sldLayoutId id="2147485946" r:id="rId6"/>
    <p:sldLayoutId id="2147485947" r:id="rId7"/>
    <p:sldLayoutId id="2147485948" r:id="rId8"/>
  </p:sldLayoutIdLst>
  <p:hf sldNum="0" hdr="0" ftr="0" dt="0"/>
  <p:txStyles>
    <p:titleStyle>
      <a:lvl1pPr algn="l" defTabSz="592886" rtl="0" eaLnBrk="1" latinLnBrk="0" hangingPunct="1">
        <a:lnSpc>
          <a:spcPts val="5487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A037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8812" indent="-238812" algn="l" defTabSz="592886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3502" indent="-228513" algn="l" defTabSz="592886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3502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2018" indent="-228513" algn="l" defTabSz="592886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2018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0539" indent="-228513" algn="l" defTabSz="592886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0539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59040" indent="-228513" algn="l" defTabSz="592886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59040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61008" indent="-296438" algn="l" defTabSz="592886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53914" indent="-296438" algn="l" defTabSz="592886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46826" indent="-296438" algn="l" defTabSz="592886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39734" indent="-296438" algn="l" defTabSz="592886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2886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2886" algn="l" defTabSz="592886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5820" algn="l" defTabSz="592886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78738" algn="l" defTabSz="592886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1646" algn="l" defTabSz="592886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64556" algn="l" defTabSz="592886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57459" algn="l" defTabSz="592886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50372" algn="l" defTabSz="592886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43286" algn="l" defTabSz="592886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20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78" y="1854632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Click to edit Master text styles</a:t>
            </a:r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Second level</a:t>
            </a:r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Third level</a:t>
            </a:r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Fourth level</a:t>
            </a:r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Fifth 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1982" y="358899"/>
            <a:ext cx="10725159" cy="102481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lvl="0">
              <a:lnSpc>
                <a:spcPct val="100000"/>
              </a:lnSpc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47" name="TextBox 46"/>
          <p:cNvSpPr txBox="1"/>
          <p:nvPr userDrawn="1"/>
        </p:nvSpPr>
        <p:spPr>
          <a:xfrm>
            <a:off x="-281816" y="7363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7219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Oi 42pt</a:t>
            </a:r>
          </a:p>
        </p:txBody>
      </p:sp>
      <p:sp>
        <p:nvSpPr>
          <p:cNvPr id="48" name="TextBox 47"/>
          <p:cNvSpPr txBox="1"/>
          <p:nvPr userDrawn="1"/>
        </p:nvSpPr>
        <p:spPr>
          <a:xfrm>
            <a:off x="-281816" y="1855153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7219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49" name="TextBox 48"/>
          <p:cNvSpPr txBox="1"/>
          <p:nvPr userDrawn="1"/>
        </p:nvSpPr>
        <p:spPr>
          <a:xfrm>
            <a:off x="-281816" y="4207633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50" name="Freeform 5"/>
          <p:cNvSpPr>
            <a:spLocks/>
          </p:cNvSpPr>
          <p:nvPr userDrawn="1"/>
        </p:nvSpPr>
        <p:spPr bwMode="auto">
          <a:xfrm>
            <a:off x="11944818" y="3078502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26" tIns="47026" rIns="47026" bIns="47026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51" name="Freeform 50"/>
          <p:cNvSpPr>
            <a:spLocks/>
          </p:cNvSpPr>
          <p:nvPr userDrawn="1"/>
        </p:nvSpPr>
        <p:spPr bwMode="auto">
          <a:xfrm>
            <a:off x="11944818" y="2513906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26" tIns="47026" rIns="47026" bIns="47026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4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52" name="Freeform 5"/>
          <p:cNvSpPr>
            <a:spLocks/>
          </p:cNvSpPr>
          <p:nvPr userDrawn="1"/>
        </p:nvSpPr>
        <p:spPr bwMode="auto">
          <a:xfrm>
            <a:off x="11944818" y="1949310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26" tIns="47026" rIns="47026" bIns="47026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9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53" name="Freeform 5"/>
          <p:cNvSpPr>
            <a:spLocks/>
          </p:cNvSpPr>
          <p:nvPr userDrawn="1"/>
        </p:nvSpPr>
        <p:spPr bwMode="auto">
          <a:xfrm>
            <a:off x="11944818" y="1384714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26" tIns="47026" rIns="47026" bIns="47026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0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54" name="Freeform 53"/>
          <p:cNvSpPr>
            <a:spLocks/>
          </p:cNvSpPr>
          <p:nvPr userDrawn="1"/>
        </p:nvSpPr>
        <p:spPr bwMode="auto">
          <a:xfrm>
            <a:off x="11944818" y="820118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26" tIns="47026" rIns="47026" bIns="47026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140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55" name="Freeform 5"/>
          <p:cNvSpPr>
            <a:spLocks/>
          </p:cNvSpPr>
          <p:nvPr userDrawn="1"/>
        </p:nvSpPr>
        <p:spPr bwMode="auto">
          <a:xfrm>
            <a:off x="11944818" y="258726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26" tIns="47026" rIns="47026" bIns="47026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721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721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56" name="Freeform 5"/>
          <p:cNvSpPr>
            <a:spLocks/>
          </p:cNvSpPr>
          <p:nvPr userDrawn="1"/>
        </p:nvSpPr>
        <p:spPr bwMode="auto">
          <a:xfrm>
            <a:off x="11944818" y="3643098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26" tIns="47026" rIns="47026" bIns="47026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57" name="Freeform 5"/>
          <p:cNvSpPr>
            <a:spLocks/>
          </p:cNvSpPr>
          <p:nvPr userDrawn="1"/>
        </p:nvSpPr>
        <p:spPr bwMode="auto">
          <a:xfrm>
            <a:off x="11949114" y="4301731"/>
            <a:ext cx="424105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8" name="Freeform 5"/>
          <p:cNvSpPr>
            <a:spLocks/>
          </p:cNvSpPr>
          <p:nvPr userDrawn="1"/>
        </p:nvSpPr>
        <p:spPr bwMode="auto">
          <a:xfrm>
            <a:off x="11949112" y="4493138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9" name="Freeform 5"/>
          <p:cNvSpPr>
            <a:spLocks/>
          </p:cNvSpPr>
          <p:nvPr userDrawn="1"/>
        </p:nvSpPr>
        <p:spPr bwMode="auto">
          <a:xfrm>
            <a:off x="12102362" y="4493135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0" name="Freeform 5"/>
          <p:cNvSpPr>
            <a:spLocks/>
          </p:cNvSpPr>
          <p:nvPr userDrawn="1"/>
        </p:nvSpPr>
        <p:spPr bwMode="auto">
          <a:xfrm>
            <a:off x="12255608" y="4493134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1" name="Freeform 5"/>
          <p:cNvSpPr>
            <a:spLocks/>
          </p:cNvSpPr>
          <p:nvPr userDrawn="1"/>
        </p:nvSpPr>
        <p:spPr bwMode="auto">
          <a:xfrm>
            <a:off x="11949114" y="4775432"/>
            <a:ext cx="424105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2" name="Freeform 5"/>
          <p:cNvSpPr>
            <a:spLocks/>
          </p:cNvSpPr>
          <p:nvPr userDrawn="1"/>
        </p:nvSpPr>
        <p:spPr bwMode="auto">
          <a:xfrm>
            <a:off x="11949112" y="4982131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3" name="Freeform 5"/>
          <p:cNvSpPr>
            <a:spLocks/>
          </p:cNvSpPr>
          <p:nvPr userDrawn="1"/>
        </p:nvSpPr>
        <p:spPr bwMode="auto">
          <a:xfrm>
            <a:off x="12102362" y="4982128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4" name="Freeform 5"/>
          <p:cNvSpPr>
            <a:spLocks/>
          </p:cNvSpPr>
          <p:nvPr userDrawn="1"/>
        </p:nvSpPr>
        <p:spPr bwMode="auto">
          <a:xfrm>
            <a:off x="12255608" y="4982127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5" name="Freeform 5"/>
          <p:cNvSpPr>
            <a:spLocks/>
          </p:cNvSpPr>
          <p:nvPr userDrawn="1"/>
        </p:nvSpPr>
        <p:spPr bwMode="auto">
          <a:xfrm>
            <a:off x="11949114" y="5245930"/>
            <a:ext cx="424105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6" name="Freeform 5"/>
          <p:cNvSpPr>
            <a:spLocks/>
          </p:cNvSpPr>
          <p:nvPr userDrawn="1"/>
        </p:nvSpPr>
        <p:spPr bwMode="auto">
          <a:xfrm>
            <a:off x="11949112" y="5437334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7" name="Freeform 5"/>
          <p:cNvSpPr>
            <a:spLocks/>
          </p:cNvSpPr>
          <p:nvPr userDrawn="1"/>
        </p:nvSpPr>
        <p:spPr bwMode="auto">
          <a:xfrm>
            <a:off x="12102362" y="5437333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8" name="Freeform 5"/>
          <p:cNvSpPr>
            <a:spLocks/>
          </p:cNvSpPr>
          <p:nvPr userDrawn="1"/>
        </p:nvSpPr>
        <p:spPr bwMode="auto">
          <a:xfrm>
            <a:off x="12255608" y="5437333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9" name="TextBox 39"/>
          <p:cNvSpPr txBox="1"/>
          <p:nvPr userDrawn="1"/>
        </p:nvSpPr>
        <p:spPr>
          <a:xfrm>
            <a:off x="11949112" y="5619122"/>
            <a:ext cx="621766" cy="86593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7219" fontAlgn="auto">
              <a:spcBef>
                <a:spcPts val="1045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 de cores (usar apenas 2 cores dos esquemas abaixo)</a:t>
            </a:r>
          </a:p>
        </p:txBody>
      </p:sp>
      <p:sp>
        <p:nvSpPr>
          <p:cNvPr id="43" name="Freeform 5"/>
          <p:cNvSpPr>
            <a:spLocks/>
          </p:cNvSpPr>
          <p:nvPr userDrawn="1"/>
        </p:nvSpPr>
        <p:spPr bwMode="auto">
          <a:xfrm>
            <a:off x="12411753" y="25872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BD78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" name="Freeform 5"/>
          <p:cNvSpPr>
            <a:spLocks/>
          </p:cNvSpPr>
          <p:nvPr userDrawn="1"/>
        </p:nvSpPr>
        <p:spPr bwMode="auto">
          <a:xfrm>
            <a:off x="12411753" y="537757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7A23C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0" name="Freeform 5"/>
          <p:cNvSpPr>
            <a:spLocks/>
          </p:cNvSpPr>
          <p:nvPr userDrawn="1"/>
        </p:nvSpPr>
        <p:spPr bwMode="auto">
          <a:xfrm>
            <a:off x="12411753" y="86222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86DB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1" name="Freeform 5"/>
          <p:cNvSpPr>
            <a:spLocks/>
          </p:cNvSpPr>
          <p:nvPr userDrawn="1"/>
        </p:nvSpPr>
        <p:spPr bwMode="auto">
          <a:xfrm>
            <a:off x="12411753" y="113250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B51F7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2" name="Freeform 71"/>
          <p:cNvSpPr>
            <a:spLocks/>
          </p:cNvSpPr>
          <p:nvPr userDrawn="1"/>
        </p:nvSpPr>
        <p:spPr bwMode="auto">
          <a:xfrm>
            <a:off x="12411753" y="144158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95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3" name="Freeform 5"/>
          <p:cNvSpPr>
            <a:spLocks/>
          </p:cNvSpPr>
          <p:nvPr userDrawn="1"/>
        </p:nvSpPr>
        <p:spPr bwMode="auto">
          <a:xfrm>
            <a:off x="12411753" y="171186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CC52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4" name="Freeform 5"/>
          <p:cNvSpPr>
            <a:spLocks/>
          </p:cNvSpPr>
          <p:nvPr userDrawn="1"/>
        </p:nvSpPr>
        <p:spPr bwMode="auto">
          <a:xfrm>
            <a:off x="12411753" y="200887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C8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5" name="Freeform 5"/>
          <p:cNvSpPr>
            <a:spLocks/>
          </p:cNvSpPr>
          <p:nvPr userDrawn="1"/>
        </p:nvSpPr>
        <p:spPr bwMode="auto">
          <a:xfrm>
            <a:off x="12411753" y="227915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CCC6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6" name="Freeform 5"/>
          <p:cNvSpPr>
            <a:spLocks/>
          </p:cNvSpPr>
          <p:nvPr userDrawn="1"/>
        </p:nvSpPr>
        <p:spPr bwMode="auto">
          <a:xfrm>
            <a:off x="12411753" y="256409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69D17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7" name="Freeform 5"/>
          <p:cNvSpPr>
            <a:spLocks/>
          </p:cNvSpPr>
          <p:nvPr userDrawn="1"/>
        </p:nvSpPr>
        <p:spPr bwMode="auto">
          <a:xfrm>
            <a:off x="12411753" y="283437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9E0B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8" name="Freeform 5"/>
          <p:cNvSpPr>
            <a:spLocks/>
          </p:cNvSpPr>
          <p:nvPr userDrawn="1"/>
        </p:nvSpPr>
        <p:spPr bwMode="auto">
          <a:xfrm>
            <a:off x="12411753" y="3155524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E6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9" name="Freeform 5"/>
          <p:cNvSpPr>
            <a:spLocks/>
          </p:cNvSpPr>
          <p:nvPr userDrawn="1"/>
        </p:nvSpPr>
        <p:spPr bwMode="auto">
          <a:xfrm>
            <a:off x="12411753" y="342580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AFC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80" name="Freeform 5"/>
          <p:cNvSpPr>
            <a:spLocks/>
          </p:cNvSpPr>
          <p:nvPr userDrawn="1"/>
        </p:nvSpPr>
        <p:spPr bwMode="auto">
          <a:xfrm>
            <a:off x="12411753" y="3734884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DEDEDE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81" name="Freeform 5"/>
          <p:cNvSpPr>
            <a:spLocks/>
          </p:cNvSpPr>
          <p:nvPr userDrawn="1"/>
        </p:nvSpPr>
        <p:spPr bwMode="auto">
          <a:xfrm>
            <a:off x="12411753" y="400516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9C9C9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 dirty="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7261984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951" r:id="rId1"/>
    <p:sldLayoutId id="2147485952" r:id="rId2"/>
    <p:sldLayoutId id="2147485953" r:id="rId3"/>
  </p:sldLayoutIdLst>
  <p:hf hdr="0" dt="0"/>
  <p:txStyles>
    <p:titleStyle>
      <a:lvl1pPr algn="l" defTabSz="597219" rtl="0" eaLnBrk="1" latinLnBrk="0" hangingPunct="1">
        <a:lnSpc>
          <a:spcPts val="5487"/>
        </a:lnSpc>
        <a:spcBef>
          <a:spcPct val="0"/>
        </a:spcBef>
        <a:spcAft>
          <a:spcPts val="0"/>
        </a:spcAft>
        <a:buNone/>
        <a:defRPr lang="en-US" sz="5500" b="0" i="0" kern="1200" noProof="0" dirty="0">
          <a:solidFill>
            <a:srgbClr val="A037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40546" indent="-240546" algn="l" defTabSz="59721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6946" indent="-230179" algn="l" defTabSz="59721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6946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7125" indent="-230179" algn="l" defTabSz="59721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7125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7305" indent="-230179" algn="l" defTabSz="59721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7305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7484" indent="-230179" algn="l" defTabSz="59721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7484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84715" indent="-298610" algn="l" defTabSz="597219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81934" indent="-298610" algn="l" defTabSz="597219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79153" indent="-298610" algn="l" defTabSz="597219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76374" indent="-298610" algn="l" defTabSz="597219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721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7219" algn="l" defTabSz="59721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94441" algn="l" defTabSz="59721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91662" algn="l" defTabSz="59721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88881" algn="l" defTabSz="59721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86104" algn="l" defTabSz="59721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83323" algn="l" defTabSz="59721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80544" algn="l" defTabSz="59721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77763" algn="l" defTabSz="59721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20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135542169"/>
              </p:ext>
            </p:extLst>
          </p:nvPr>
        </p:nvGraphicFramePr>
        <p:xfrm>
          <a:off x="0" y="2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24434" name="Slide do think-cell" r:id="rId14" imgW="0" imgH="0" progId="TCLayout.ActiveDocument.1">
                  <p:embed/>
                </p:oleObj>
              </mc:Choice>
              <mc:Fallback>
                <p:oleObj name="Slide do think-cell" r:id="rId14" imgW="0" imgH="0" progId="TCLayout.ActiveDocument.1">
                  <p:embed/>
                  <p:pic>
                    <p:nvPicPr>
                      <p:cNvPr id="0" name="AutoShape 8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2"/>
                        <a:ext cx="211676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10776431" y="36518"/>
            <a:ext cx="876339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88122"/>
            <a:endParaRPr lang="pt-BR" sz="8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10519874" y="1932900"/>
            <a:ext cx="267220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10682583" y="4106726"/>
            <a:ext cx="234679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936841" y="1951039"/>
            <a:ext cx="5736421" cy="11060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ext styles</a:t>
            </a:r>
          </a:p>
          <a:p>
            <a:pPr lvl="1"/>
            <a:r>
              <a:rPr lang="pt-BR" noProof="0" smtClean="0"/>
              <a:t>Second level</a:t>
            </a:r>
          </a:p>
          <a:p>
            <a:pPr lvl="2"/>
            <a:r>
              <a:rPr lang="pt-BR" noProof="0" smtClean="0"/>
              <a:t>Third level</a:t>
            </a:r>
          </a:p>
          <a:p>
            <a:pPr lvl="3"/>
            <a:r>
              <a:rPr lang="pt-BR" noProof="0" smtClean="0"/>
              <a:t>Fourth level</a:t>
            </a:r>
          </a:p>
          <a:p>
            <a:pPr lvl="4"/>
            <a:r>
              <a:rPr lang="pt-BR" noProof="0" smtClean="0"/>
              <a:t>Fifth level</a:t>
            </a:r>
            <a:endParaRPr lang="pt-BR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211676" y="230280"/>
            <a:ext cx="10530036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58852" y="26992"/>
            <a:ext cx="886083" cy="2212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pt-BR" sz="1400" smtClean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TRACKER</a:t>
            </a:r>
            <a:endParaRPr lang="pt-BR" sz="1400" dirty="0">
              <a:solidFill>
                <a:srgbClr val="80808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58874" y="621826"/>
            <a:ext cx="11491891" cy="281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pt-BR" sz="1800" smtClean="0">
                <a:solidFill>
                  <a:srgbClr val="D5E7FF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Unit of measure</a:t>
            </a:r>
            <a:endParaRPr lang="pt-BR" sz="1800" dirty="0" smtClean="0">
              <a:solidFill>
                <a:srgbClr val="D5E7FF">
                  <a:lumMod val="75000"/>
                </a:srgbClr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158758" y="6265673"/>
            <a:ext cx="11398753" cy="358776"/>
            <a:chOff x="75" y="3877"/>
            <a:chExt cx="5385" cy="226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877"/>
              <a:ext cx="5385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pt-BR" sz="100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1 Footnote</a:t>
              </a:r>
              <a:endParaRPr lang="pt-BR" sz="1000" dirty="0" smtClean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06"/>
              <a:ext cx="4323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t" anchorCtr="0">
              <a:spAutoFit/>
            </a:bodyPr>
            <a:lstStyle/>
            <a:p>
              <a:pPr marL="604708" indent="-604708" defTabSz="888122">
                <a:tabLst>
                  <a:tab pos="607838" algn="l"/>
                </a:tabLst>
              </a:pPr>
              <a:r>
                <a:rPr lang="pt-BR" sz="1000" dirty="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FONTE: </a:t>
              </a:r>
              <a:r>
                <a:rPr lang="pt-BR" sz="1000" dirty="0" err="1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ource</a:t>
              </a:r>
              <a:endParaRPr lang="pt-BR" sz="1000" dirty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936840" y="1123953"/>
            <a:ext cx="5685618" cy="511174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 hidden="1"/>
            <p:cNvSpPr>
              <a:spLocks noChangeArrowheads="1"/>
            </p:cNvSpPr>
            <p:nvPr/>
          </p:nvSpPr>
          <p:spPr bwMode="auto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pt-BR" b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itle</a:t>
              </a:r>
            </a:p>
            <a:p>
              <a:r>
                <a:rPr lang="pt-BR" smtClean="0">
                  <a:solidFill>
                    <a:srgbClr val="80808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Unit of measure</a:t>
              </a:r>
              <a:endParaRPr lang="pt-BR" dirty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28" name="Group 27"/>
          <p:cNvGrpSpPr/>
          <p:nvPr userDrawn="1"/>
        </p:nvGrpSpPr>
        <p:grpSpPr>
          <a:xfrm>
            <a:off x="11335740" y="60963"/>
            <a:ext cx="613376" cy="655256"/>
            <a:chOff x="5526523" y="2325890"/>
            <a:chExt cx="3423032" cy="3656747"/>
          </a:xfrm>
        </p:grpSpPr>
        <p:sp>
          <p:nvSpPr>
            <p:cNvPr id="29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30" name="Group 29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31" name="Donut 30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2" name="Oval 31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3" name="Oval 32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7666363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955" r:id="rId1"/>
    <p:sldLayoutId id="2147485956" r:id="rId2"/>
    <p:sldLayoutId id="2147485957" r:id="rId3"/>
    <p:sldLayoutId id="2147485958" r:id="rId4"/>
    <p:sldLayoutId id="2147485959" r:id="rId5"/>
    <p:sldLayoutId id="2147485960" r:id="rId6"/>
    <p:sldLayoutId id="2147485961" r:id="rId7"/>
    <p:sldLayoutId id="2147485962" r:id="rId8"/>
    <p:sldLayoutId id="2147485963" r:id="rId9"/>
    <p:sldLayoutId id="2147485964" r:id="rId10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defTabSz="888122" rtl="0" eaLnBrk="1" fontAlgn="base" hangingPunct="1">
        <a:spcBef>
          <a:spcPct val="0"/>
        </a:spcBef>
        <a:spcAft>
          <a:spcPct val="0"/>
        </a:spcAft>
        <a:tabLst>
          <a:tab pos="267717" algn="l"/>
        </a:tabLst>
        <a:defRPr lang="en-US" sz="2000" b="1" baseline="0" noProof="0" dirty="0" smtClean="0">
          <a:solidFill>
            <a:schemeClr val="accent4"/>
          </a:solidFill>
          <a:latin typeface="Arial" panose="020B0604020202020204" pitchFamily="34" charset="0"/>
          <a:ea typeface="+mj-ea"/>
          <a:cs typeface="Arial" panose="020B0604020202020204" pitchFamily="34" charset="0"/>
          <a:sym typeface="Arial" panose="020B0604020202020204" pitchFamily="34" charset="0"/>
        </a:defRPr>
      </a:lvl1pPr>
      <a:lvl2pPr algn="l" defTabSz="888122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2pPr>
      <a:lvl3pPr algn="l" defTabSz="888122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3pPr>
      <a:lvl4pPr algn="l" defTabSz="888122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4pPr>
      <a:lvl5pPr algn="l" defTabSz="888122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5pPr>
      <a:lvl6pPr marL="453541" algn="l" defTabSz="888122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6pPr>
      <a:lvl7pPr marL="907033" algn="l" defTabSz="888122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7pPr>
      <a:lvl8pPr marL="1360533" algn="l" defTabSz="888122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8pPr>
      <a:lvl9pPr marL="1814054" algn="l" defTabSz="888122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88122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400" baseline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1pPr>
      <a:lvl2pPr marL="192136" indent="-192136" algn="l" defTabSz="888122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15000"/>
        <a:buFont typeface="Simplon BP Regular" pitchFamily="2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2pPr>
      <a:lvl3pPr marL="453541" indent="-259802" algn="l" defTabSz="888122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charset="0"/>
        <a:buChar char="–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3pPr>
      <a:lvl4pPr marL="609410" indent="-154354" algn="l" defTabSz="888122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pitchFamily="34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4pPr>
      <a:lvl5pPr marL="743745" indent="-129129" algn="l" defTabSz="888122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89000"/>
        <a:buFont typeface="Arial" charset="0"/>
        <a:buChar char="-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5pPr>
      <a:lvl6pPr marL="743745" indent="-129129" algn="l" defTabSz="88812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3745" indent="-129129" algn="l" defTabSz="88812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3745" indent="-129129" algn="l" defTabSz="88812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3745" indent="-129129" algn="l" defTabSz="88812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0703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3541" algn="l" defTabSz="90703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07033" algn="l" defTabSz="90703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0533" algn="l" defTabSz="90703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14054" algn="l" defTabSz="90703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67564" algn="l" defTabSz="90703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21069" algn="l" defTabSz="90703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74587" algn="l" defTabSz="90703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28102" algn="l" defTabSz="90703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0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1978" y="358940"/>
            <a:ext cx="7338636" cy="102481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-281816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511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6" y="1855193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511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-281816" y="4207633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63" tIns="46863" rIns="46863" bIns="46863" numCol="1" anchor="t" anchorCtr="0" compatLnSpc="1">
            <a:prstTxWarp prst="textNoShape">
              <a:avLst/>
            </a:prstTxWarp>
          </a:bodyPr>
          <a:lstStyle/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16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63" tIns="46863" rIns="46863" bIns="46863" numCol="1" anchor="t" anchorCtr="0" compatLnSpc="1">
            <a:prstTxWarp prst="textNoShape">
              <a:avLst/>
            </a:prstTxWarp>
          </a:bodyPr>
          <a:lstStyle/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63" tIns="46863" rIns="46863" bIns="46863" numCol="1" anchor="t" anchorCtr="0" compatLnSpc="1">
            <a:prstTxWarp prst="textNoShape">
              <a:avLst/>
            </a:prstTxWarp>
          </a:bodyPr>
          <a:lstStyle/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9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63" tIns="46863" rIns="46863" bIns="46863" numCol="1" anchor="t" anchorCtr="0" compatLnSpc="1">
            <a:prstTxWarp prst="textNoShape">
              <a:avLst/>
            </a:prstTxWarp>
          </a:bodyPr>
          <a:lstStyle/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Freeform 28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63" tIns="46863" rIns="46863" bIns="46863" numCol="1" anchor="t" anchorCtr="0" compatLnSpc="1">
            <a:prstTxWarp prst="textNoShape">
              <a:avLst/>
            </a:prstTxWarp>
          </a:bodyPr>
          <a:lstStyle/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63" tIns="46863" rIns="46863" bIns="46863" numCol="1" anchor="t" anchorCtr="0" compatLnSpc="1">
            <a:prstTxWarp prst="textNoShape">
              <a:avLst/>
            </a:prstTxWarp>
          </a:bodyPr>
          <a:lstStyle/>
          <a:p>
            <a:pPr defTabSz="59511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511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511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63" tIns="46863" rIns="46863" bIns="46863" numCol="1" anchor="t" anchorCtr="0" compatLnSpc="1">
            <a:prstTxWarp prst="textNoShape">
              <a:avLst/>
            </a:prstTxWarp>
          </a:bodyPr>
          <a:lstStyle/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2" name="TextBox 39"/>
          <p:cNvSpPr txBox="1"/>
          <p:nvPr userDrawn="1"/>
        </p:nvSpPr>
        <p:spPr>
          <a:xfrm>
            <a:off x="9223673" y="6781895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5118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-10960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036" tIns="59518" rIns="119036" bIns="59518" numCol="1" anchor="t" anchorCtr="0" compatLnSpc="1">
            <a:prstTxWarp prst="textNoShape">
              <a:avLst/>
            </a:prstTxWarp>
          </a:bodyPr>
          <a:lstStyle/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-10960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36" tIns="59518" rIns="119036" bIns="59518" numCol="1" anchor="t" anchorCtr="0" compatLnSpc="1">
            <a:prstTxWarp prst="textNoShape">
              <a:avLst/>
            </a:prstTxWarp>
          </a:bodyPr>
          <a:lstStyle/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36" tIns="59518" rIns="119036" bIns="59518" numCol="1" anchor="t" anchorCtr="0" compatLnSpc="1">
            <a:prstTxWarp prst="textNoShape">
              <a:avLst/>
            </a:prstTxWarp>
          </a:bodyPr>
          <a:lstStyle/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195151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36" tIns="59518" rIns="119036" bIns="59518" numCol="1" anchor="t" anchorCtr="0" compatLnSpc="1">
            <a:prstTxWarp prst="textNoShape">
              <a:avLst/>
            </a:prstTxWarp>
          </a:bodyPr>
          <a:lstStyle/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3149540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036" tIns="59518" rIns="119036" bIns="59518" numCol="1" anchor="t" anchorCtr="0" compatLnSpc="1">
            <a:prstTxWarp prst="textNoShape">
              <a:avLst/>
            </a:prstTxWarp>
          </a:bodyPr>
          <a:lstStyle/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3149538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36" tIns="59518" rIns="119036" bIns="59518" numCol="1" anchor="t" anchorCtr="0" compatLnSpc="1">
            <a:prstTxWarp prst="textNoShape">
              <a:avLst/>
            </a:prstTxWarp>
          </a:bodyPr>
          <a:lstStyle/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36" tIns="59518" rIns="119036" bIns="59518" numCol="1" anchor="t" anchorCtr="0" compatLnSpc="1">
            <a:prstTxWarp prst="textNoShape">
              <a:avLst/>
            </a:prstTxWarp>
          </a:bodyPr>
          <a:lstStyle/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511201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36" tIns="59518" rIns="119036" bIns="59518" numCol="1" anchor="t" anchorCtr="0" compatLnSpc="1">
            <a:prstTxWarp prst="textNoShape">
              <a:avLst/>
            </a:prstTxWarp>
          </a:bodyPr>
          <a:lstStyle/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6279959" y="6748315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036" tIns="59518" rIns="119036" bIns="59518" numCol="1" anchor="t" anchorCtr="0" compatLnSpc="1">
            <a:prstTxWarp prst="textNoShape">
              <a:avLst/>
            </a:prstTxWarp>
          </a:bodyPr>
          <a:lstStyle/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36" tIns="59518" rIns="119036" bIns="59518" numCol="1" anchor="t" anchorCtr="0" compatLnSpc="1">
            <a:prstTxWarp prst="textNoShape">
              <a:avLst/>
            </a:prstTxWarp>
          </a:bodyPr>
          <a:lstStyle/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3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36" tIns="59518" rIns="119036" bIns="59518" numCol="1" anchor="t" anchorCtr="0" compatLnSpc="1">
            <a:prstTxWarp prst="textNoShape">
              <a:avLst/>
            </a:prstTxWarp>
          </a:bodyPr>
          <a:lstStyle/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" name="Freeform 5"/>
          <p:cNvSpPr>
            <a:spLocks/>
          </p:cNvSpPr>
          <p:nvPr userDrawn="1"/>
        </p:nvSpPr>
        <p:spPr bwMode="auto">
          <a:xfrm>
            <a:off x="8242436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36" tIns="59518" rIns="119036" bIns="59518" numCol="1" anchor="t" anchorCtr="0" compatLnSpc="1">
            <a:prstTxWarp prst="textNoShape">
              <a:avLst/>
            </a:prstTxWarp>
          </a:bodyPr>
          <a:lstStyle/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9533196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967" r:id="rId1"/>
    <p:sldLayoutId id="2147485968" r:id="rId2"/>
    <p:sldLayoutId id="2147485969" r:id="rId3"/>
    <p:sldLayoutId id="2147485970" r:id="rId4"/>
    <p:sldLayoutId id="2147485971" r:id="rId5"/>
    <p:sldLayoutId id="2147485972" r:id="rId6"/>
    <p:sldLayoutId id="2147485973" r:id="rId7"/>
    <p:sldLayoutId id="2147485974" r:id="rId8"/>
  </p:sldLayoutIdLst>
  <p:hf sldNum="0" hdr="0" ftr="0" dt="0"/>
  <p:txStyles>
    <p:titleStyle>
      <a:lvl1pPr algn="l" defTabSz="595118" rtl="0" eaLnBrk="1" latinLnBrk="0" hangingPunct="1">
        <a:lnSpc>
          <a:spcPts val="5487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A037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705" indent="-239705" algn="l" defTabSz="59511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5272" indent="-229370" algn="l" defTabSz="59511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5272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4646" indent="-229370" algn="l" defTabSz="59511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4646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4024" indent="-229370" algn="l" defTabSz="59511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4024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3393" indent="-229370" algn="l" defTabSz="59511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3393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73213" indent="-297556" algn="l" defTabSz="59511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68335" indent="-297556" algn="l" defTabSz="59511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63459" indent="-297556" algn="l" defTabSz="59511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58589" indent="-297556" algn="l" defTabSz="59511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51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5118" algn="l" defTabSz="5951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90259" algn="l" defTabSz="5951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5387" algn="l" defTabSz="5951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80513" algn="l" defTabSz="5951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75649" algn="l" defTabSz="5951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70773" algn="l" defTabSz="5951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65899" algn="l" defTabSz="5951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61027" algn="l" defTabSz="5951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20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1978" y="358940"/>
            <a:ext cx="7338636" cy="102481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-281816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511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6" y="1855193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511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-281816" y="4207633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63" tIns="46863" rIns="46863" bIns="46863" numCol="1" anchor="t" anchorCtr="0" compatLnSpc="1">
            <a:prstTxWarp prst="textNoShape">
              <a:avLst/>
            </a:prstTxWarp>
          </a:bodyPr>
          <a:lstStyle/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16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63" tIns="46863" rIns="46863" bIns="46863" numCol="1" anchor="t" anchorCtr="0" compatLnSpc="1">
            <a:prstTxWarp prst="textNoShape">
              <a:avLst/>
            </a:prstTxWarp>
          </a:bodyPr>
          <a:lstStyle/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63" tIns="46863" rIns="46863" bIns="46863" numCol="1" anchor="t" anchorCtr="0" compatLnSpc="1">
            <a:prstTxWarp prst="textNoShape">
              <a:avLst/>
            </a:prstTxWarp>
          </a:bodyPr>
          <a:lstStyle/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9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63" tIns="46863" rIns="46863" bIns="46863" numCol="1" anchor="t" anchorCtr="0" compatLnSpc="1">
            <a:prstTxWarp prst="textNoShape">
              <a:avLst/>
            </a:prstTxWarp>
          </a:bodyPr>
          <a:lstStyle/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Freeform 28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63" tIns="46863" rIns="46863" bIns="46863" numCol="1" anchor="t" anchorCtr="0" compatLnSpc="1">
            <a:prstTxWarp prst="textNoShape">
              <a:avLst/>
            </a:prstTxWarp>
          </a:bodyPr>
          <a:lstStyle/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63" tIns="46863" rIns="46863" bIns="46863" numCol="1" anchor="t" anchorCtr="0" compatLnSpc="1">
            <a:prstTxWarp prst="textNoShape">
              <a:avLst/>
            </a:prstTxWarp>
          </a:bodyPr>
          <a:lstStyle/>
          <a:p>
            <a:pPr defTabSz="59511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511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511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63" tIns="46863" rIns="46863" bIns="46863" numCol="1" anchor="t" anchorCtr="0" compatLnSpc="1">
            <a:prstTxWarp prst="textNoShape">
              <a:avLst/>
            </a:prstTxWarp>
          </a:bodyPr>
          <a:lstStyle/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2" name="TextBox 39"/>
          <p:cNvSpPr txBox="1"/>
          <p:nvPr userDrawn="1"/>
        </p:nvSpPr>
        <p:spPr>
          <a:xfrm>
            <a:off x="9223673" y="6781895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5118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-10960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036" tIns="59518" rIns="119036" bIns="59518" numCol="1" anchor="t" anchorCtr="0" compatLnSpc="1">
            <a:prstTxWarp prst="textNoShape">
              <a:avLst/>
            </a:prstTxWarp>
          </a:bodyPr>
          <a:lstStyle/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-10960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36" tIns="59518" rIns="119036" bIns="59518" numCol="1" anchor="t" anchorCtr="0" compatLnSpc="1">
            <a:prstTxWarp prst="textNoShape">
              <a:avLst/>
            </a:prstTxWarp>
          </a:bodyPr>
          <a:lstStyle/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36" tIns="59518" rIns="119036" bIns="59518" numCol="1" anchor="t" anchorCtr="0" compatLnSpc="1">
            <a:prstTxWarp prst="textNoShape">
              <a:avLst/>
            </a:prstTxWarp>
          </a:bodyPr>
          <a:lstStyle/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195151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36" tIns="59518" rIns="119036" bIns="59518" numCol="1" anchor="t" anchorCtr="0" compatLnSpc="1">
            <a:prstTxWarp prst="textNoShape">
              <a:avLst/>
            </a:prstTxWarp>
          </a:bodyPr>
          <a:lstStyle/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3149540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036" tIns="59518" rIns="119036" bIns="59518" numCol="1" anchor="t" anchorCtr="0" compatLnSpc="1">
            <a:prstTxWarp prst="textNoShape">
              <a:avLst/>
            </a:prstTxWarp>
          </a:bodyPr>
          <a:lstStyle/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3149538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36" tIns="59518" rIns="119036" bIns="59518" numCol="1" anchor="t" anchorCtr="0" compatLnSpc="1">
            <a:prstTxWarp prst="textNoShape">
              <a:avLst/>
            </a:prstTxWarp>
          </a:bodyPr>
          <a:lstStyle/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36" tIns="59518" rIns="119036" bIns="59518" numCol="1" anchor="t" anchorCtr="0" compatLnSpc="1">
            <a:prstTxWarp prst="textNoShape">
              <a:avLst/>
            </a:prstTxWarp>
          </a:bodyPr>
          <a:lstStyle/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511201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36" tIns="59518" rIns="119036" bIns="59518" numCol="1" anchor="t" anchorCtr="0" compatLnSpc="1">
            <a:prstTxWarp prst="textNoShape">
              <a:avLst/>
            </a:prstTxWarp>
          </a:bodyPr>
          <a:lstStyle/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6279959" y="6748315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036" tIns="59518" rIns="119036" bIns="59518" numCol="1" anchor="t" anchorCtr="0" compatLnSpc="1">
            <a:prstTxWarp prst="textNoShape">
              <a:avLst/>
            </a:prstTxWarp>
          </a:bodyPr>
          <a:lstStyle/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36" tIns="59518" rIns="119036" bIns="59518" numCol="1" anchor="t" anchorCtr="0" compatLnSpc="1">
            <a:prstTxWarp prst="textNoShape">
              <a:avLst/>
            </a:prstTxWarp>
          </a:bodyPr>
          <a:lstStyle/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3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36" tIns="59518" rIns="119036" bIns="59518" numCol="1" anchor="t" anchorCtr="0" compatLnSpc="1">
            <a:prstTxWarp prst="textNoShape">
              <a:avLst/>
            </a:prstTxWarp>
          </a:bodyPr>
          <a:lstStyle/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" name="Freeform 5"/>
          <p:cNvSpPr>
            <a:spLocks/>
          </p:cNvSpPr>
          <p:nvPr userDrawn="1"/>
        </p:nvSpPr>
        <p:spPr bwMode="auto">
          <a:xfrm>
            <a:off x="8242436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36" tIns="59518" rIns="119036" bIns="59518" numCol="1" anchor="t" anchorCtr="0" compatLnSpc="1">
            <a:prstTxWarp prst="textNoShape">
              <a:avLst/>
            </a:prstTxWarp>
          </a:bodyPr>
          <a:lstStyle/>
          <a:p>
            <a:pPr defTabSz="59511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88029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977" r:id="rId1"/>
    <p:sldLayoutId id="2147485978" r:id="rId2"/>
    <p:sldLayoutId id="2147485979" r:id="rId3"/>
    <p:sldLayoutId id="2147485980" r:id="rId4"/>
    <p:sldLayoutId id="2147485981" r:id="rId5"/>
    <p:sldLayoutId id="2147485982" r:id="rId6"/>
    <p:sldLayoutId id="2147485983" r:id="rId7"/>
    <p:sldLayoutId id="2147485984" r:id="rId8"/>
  </p:sldLayoutIdLst>
  <p:hf sldNum="0" hdr="0" ftr="0" dt="0"/>
  <p:txStyles>
    <p:titleStyle>
      <a:lvl1pPr algn="l" defTabSz="595118" rtl="0" eaLnBrk="1" latinLnBrk="0" hangingPunct="1">
        <a:lnSpc>
          <a:spcPts val="5487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A037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705" indent="-239705" algn="l" defTabSz="59511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5272" indent="-229370" algn="l" defTabSz="59511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5272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4646" indent="-229370" algn="l" defTabSz="59511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4646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4024" indent="-229370" algn="l" defTabSz="59511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4024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3393" indent="-229370" algn="l" defTabSz="59511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3393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73213" indent="-297556" algn="l" defTabSz="59511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68335" indent="-297556" algn="l" defTabSz="59511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63459" indent="-297556" algn="l" defTabSz="59511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58589" indent="-297556" algn="l" defTabSz="59511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51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5118" algn="l" defTabSz="5951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90259" algn="l" defTabSz="5951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5387" algn="l" defTabSz="5951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80513" algn="l" defTabSz="5951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75649" algn="l" defTabSz="5951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70773" algn="l" defTabSz="5951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65899" algn="l" defTabSz="5951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61027" algn="l" defTabSz="5951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2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1978" y="358959"/>
            <a:ext cx="7338636" cy="102481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4040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1855213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4040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4040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80" tIns="46780" rIns="46780" bIns="46780" numCol="1" anchor="t" anchorCtr="0" compatLnSpc="1">
            <a:prstTxWarp prst="textNoShape">
              <a:avLst/>
            </a:prstTxWarp>
          </a:bodyPr>
          <a:lstStyle/>
          <a:p>
            <a:pPr defTabSz="59404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404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404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16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80" tIns="46780" rIns="46780" bIns="46780" numCol="1" anchor="t" anchorCtr="0" compatLnSpc="1">
            <a:prstTxWarp prst="textNoShape">
              <a:avLst/>
            </a:prstTxWarp>
          </a:bodyPr>
          <a:lstStyle/>
          <a:p>
            <a:pPr defTabSz="59404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404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404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80" tIns="46780" rIns="46780" bIns="46780" numCol="1" anchor="t" anchorCtr="0" compatLnSpc="1">
            <a:prstTxWarp prst="textNoShape">
              <a:avLst/>
            </a:prstTxWarp>
          </a:bodyPr>
          <a:lstStyle/>
          <a:p>
            <a:pPr defTabSz="59404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404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404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9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80" tIns="46780" rIns="46780" bIns="46780" numCol="1" anchor="t" anchorCtr="0" compatLnSpc="1">
            <a:prstTxWarp prst="textNoShape">
              <a:avLst/>
            </a:prstTxWarp>
          </a:bodyPr>
          <a:lstStyle/>
          <a:p>
            <a:pPr defTabSz="59404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404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404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Freeform 28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80" tIns="46780" rIns="46780" bIns="46780" numCol="1" anchor="t" anchorCtr="0" compatLnSpc="1">
            <a:prstTxWarp prst="textNoShape">
              <a:avLst/>
            </a:prstTxWarp>
          </a:bodyPr>
          <a:lstStyle/>
          <a:p>
            <a:pPr defTabSz="59404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404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404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80" tIns="46780" rIns="46780" bIns="46780" numCol="1" anchor="t" anchorCtr="0" compatLnSpc="1">
            <a:prstTxWarp prst="textNoShape">
              <a:avLst/>
            </a:prstTxWarp>
          </a:bodyPr>
          <a:lstStyle/>
          <a:p>
            <a:pPr defTabSz="59404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404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404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80" tIns="46780" rIns="46780" bIns="46780" numCol="1" anchor="t" anchorCtr="0" compatLnSpc="1">
            <a:prstTxWarp prst="textNoShape">
              <a:avLst/>
            </a:prstTxWarp>
          </a:bodyPr>
          <a:lstStyle/>
          <a:p>
            <a:pPr defTabSz="59404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404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404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2" name="TextBox 39"/>
          <p:cNvSpPr txBox="1"/>
          <p:nvPr userDrawn="1"/>
        </p:nvSpPr>
        <p:spPr>
          <a:xfrm>
            <a:off x="9223673" y="6781915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4040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25" tIns="59413" rIns="118825" bIns="59413" numCol="1" anchor="t" anchorCtr="0" compatLnSpc="1">
            <a:prstTxWarp prst="textNoShape">
              <a:avLst/>
            </a:prstTxWarp>
          </a:bodyPr>
          <a:lstStyle/>
          <a:p>
            <a:pPr defTabSz="59404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25" tIns="59413" rIns="118825" bIns="59413" numCol="1" anchor="t" anchorCtr="0" compatLnSpc="1">
            <a:prstTxWarp prst="textNoShape">
              <a:avLst/>
            </a:prstTxWarp>
          </a:bodyPr>
          <a:lstStyle/>
          <a:p>
            <a:pPr defTabSz="59404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25" tIns="59413" rIns="118825" bIns="59413" numCol="1" anchor="t" anchorCtr="0" compatLnSpc="1">
            <a:prstTxWarp prst="textNoShape">
              <a:avLst/>
            </a:prstTxWarp>
          </a:bodyPr>
          <a:lstStyle/>
          <a:p>
            <a:pPr defTabSz="59404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25" tIns="59413" rIns="118825" bIns="59413" numCol="1" anchor="t" anchorCtr="0" compatLnSpc="1">
            <a:prstTxWarp prst="textNoShape">
              <a:avLst/>
            </a:prstTxWarp>
          </a:bodyPr>
          <a:lstStyle/>
          <a:p>
            <a:pPr defTabSz="59404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25" tIns="59413" rIns="118825" bIns="59413" numCol="1" anchor="t" anchorCtr="0" compatLnSpc="1">
            <a:prstTxWarp prst="textNoShape">
              <a:avLst/>
            </a:prstTxWarp>
          </a:bodyPr>
          <a:lstStyle/>
          <a:p>
            <a:pPr defTabSz="59404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25" tIns="59413" rIns="118825" bIns="59413" numCol="1" anchor="t" anchorCtr="0" compatLnSpc="1">
            <a:prstTxWarp prst="textNoShape">
              <a:avLst/>
            </a:prstTxWarp>
          </a:bodyPr>
          <a:lstStyle/>
          <a:p>
            <a:pPr defTabSz="59404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25" tIns="59413" rIns="118825" bIns="59413" numCol="1" anchor="t" anchorCtr="0" compatLnSpc="1">
            <a:prstTxWarp prst="textNoShape">
              <a:avLst/>
            </a:prstTxWarp>
          </a:bodyPr>
          <a:lstStyle/>
          <a:p>
            <a:pPr defTabSz="59404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25" tIns="59413" rIns="118825" bIns="59413" numCol="1" anchor="t" anchorCtr="0" compatLnSpc="1">
            <a:prstTxWarp prst="textNoShape">
              <a:avLst/>
            </a:prstTxWarp>
          </a:bodyPr>
          <a:lstStyle/>
          <a:p>
            <a:pPr defTabSz="59404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25" tIns="59413" rIns="118825" bIns="59413" numCol="1" anchor="t" anchorCtr="0" compatLnSpc="1">
            <a:prstTxWarp prst="textNoShape">
              <a:avLst/>
            </a:prstTxWarp>
          </a:bodyPr>
          <a:lstStyle/>
          <a:p>
            <a:pPr defTabSz="59404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25" tIns="59413" rIns="118825" bIns="59413" numCol="1" anchor="t" anchorCtr="0" compatLnSpc="1">
            <a:prstTxWarp prst="textNoShape">
              <a:avLst/>
            </a:prstTxWarp>
          </a:bodyPr>
          <a:lstStyle/>
          <a:p>
            <a:pPr defTabSz="59404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3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25" tIns="59413" rIns="118825" bIns="59413" numCol="1" anchor="t" anchorCtr="0" compatLnSpc="1">
            <a:prstTxWarp prst="textNoShape">
              <a:avLst/>
            </a:prstTxWarp>
          </a:bodyPr>
          <a:lstStyle/>
          <a:p>
            <a:pPr defTabSz="59404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25" tIns="59413" rIns="118825" bIns="59413" numCol="1" anchor="t" anchorCtr="0" compatLnSpc="1">
            <a:prstTxWarp prst="textNoShape">
              <a:avLst/>
            </a:prstTxWarp>
          </a:bodyPr>
          <a:lstStyle/>
          <a:p>
            <a:pPr defTabSz="59404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4556564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86" r:id="rId1"/>
    <p:sldLayoutId id="2147483887" r:id="rId2"/>
    <p:sldLayoutId id="2147483888" r:id="rId3"/>
    <p:sldLayoutId id="2147483889" r:id="rId4"/>
    <p:sldLayoutId id="2147483890" r:id="rId5"/>
    <p:sldLayoutId id="2147483891" r:id="rId6"/>
    <p:sldLayoutId id="2147483892" r:id="rId7"/>
    <p:sldLayoutId id="2147483893" r:id="rId8"/>
  </p:sldLayoutIdLst>
  <p:hf sldNum="0" hdr="0" ftr="0" dt="0"/>
  <p:txStyles>
    <p:titleStyle>
      <a:lvl1pPr algn="l" defTabSz="594040" rtl="0" eaLnBrk="1" latinLnBrk="0" hangingPunct="1">
        <a:lnSpc>
          <a:spcPts val="5486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A037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272" indent="-239272" algn="l" defTabSz="594040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4416" indent="-228955" algn="l" defTabSz="594040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4416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3376" indent="-228955" algn="l" defTabSz="594040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3376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2338" indent="-228955" algn="l" defTabSz="594040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2338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1290" indent="-228955" algn="l" defTabSz="594040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1290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67313" indent="-297017" algn="l" defTabSz="594040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61365" indent="-297017" algn="l" defTabSz="594040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55416" indent="-297017" algn="l" defTabSz="594040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49477" indent="-297017" algn="l" defTabSz="594040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40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4040" algn="l" defTabSz="5940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8114" algn="l" defTabSz="5940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2173" algn="l" defTabSz="5940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6223" algn="l" defTabSz="5940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70287" algn="l" defTabSz="5940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64339" algn="l" defTabSz="5940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58392" algn="l" defTabSz="5940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52450" algn="l" defTabSz="5940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2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82" y="1854704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2054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3499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81813" y="1855223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3499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38" tIns="46738" rIns="46738" bIns="46738" numCol="1" anchor="t" anchorCtr="0" compatLnSpc="1">
            <a:prstTxWarp prst="textNoShape">
              <a:avLst/>
            </a:prstTxWarp>
          </a:bodyPr>
          <a:lstStyle/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38" tIns="46738" rIns="46738" bIns="46738" numCol="1" anchor="t" anchorCtr="0" compatLnSpc="1">
            <a:prstTxWarp prst="textNoShape">
              <a:avLst/>
            </a:prstTxWarp>
          </a:bodyPr>
          <a:lstStyle/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38" tIns="46738" rIns="46738" bIns="46738" numCol="1" anchor="t" anchorCtr="0" compatLnSpc="1">
            <a:prstTxWarp prst="textNoShape">
              <a:avLst/>
            </a:prstTxWarp>
          </a:bodyPr>
          <a:lstStyle/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38" tIns="46738" rIns="46738" bIns="46738" numCol="1" anchor="t" anchorCtr="0" compatLnSpc="1">
            <a:prstTxWarp prst="textNoShape">
              <a:avLst/>
            </a:prstTxWarp>
          </a:bodyPr>
          <a:lstStyle/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38" tIns="46738" rIns="46738" bIns="46738" numCol="1" anchor="t" anchorCtr="0" compatLnSpc="1">
            <a:prstTxWarp prst="textNoShape">
              <a:avLst/>
            </a:prstTxWarp>
          </a:bodyPr>
          <a:lstStyle/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38" tIns="46738" rIns="46738" bIns="46738" numCol="1" anchor="t" anchorCtr="0" compatLnSpc="1">
            <a:prstTxWarp prst="textNoShape">
              <a:avLst/>
            </a:prstTxWarp>
          </a:bodyPr>
          <a:lstStyle/>
          <a:p>
            <a:pPr defTabSz="59349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349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349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38" tIns="46738" rIns="46738" bIns="46738" numCol="1" anchor="t" anchorCtr="0" compatLnSpc="1">
            <a:prstTxWarp prst="textNoShape">
              <a:avLst/>
            </a:prstTxWarp>
          </a:bodyPr>
          <a:lstStyle/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9223673" y="6781925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3499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719" tIns="59361" rIns="118719" bIns="59361" numCol="1" anchor="t" anchorCtr="0" compatLnSpc="1">
            <a:prstTxWarp prst="textNoShape">
              <a:avLst/>
            </a:prstTxWarp>
          </a:bodyPr>
          <a:lstStyle/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19" tIns="59361" rIns="118719" bIns="59361" numCol="1" anchor="t" anchorCtr="0" compatLnSpc="1">
            <a:prstTxWarp prst="textNoShape">
              <a:avLst/>
            </a:prstTxWarp>
          </a:bodyPr>
          <a:lstStyle/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19" tIns="59361" rIns="118719" bIns="59361" numCol="1" anchor="t" anchorCtr="0" compatLnSpc="1">
            <a:prstTxWarp prst="textNoShape">
              <a:avLst/>
            </a:prstTxWarp>
          </a:bodyPr>
          <a:lstStyle/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19" tIns="59361" rIns="118719" bIns="59361" numCol="1" anchor="t" anchorCtr="0" compatLnSpc="1">
            <a:prstTxWarp prst="textNoShape">
              <a:avLst/>
            </a:prstTxWarp>
          </a:bodyPr>
          <a:lstStyle/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719" tIns="59361" rIns="118719" bIns="59361" numCol="1" anchor="t" anchorCtr="0" compatLnSpc="1">
            <a:prstTxWarp prst="textNoShape">
              <a:avLst/>
            </a:prstTxWarp>
          </a:bodyPr>
          <a:lstStyle/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19" tIns="59361" rIns="118719" bIns="59361" numCol="1" anchor="t" anchorCtr="0" compatLnSpc="1">
            <a:prstTxWarp prst="textNoShape">
              <a:avLst/>
            </a:prstTxWarp>
          </a:bodyPr>
          <a:lstStyle/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19" tIns="59361" rIns="118719" bIns="59361" numCol="1" anchor="t" anchorCtr="0" compatLnSpc="1">
            <a:prstTxWarp prst="textNoShape">
              <a:avLst/>
            </a:prstTxWarp>
          </a:bodyPr>
          <a:lstStyle/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19" tIns="59361" rIns="118719" bIns="59361" numCol="1" anchor="t" anchorCtr="0" compatLnSpc="1">
            <a:prstTxWarp prst="textNoShape">
              <a:avLst/>
            </a:prstTxWarp>
          </a:bodyPr>
          <a:lstStyle/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719" tIns="59361" rIns="118719" bIns="59361" numCol="1" anchor="t" anchorCtr="0" compatLnSpc="1">
            <a:prstTxWarp prst="textNoShape">
              <a:avLst/>
            </a:prstTxWarp>
          </a:bodyPr>
          <a:lstStyle/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19" tIns="59361" rIns="118719" bIns="59361" numCol="1" anchor="t" anchorCtr="0" compatLnSpc="1">
            <a:prstTxWarp prst="textNoShape">
              <a:avLst/>
            </a:prstTxWarp>
          </a:bodyPr>
          <a:lstStyle/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19" tIns="59361" rIns="118719" bIns="59361" numCol="1" anchor="t" anchorCtr="0" compatLnSpc="1">
            <a:prstTxWarp prst="textNoShape">
              <a:avLst/>
            </a:prstTxWarp>
          </a:bodyPr>
          <a:lstStyle/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19" tIns="59361" rIns="118719" bIns="59361" numCol="1" anchor="t" anchorCtr="0" compatLnSpc="1">
            <a:prstTxWarp prst="textNoShape">
              <a:avLst/>
            </a:prstTxWarp>
          </a:bodyPr>
          <a:lstStyle/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32542977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987" r:id="rId1"/>
    <p:sldLayoutId id="2147485988" r:id="rId2"/>
    <p:sldLayoutId id="2147485989" r:id="rId3"/>
    <p:sldLayoutId id="2147485990" r:id="rId4"/>
  </p:sldLayoutIdLst>
  <p:hf sldNum="0" hdr="0" ftr="0" dt="0"/>
  <p:txStyles>
    <p:titleStyle>
      <a:lvl1pPr algn="l" defTabSz="593499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059" indent="-239059" algn="l" defTabSz="59349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3988" indent="-228747" algn="l" defTabSz="59349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3988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2739" indent="-228747" algn="l" defTabSz="59349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2739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1495" indent="-228747" algn="l" defTabSz="59349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1495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0237" indent="-228747" algn="l" defTabSz="59349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0237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64357" indent="-296745" algn="l" defTabSz="593499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57871" indent="-296745" algn="l" defTabSz="593499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51385" indent="-296745" algn="l" defTabSz="593499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44909" indent="-296745" algn="l" defTabSz="593499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349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3499" algn="l" defTabSz="59349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7040" algn="l" defTabSz="59349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0560" algn="l" defTabSz="59349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4078" algn="l" defTabSz="59349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67599" algn="l" defTabSz="59349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61112" algn="l" defTabSz="59349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54630" algn="l" defTabSz="59349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48151" algn="l" defTabSz="59349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2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82" y="1854670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2020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81813" y="1855192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69" tIns="46869" rIns="46869" bIns="46869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69" tIns="46869" rIns="46869" bIns="46869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69" tIns="46869" rIns="46869" bIns="46869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69" tIns="46869" rIns="46869" bIns="46869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69" tIns="46869" rIns="46869" bIns="46869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69" tIns="46869" rIns="46869" bIns="46869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519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519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69" tIns="46869" rIns="46869" bIns="46869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9223673" y="6781894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5190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051" tIns="59524" rIns="119051" bIns="59524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51" tIns="59524" rIns="119051" bIns="59524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51" tIns="59524" rIns="119051" bIns="59524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51" tIns="59524" rIns="119051" bIns="59524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051" tIns="59524" rIns="119051" bIns="59524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51" tIns="59524" rIns="119051" bIns="59524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51" tIns="59524" rIns="119051" bIns="59524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51" tIns="59524" rIns="119051" bIns="59524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051" tIns="59524" rIns="119051" bIns="59524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51" tIns="59524" rIns="119051" bIns="59524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51" tIns="59524" rIns="119051" bIns="59524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51" tIns="59524" rIns="119051" bIns="59524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2447257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992" r:id="rId1"/>
    <p:sldLayoutId id="2147485993" r:id="rId2"/>
    <p:sldLayoutId id="2147485994" r:id="rId3"/>
    <p:sldLayoutId id="2147485995" r:id="rId4"/>
  </p:sldLayoutIdLst>
  <p:hf sldNum="0" hdr="0" ftr="0" dt="0"/>
  <p:txStyles>
    <p:titleStyle>
      <a:lvl1pPr algn="l" defTabSz="595190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732" indent="-239732" algn="l" defTabSz="595190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5329" indent="-229398" algn="l" defTabSz="595190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5329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4729" indent="-229398" algn="l" defTabSz="595190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4729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4136" indent="-229398" algn="l" defTabSz="595190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4136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3533" indent="-229398" algn="l" defTabSz="595190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3533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73606" indent="-297593" algn="l" defTabSz="595190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68800" indent="-297593" algn="l" defTabSz="595190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63998" indent="-297593" algn="l" defTabSz="595190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59195" indent="-297593" algn="l" defTabSz="595190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51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5190" algn="l" defTabSz="5951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90402" algn="l" defTabSz="5951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5600" algn="l" defTabSz="5951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80801" algn="l" defTabSz="5951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76008" algn="l" defTabSz="5951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71203" algn="l" defTabSz="5951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66402" algn="l" defTabSz="5951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61600" algn="l" defTabSz="5951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2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82" y="1854733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2084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81813" y="1855253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9223673" y="6781955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1947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8599574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013" r:id="rId1"/>
    <p:sldLayoutId id="2147486014" r:id="rId2"/>
    <p:sldLayoutId id="2147486015" r:id="rId3"/>
    <p:sldLayoutId id="2147486016" r:id="rId4"/>
    <p:sldLayoutId id="2147486017" r:id="rId5"/>
  </p:sldLayoutIdLst>
  <p:hf sldNum="0" hdr="0" ftr="0" dt="0"/>
  <p:txStyles>
    <p:titleStyle>
      <a:lvl1pPr algn="l" defTabSz="591947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8434" indent="-238434" algn="l" defTabSz="59194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2756" indent="-228154" algn="l" defTabSz="59194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2756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0913" indent="-228154" algn="l" defTabSz="59194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0913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29070" indent="-228154" algn="l" defTabSz="59194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29070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57207" indent="-228154" algn="l" defTabSz="59194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57207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55872" indent="-295965" algn="l" defTabSz="59194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47841" indent="-295965" algn="l" defTabSz="59194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39815" indent="-295965" algn="l" defTabSz="59194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31791" indent="-295965" algn="l" defTabSz="59194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1947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3950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75935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67908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59881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51854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43833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35810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2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82" y="1854733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2084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81813" y="1855253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9223673" y="6781955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1947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1414442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020" r:id="rId1"/>
    <p:sldLayoutId id="2147486021" r:id="rId2"/>
    <p:sldLayoutId id="2147486022" r:id="rId3"/>
    <p:sldLayoutId id="2147486023" r:id="rId4"/>
  </p:sldLayoutIdLst>
  <p:hf sldNum="0" hdr="0" ftr="0" dt="0"/>
  <p:txStyles>
    <p:titleStyle>
      <a:lvl1pPr algn="l" defTabSz="591947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8434" indent="-238434" algn="l" defTabSz="59194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2756" indent="-228154" algn="l" defTabSz="59194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2756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0913" indent="-228154" algn="l" defTabSz="59194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0913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29070" indent="-228154" algn="l" defTabSz="59194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29070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57207" indent="-228154" algn="l" defTabSz="59194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57207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55872" indent="-295965" algn="l" defTabSz="59194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47841" indent="-295965" algn="l" defTabSz="59194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39815" indent="-295965" algn="l" defTabSz="59194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31791" indent="-295965" algn="l" defTabSz="59194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1947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3950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75935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67908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59881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51854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43833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35810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2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78" y="1854690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2040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6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423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81816" y="1855210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423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81816" y="4207633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423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96" tIns="46796" rIns="46796" bIns="46796" numCol="1" anchor="t" anchorCtr="0" compatLnSpc="1">
            <a:prstTxWarp prst="textNoShape">
              <a:avLst/>
            </a:prstTxWarp>
          </a:bodyPr>
          <a:lstStyle/>
          <a:p>
            <a:pPr defTabSz="59423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423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423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96" tIns="46796" rIns="46796" bIns="46796" numCol="1" anchor="t" anchorCtr="0" compatLnSpc="1">
            <a:prstTxWarp prst="textNoShape">
              <a:avLst/>
            </a:prstTxWarp>
          </a:bodyPr>
          <a:lstStyle/>
          <a:p>
            <a:pPr defTabSz="59423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423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423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96" tIns="46796" rIns="46796" bIns="46796" numCol="1" anchor="t" anchorCtr="0" compatLnSpc="1">
            <a:prstTxWarp prst="textNoShape">
              <a:avLst/>
            </a:prstTxWarp>
          </a:bodyPr>
          <a:lstStyle/>
          <a:p>
            <a:pPr defTabSz="59423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423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423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96" tIns="46796" rIns="46796" bIns="46796" numCol="1" anchor="t" anchorCtr="0" compatLnSpc="1">
            <a:prstTxWarp prst="textNoShape">
              <a:avLst/>
            </a:prstTxWarp>
          </a:bodyPr>
          <a:lstStyle/>
          <a:p>
            <a:pPr defTabSz="59423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423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423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96" tIns="46796" rIns="46796" bIns="46796" numCol="1" anchor="t" anchorCtr="0" compatLnSpc="1">
            <a:prstTxWarp prst="textNoShape">
              <a:avLst/>
            </a:prstTxWarp>
          </a:bodyPr>
          <a:lstStyle/>
          <a:p>
            <a:pPr defTabSz="59423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423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423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96" tIns="46796" rIns="46796" bIns="46796" numCol="1" anchor="t" anchorCtr="0" compatLnSpc="1">
            <a:prstTxWarp prst="textNoShape">
              <a:avLst/>
            </a:prstTxWarp>
          </a:bodyPr>
          <a:lstStyle/>
          <a:p>
            <a:pPr defTabSz="59423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423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423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96" tIns="46796" rIns="46796" bIns="46796" numCol="1" anchor="t" anchorCtr="0" compatLnSpc="1">
            <a:prstTxWarp prst="textNoShape">
              <a:avLst/>
            </a:prstTxWarp>
          </a:bodyPr>
          <a:lstStyle/>
          <a:p>
            <a:pPr defTabSz="59423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423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423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9223673" y="6781912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4238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10960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64" tIns="59433" rIns="118864" bIns="59433" numCol="1" anchor="t" anchorCtr="0" compatLnSpc="1">
            <a:prstTxWarp prst="textNoShape">
              <a:avLst/>
            </a:prstTxWarp>
          </a:bodyPr>
          <a:lstStyle/>
          <a:p>
            <a:pPr defTabSz="59423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10960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64" tIns="59433" rIns="118864" bIns="59433" numCol="1" anchor="t" anchorCtr="0" compatLnSpc="1">
            <a:prstTxWarp prst="textNoShape">
              <a:avLst/>
            </a:prstTxWarp>
          </a:bodyPr>
          <a:lstStyle/>
          <a:p>
            <a:pPr defTabSz="59423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64" tIns="59433" rIns="118864" bIns="59433" numCol="1" anchor="t" anchorCtr="0" compatLnSpc="1">
            <a:prstTxWarp prst="textNoShape">
              <a:avLst/>
            </a:prstTxWarp>
          </a:bodyPr>
          <a:lstStyle/>
          <a:p>
            <a:pPr defTabSz="59423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95151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64" tIns="59433" rIns="118864" bIns="59433" numCol="1" anchor="t" anchorCtr="0" compatLnSpc="1">
            <a:prstTxWarp prst="textNoShape">
              <a:avLst/>
            </a:prstTxWarp>
          </a:bodyPr>
          <a:lstStyle/>
          <a:p>
            <a:pPr defTabSz="59423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3149540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64" tIns="59433" rIns="118864" bIns="59433" numCol="1" anchor="t" anchorCtr="0" compatLnSpc="1">
            <a:prstTxWarp prst="textNoShape">
              <a:avLst/>
            </a:prstTxWarp>
          </a:bodyPr>
          <a:lstStyle/>
          <a:p>
            <a:pPr defTabSz="59423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3149538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64" tIns="59433" rIns="118864" bIns="59433" numCol="1" anchor="t" anchorCtr="0" compatLnSpc="1">
            <a:prstTxWarp prst="textNoShape">
              <a:avLst/>
            </a:prstTxWarp>
          </a:bodyPr>
          <a:lstStyle/>
          <a:p>
            <a:pPr defTabSz="59423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64" tIns="59433" rIns="118864" bIns="59433" numCol="1" anchor="t" anchorCtr="0" compatLnSpc="1">
            <a:prstTxWarp prst="textNoShape">
              <a:avLst/>
            </a:prstTxWarp>
          </a:bodyPr>
          <a:lstStyle/>
          <a:p>
            <a:pPr defTabSz="59423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511201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64" tIns="59433" rIns="118864" bIns="59433" numCol="1" anchor="t" anchorCtr="0" compatLnSpc="1">
            <a:prstTxWarp prst="textNoShape">
              <a:avLst/>
            </a:prstTxWarp>
          </a:bodyPr>
          <a:lstStyle/>
          <a:p>
            <a:pPr defTabSz="59423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6279959" y="6748315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64" tIns="59433" rIns="118864" bIns="59433" numCol="1" anchor="t" anchorCtr="0" compatLnSpc="1">
            <a:prstTxWarp prst="textNoShape">
              <a:avLst/>
            </a:prstTxWarp>
          </a:bodyPr>
          <a:lstStyle/>
          <a:p>
            <a:pPr defTabSz="59423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64" tIns="59433" rIns="118864" bIns="59433" numCol="1" anchor="t" anchorCtr="0" compatLnSpc="1">
            <a:prstTxWarp prst="textNoShape">
              <a:avLst/>
            </a:prstTxWarp>
          </a:bodyPr>
          <a:lstStyle/>
          <a:p>
            <a:pPr defTabSz="59423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64" tIns="59433" rIns="118864" bIns="59433" numCol="1" anchor="t" anchorCtr="0" compatLnSpc="1">
            <a:prstTxWarp prst="textNoShape">
              <a:avLst/>
            </a:prstTxWarp>
          </a:bodyPr>
          <a:lstStyle/>
          <a:p>
            <a:pPr defTabSz="59423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8242436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64" tIns="59433" rIns="118864" bIns="59433" numCol="1" anchor="t" anchorCtr="0" compatLnSpc="1">
            <a:prstTxWarp prst="textNoShape">
              <a:avLst/>
            </a:prstTxWarp>
          </a:bodyPr>
          <a:lstStyle/>
          <a:p>
            <a:pPr defTabSz="59423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985162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026" r:id="rId1"/>
    <p:sldLayoutId id="2147486027" r:id="rId2"/>
    <p:sldLayoutId id="2147486028" r:id="rId3"/>
    <p:sldLayoutId id="2147486029" r:id="rId4"/>
    <p:sldLayoutId id="2147486030" r:id="rId5"/>
    <p:sldLayoutId id="2147486031" r:id="rId6"/>
    <p:sldLayoutId id="2147486032" r:id="rId7"/>
    <p:sldLayoutId id="2147486033" r:id="rId8"/>
    <p:sldLayoutId id="2147486034" r:id="rId9"/>
    <p:sldLayoutId id="2147486035" r:id="rId10"/>
  </p:sldLayoutIdLst>
  <p:hf sldNum="0" hdr="0" ftr="0" dt="0"/>
  <p:txStyles>
    <p:titleStyle>
      <a:lvl1pPr algn="l" defTabSz="594238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353" indent="-239353" algn="l" defTabSz="59423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4574" indent="-229031" algn="l" defTabSz="59423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4574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3610" indent="-229031" algn="l" defTabSz="59423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3610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2649" indent="-229031" algn="l" defTabSz="59423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2649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1677" indent="-229031" algn="l" defTabSz="59423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1677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68400" indent="-297116" algn="l" defTabSz="59423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62648" indent="-297116" algn="l" defTabSz="59423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56898" indent="-297116" algn="l" defTabSz="59423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51155" indent="-297116" algn="l" defTabSz="59423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423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4238" algn="l" defTabSz="59423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8509" algn="l" defTabSz="59423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2765" algn="l" defTabSz="59423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7014" algn="l" defTabSz="59423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71276" algn="l" defTabSz="59423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65523" algn="l" defTabSz="59423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59774" algn="l" defTabSz="59423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54028" algn="l" defTabSz="59423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21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1978" y="358960"/>
            <a:ext cx="7338636" cy="102481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-281816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4036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6" y="1855214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4036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-281816" y="4207633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4036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80" tIns="46780" rIns="46780" bIns="46780" numCol="1" anchor="t" anchorCtr="0" compatLnSpc="1">
            <a:prstTxWarp prst="textNoShape">
              <a:avLst/>
            </a:prstTxWarp>
          </a:bodyPr>
          <a:lstStyle/>
          <a:p>
            <a:pPr defTabSz="594036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4036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4036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16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80" tIns="46780" rIns="46780" bIns="46780" numCol="1" anchor="t" anchorCtr="0" compatLnSpc="1">
            <a:prstTxWarp prst="textNoShape">
              <a:avLst/>
            </a:prstTxWarp>
          </a:bodyPr>
          <a:lstStyle/>
          <a:p>
            <a:pPr defTabSz="594036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4036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4036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80" tIns="46780" rIns="46780" bIns="46780" numCol="1" anchor="t" anchorCtr="0" compatLnSpc="1">
            <a:prstTxWarp prst="textNoShape">
              <a:avLst/>
            </a:prstTxWarp>
          </a:bodyPr>
          <a:lstStyle/>
          <a:p>
            <a:pPr defTabSz="594036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4036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4036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9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80" tIns="46780" rIns="46780" bIns="46780" numCol="1" anchor="t" anchorCtr="0" compatLnSpc="1">
            <a:prstTxWarp prst="textNoShape">
              <a:avLst/>
            </a:prstTxWarp>
          </a:bodyPr>
          <a:lstStyle/>
          <a:p>
            <a:pPr defTabSz="594036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4036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4036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Freeform 28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80" tIns="46780" rIns="46780" bIns="46780" numCol="1" anchor="t" anchorCtr="0" compatLnSpc="1">
            <a:prstTxWarp prst="textNoShape">
              <a:avLst/>
            </a:prstTxWarp>
          </a:bodyPr>
          <a:lstStyle/>
          <a:p>
            <a:pPr defTabSz="594036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4036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4036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80" tIns="46780" rIns="46780" bIns="46780" numCol="1" anchor="t" anchorCtr="0" compatLnSpc="1">
            <a:prstTxWarp prst="textNoShape">
              <a:avLst/>
            </a:prstTxWarp>
          </a:bodyPr>
          <a:lstStyle/>
          <a:p>
            <a:pPr defTabSz="594036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4036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4036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80" tIns="46780" rIns="46780" bIns="46780" numCol="1" anchor="t" anchorCtr="0" compatLnSpc="1">
            <a:prstTxWarp prst="textNoShape">
              <a:avLst/>
            </a:prstTxWarp>
          </a:bodyPr>
          <a:lstStyle/>
          <a:p>
            <a:pPr defTabSz="594036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4036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4036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2" name="TextBox 39"/>
          <p:cNvSpPr txBox="1"/>
          <p:nvPr userDrawn="1"/>
        </p:nvSpPr>
        <p:spPr>
          <a:xfrm>
            <a:off x="9223673" y="6781916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4036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-10960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25" tIns="59413" rIns="118825" bIns="59413" numCol="1" anchor="t" anchorCtr="0" compatLnSpc="1">
            <a:prstTxWarp prst="textNoShape">
              <a:avLst/>
            </a:prstTxWarp>
          </a:bodyPr>
          <a:lstStyle/>
          <a:p>
            <a:pPr defTabSz="594036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-10960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25" tIns="59413" rIns="118825" bIns="59413" numCol="1" anchor="t" anchorCtr="0" compatLnSpc="1">
            <a:prstTxWarp prst="textNoShape">
              <a:avLst/>
            </a:prstTxWarp>
          </a:bodyPr>
          <a:lstStyle/>
          <a:p>
            <a:pPr defTabSz="594036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25" tIns="59413" rIns="118825" bIns="59413" numCol="1" anchor="t" anchorCtr="0" compatLnSpc="1">
            <a:prstTxWarp prst="textNoShape">
              <a:avLst/>
            </a:prstTxWarp>
          </a:bodyPr>
          <a:lstStyle/>
          <a:p>
            <a:pPr defTabSz="594036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195151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25" tIns="59413" rIns="118825" bIns="59413" numCol="1" anchor="t" anchorCtr="0" compatLnSpc="1">
            <a:prstTxWarp prst="textNoShape">
              <a:avLst/>
            </a:prstTxWarp>
          </a:bodyPr>
          <a:lstStyle/>
          <a:p>
            <a:pPr defTabSz="594036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3149540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25" tIns="59413" rIns="118825" bIns="59413" numCol="1" anchor="t" anchorCtr="0" compatLnSpc="1">
            <a:prstTxWarp prst="textNoShape">
              <a:avLst/>
            </a:prstTxWarp>
          </a:bodyPr>
          <a:lstStyle/>
          <a:p>
            <a:pPr defTabSz="594036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3149538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25" tIns="59413" rIns="118825" bIns="59413" numCol="1" anchor="t" anchorCtr="0" compatLnSpc="1">
            <a:prstTxWarp prst="textNoShape">
              <a:avLst/>
            </a:prstTxWarp>
          </a:bodyPr>
          <a:lstStyle/>
          <a:p>
            <a:pPr defTabSz="594036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25" tIns="59413" rIns="118825" bIns="59413" numCol="1" anchor="t" anchorCtr="0" compatLnSpc="1">
            <a:prstTxWarp prst="textNoShape">
              <a:avLst/>
            </a:prstTxWarp>
          </a:bodyPr>
          <a:lstStyle/>
          <a:p>
            <a:pPr defTabSz="594036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511201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25" tIns="59413" rIns="118825" bIns="59413" numCol="1" anchor="t" anchorCtr="0" compatLnSpc="1">
            <a:prstTxWarp prst="textNoShape">
              <a:avLst/>
            </a:prstTxWarp>
          </a:bodyPr>
          <a:lstStyle/>
          <a:p>
            <a:pPr defTabSz="594036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6279959" y="6748315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25" tIns="59413" rIns="118825" bIns="59413" numCol="1" anchor="t" anchorCtr="0" compatLnSpc="1">
            <a:prstTxWarp prst="textNoShape">
              <a:avLst/>
            </a:prstTxWarp>
          </a:bodyPr>
          <a:lstStyle/>
          <a:p>
            <a:pPr defTabSz="594036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25" tIns="59413" rIns="118825" bIns="59413" numCol="1" anchor="t" anchorCtr="0" compatLnSpc="1">
            <a:prstTxWarp prst="textNoShape">
              <a:avLst/>
            </a:prstTxWarp>
          </a:bodyPr>
          <a:lstStyle/>
          <a:p>
            <a:pPr defTabSz="594036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3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25" tIns="59413" rIns="118825" bIns="59413" numCol="1" anchor="t" anchorCtr="0" compatLnSpc="1">
            <a:prstTxWarp prst="textNoShape">
              <a:avLst/>
            </a:prstTxWarp>
          </a:bodyPr>
          <a:lstStyle/>
          <a:p>
            <a:pPr defTabSz="594036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" name="Freeform 5"/>
          <p:cNvSpPr>
            <a:spLocks/>
          </p:cNvSpPr>
          <p:nvPr userDrawn="1"/>
        </p:nvSpPr>
        <p:spPr bwMode="auto">
          <a:xfrm>
            <a:off x="8242436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25" tIns="59413" rIns="118825" bIns="59413" numCol="1" anchor="t" anchorCtr="0" compatLnSpc="1">
            <a:prstTxWarp prst="textNoShape">
              <a:avLst/>
            </a:prstTxWarp>
          </a:bodyPr>
          <a:lstStyle/>
          <a:p>
            <a:pPr defTabSz="594036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4803850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037" r:id="rId1"/>
    <p:sldLayoutId id="2147486038" r:id="rId2"/>
    <p:sldLayoutId id="2147486039" r:id="rId3"/>
    <p:sldLayoutId id="2147486040" r:id="rId4"/>
    <p:sldLayoutId id="2147486041" r:id="rId5"/>
    <p:sldLayoutId id="2147486042" r:id="rId6"/>
    <p:sldLayoutId id="2147486043" r:id="rId7"/>
    <p:sldLayoutId id="2147486044" r:id="rId8"/>
  </p:sldLayoutIdLst>
  <p:hf sldNum="0" hdr="0" ftr="0" dt="0"/>
  <p:txStyles>
    <p:titleStyle>
      <a:lvl1pPr algn="l" defTabSz="594036" rtl="0" eaLnBrk="1" latinLnBrk="0" hangingPunct="1">
        <a:lnSpc>
          <a:spcPts val="5487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A037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272" indent="-239272" algn="l" defTabSz="594036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4413" indent="-228953" algn="l" defTabSz="594036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4413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3370" indent="-228953" algn="l" defTabSz="594036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3370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2333" indent="-228953" algn="l" defTabSz="594036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2333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1281" indent="-228953" algn="l" defTabSz="594036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1281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67291" indent="-297014" algn="l" defTabSz="594036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61336" indent="-297014" algn="l" defTabSz="594036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55384" indent="-297014" algn="l" defTabSz="594036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49442" indent="-297014" algn="l" defTabSz="594036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4036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4036" algn="l" defTabSz="594036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8105" algn="l" defTabSz="594036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2160" algn="l" defTabSz="594036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6207" algn="l" defTabSz="594036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70266" algn="l" defTabSz="594036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64312" algn="l" defTabSz="594036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58362" algn="l" defTabSz="594036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52416" algn="l" defTabSz="594036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21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78" y="1854690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2040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6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423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81816" y="1855210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423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81816" y="4207633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423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96" tIns="46796" rIns="46796" bIns="46796" numCol="1" anchor="t" anchorCtr="0" compatLnSpc="1">
            <a:prstTxWarp prst="textNoShape">
              <a:avLst/>
            </a:prstTxWarp>
          </a:bodyPr>
          <a:lstStyle/>
          <a:p>
            <a:pPr defTabSz="59423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423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423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96" tIns="46796" rIns="46796" bIns="46796" numCol="1" anchor="t" anchorCtr="0" compatLnSpc="1">
            <a:prstTxWarp prst="textNoShape">
              <a:avLst/>
            </a:prstTxWarp>
          </a:bodyPr>
          <a:lstStyle/>
          <a:p>
            <a:pPr defTabSz="59423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423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423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96" tIns="46796" rIns="46796" bIns="46796" numCol="1" anchor="t" anchorCtr="0" compatLnSpc="1">
            <a:prstTxWarp prst="textNoShape">
              <a:avLst/>
            </a:prstTxWarp>
          </a:bodyPr>
          <a:lstStyle/>
          <a:p>
            <a:pPr defTabSz="59423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423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423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96" tIns="46796" rIns="46796" bIns="46796" numCol="1" anchor="t" anchorCtr="0" compatLnSpc="1">
            <a:prstTxWarp prst="textNoShape">
              <a:avLst/>
            </a:prstTxWarp>
          </a:bodyPr>
          <a:lstStyle/>
          <a:p>
            <a:pPr defTabSz="59423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423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423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96" tIns="46796" rIns="46796" bIns="46796" numCol="1" anchor="t" anchorCtr="0" compatLnSpc="1">
            <a:prstTxWarp prst="textNoShape">
              <a:avLst/>
            </a:prstTxWarp>
          </a:bodyPr>
          <a:lstStyle/>
          <a:p>
            <a:pPr defTabSz="59423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423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423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96" tIns="46796" rIns="46796" bIns="46796" numCol="1" anchor="t" anchorCtr="0" compatLnSpc="1">
            <a:prstTxWarp prst="textNoShape">
              <a:avLst/>
            </a:prstTxWarp>
          </a:bodyPr>
          <a:lstStyle/>
          <a:p>
            <a:pPr defTabSz="59423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423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423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96" tIns="46796" rIns="46796" bIns="46796" numCol="1" anchor="t" anchorCtr="0" compatLnSpc="1">
            <a:prstTxWarp prst="textNoShape">
              <a:avLst/>
            </a:prstTxWarp>
          </a:bodyPr>
          <a:lstStyle/>
          <a:p>
            <a:pPr defTabSz="59423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423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423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9223673" y="6781912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4238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10960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64" tIns="59433" rIns="118864" bIns="59433" numCol="1" anchor="t" anchorCtr="0" compatLnSpc="1">
            <a:prstTxWarp prst="textNoShape">
              <a:avLst/>
            </a:prstTxWarp>
          </a:bodyPr>
          <a:lstStyle/>
          <a:p>
            <a:pPr defTabSz="59423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10960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64" tIns="59433" rIns="118864" bIns="59433" numCol="1" anchor="t" anchorCtr="0" compatLnSpc="1">
            <a:prstTxWarp prst="textNoShape">
              <a:avLst/>
            </a:prstTxWarp>
          </a:bodyPr>
          <a:lstStyle/>
          <a:p>
            <a:pPr defTabSz="59423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64" tIns="59433" rIns="118864" bIns="59433" numCol="1" anchor="t" anchorCtr="0" compatLnSpc="1">
            <a:prstTxWarp prst="textNoShape">
              <a:avLst/>
            </a:prstTxWarp>
          </a:bodyPr>
          <a:lstStyle/>
          <a:p>
            <a:pPr defTabSz="59423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95151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64" tIns="59433" rIns="118864" bIns="59433" numCol="1" anchor="t" anchorCtr="0" compatLnSpc="1">
            <a:prstTxWarp prst="textNoShape">
              <a:avLst/>
            </a:prstTxWarp>
          </a:bodyPr>
          <a:lstStyle/>
          <a:p>
            <a:pPr defTabSz="59423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3149540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64" tIns="59433" rIns="118864" bIns="59433" numCol="1" anchor="t" anchorCtr="0" compatLnSpc="1">
            <a:prstTxWarp prst="textNoShape">
              <a:avLst/>
            </a:prstTxWarp>
          </a:bodyPr>
          <a:lstStyle/>
          <a:p>
            <a:pPr defTabSz="59423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3149538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64" tIns="59433" rIns="118864" bIns="59433" numCol="1" anchor="t" anchorCtr="0" compatLnSpc="1">
            <a:prstTxWarp prst="textNoShape">
              <a:avLst/>
            </a:prstTxWarp>
          </a:bodyPr>
          <a:lstStyle/>
          <a:p>
            <a:pPr defTabSz="59423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64" tIns="59433" rIns="118864" bIns="59433" numCol="1" anchor="t" anchorCtr="0" compatLnSpc="1">
            <a:prstTxWarp prst="textNoShape">
              <a:avLst/>
            </a:prstTxWarp>
          </a:bodyPr>
          <a:lstStyle/>
          <a:p>
            <a:pPr defTabSz="59423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511201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64" tIns="59433" rIns="118864" bIns="59433" numCol="1" anchor="t" anchorCtr="0" compatLnSpc="1">
            <a:prstTxWarp prst="textNoShape">
              <a:avLst/>
            </a:prstTxWarp>
          </a:bodyPr>
          <a:lstStyle/>
          <a:p>
            <a:pPr defTabSz="59423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6279959" y="6748315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64" tIns="59433" rIns="118864" bIns="59433" numCol="1" anchor="t" anchorCtr="0" compatLnSpc="1">
            <a:prstTxWarp prst="textNoShape">
              <a:avLst/>
            </a:prstTxWarp>
          </a:bodyPr>
          <a:lstStyle/>
          <a:p>
            <a:pPr defTabSz="59423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64" tIns="59433" rIns="118864" bIns="59433" numCol="1" anchor="t" anchorCtr="0" compatLnSpc="1">
            <a:prstTxWarp prst="textNoShape">
              <a:avLst/>
            </a:prstTxWarp>
          </a:bodyPr>
          <a:lstStyle/>
          <a:p>
            <a:pPr defTabSz="59423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64" tIns="59433" rIns="118864" bIns="59433" numCol="1" anchor="t" anchorCtr="0" compatLnSpc="1">
            <a:prstTxWarp prst="textNoShape">
              <a:avLst/>
            </a:prstTxWarp>
          </a:bodyPr>
          <a:lstStyle/>
          <a:p>
            <a:pPr defTabSz="59423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8242436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64" tIns="59433" rIns="118864" bIns="59433" numCol="1" anchor="t" anchorCtr="0" compatLnSpc="1">
            <a:prstTxWarp prst="textNoShape">
              <a:avLst/>
            </a:prstTxWarp>
          </a:bodyPr>
          <a:lstStyle/>
          <a:p>
            <a:pPr defTabSz="59423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0448805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047" r:id="rId1"/>
    <p:sldLayoutId id="2147486048" r:id="rId2"/>
    <p:sldLayoutId id="2147486049" r:id="rId3"/>
    <p:sldLayoutId id="2147486050" r:id="rId4"/>
    <p:sldLayoutId id="2147486051" r:id="rId5"/>
    <p:sldLayoutId id="2147486052" r:id="rId6"/>
    <p:sldLayoutId id="2147486053" r:id="rId7"/>
    <p:sldLayoutId id="2147486054" r:id="rId8"/>
    <p:sldLayoutId id="2147486055" r:id="rId9"/>
    <p:sldLayoutId id="2147486056" r:id="rId10"/>
  </p:sldLayoutIdLst>
  <p:hf sldNum="0" hdr="0" ftr="0" dt="0"/>
  <p:txStyles>
    <p:titleStyle>
      <a:lvl1pPr algn="l" defTabSz="594238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353" indent="-239353" algn="l" defTabSz="59423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4574" indent="-229031" algn="l" defTabSz="59423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4574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3610" indent="-229031" algn="l" defTabSz="59423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3610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2649" indent="-229031" algn="l" defTabSz="59423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2649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1677" indent="-229031" algn="l" defTabSz="59423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1677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68400" indent="-297116" algn="l" defTabSz="59423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62648" indent="-297116" algn="l" defTabSz="59423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56898" indent="-297116" algn="l" defTabSz="59423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51155" indent="-297116" algn="l" defTabSz="59423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423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4238" algn="l" defTabSz="59423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8509" algn="l" defTabSz="59423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2765" algn="l" defTabSz="59423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7014" algn="l" defTabSz="59423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71276" algn="l" defTabSz="59423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65523" algn="l" defTabSz="59423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59774" algn="l" defTabSz="59423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54028" algn="l" defTabSz="59423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21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82" y="1854704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2054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3499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81813" y="1855223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3499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38" tIns="46738" rIns="46738" bIns="46738" numCol="1" anchor="t" anchorCtr="0" compatLnSpc="1">
            <a:prstTxWarp prst="textNoShape">
              <a:avLst/>
            </a:prstTxWarp>
          </a:bodyPr>
          <a:lstStyle/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38" tIns="46738" rIns="46738" bIns="46738" numCol="1" anchor="t" anchorCtr="0" compatLnSpc="1">
            <a:prstTxWarp prst="textNoShape">
              <a:avLst/>
            </a:prstTxWarp>
          </a:bodyPr>
          <a:lstStyle/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38" tIns="46738" rIns="46738" bIns="46738" numCol="1" anchor="t" anchorCtr="0" compatLnSpc="1">
            <a:prstTxWarp prst="textNoShape">
              <a:avLst/>
            </a:prstTxWarp>
          </a:bodyPr>
          <a:lstStyle/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38" tIns="46738" rIns="46738" bIns="46738" numCol="1" anchor="t" anchorCtr="0" compatLnSpc="1">
            <a:prstTxWarp prst="textNoShape">
              <a:avLst/>
            </a:prstTxWarp>
          </a:bodyPr>
          <a:lstStyle/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38" tIns="46738" rIns="46738" bIns="46738" numCol="1" anchor="t" anchorCtr="0" compatLnSpc="1">
            <a:prstTxWarp prst="textNoShape">
              <a:avLst/>
            </a:prstTxWarp>
          </a:bodyPr>
          <a:lstStyle/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38" tIns="46738" rIns="46738" bIns="46738" numCol="1" anchor="t" anchorCtr="0" compatLnSpc="1">
            <a:prstTxWarp prst="textNoShape">
              <a:avLst/>
            </a:prstTxWarp>
          </a:bodyPr>
          <a:lstStyle/>
          <a:p>
            <a:pPr defTabSz="59349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349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349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38" tIns="46738" rIns="46738" bIns="46738" numCol="1" anchor="t" anchorCtr="0" compatLnSpc="1">
            <a:prstTxWarp prst="textNoShape">
              <a:avLst/>
            </a:prstTxWarp>
          </a:bodyPr>
          <a:lstStyle/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9223673" y="6781925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3499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719" tIns="59361" rIns="118719" bIns="59361" numCol="1" anchor="t" anchorCtr="0" compatLnSpc="1">
            <a:prstTxWarp prst="textNoShape">
              <a:avLst/>
            </a:prstTxWarp>
          </a:bodyPr>
          <a:lstStyle/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19" tIns="59361" rIns="118719" bIns="59361" numCol="1" anchor="t" anchorCtr="0" compatLnSpc="1">
            <a:prstTxWarp prst="textNoShape">
              <a:avLst/>
            </a:prstTxWarp>
          </a:bodyPr>
          <a:lstStyle/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19" tIns="59361" rIns="118719" bIns="59361" numCol="1" anchor="t" anchorCtr="0" compatLnSpc="1">
            <a:prstTxWarp prst="textNoShape">
              <a:avLst/>
            </a:prstTxWarp>
          </a:bodyPr>
          <a:lstStyle/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19" tIns="59361" rIns="118719" bIns="59361" numCol="1" anchor="t" anchorCtr="0" compatLnSpc="1">
            <a:prstTxWarp prst="textNoShape">
              <a:avLst/>
            </a:prstTxWarp>
          </a:bodyPr>
          <a:lstStyle/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719" tIns="59361" rIns="118719" bIns="59361" numCol="1" anchor="t" anchorCtr="0" compatLnSpc="1">
            <a:prstTxWarp prst="textNoShape">
              <a:avLst/>
            </a:prstTxWarp>
          </a:bodyPr>
          <a:lstStyle/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19" tIns="59361" rIns="118719" bIns="59361" numCol="1" anchor="t" anchorCtr="0" compatLnSpc="1">
            <a:prstTxWarp prst="textNoShape">
              <a:avLst/>
            </a:prstTxWarp>
          </a:bodyPr>
          <a:lstStyle/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19" tIns="59361" rIns="118719" bIns="59361" numCol="1" anchor="t" anchorCtr="0" compatLnSpc="1">
            <a:prstTxWarp prst="textNoShape">
              <a:avLst/>
            </a:prstTxWarp>
          </a:bodyPr>
          <a:lstStyle/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19" tIns="59361" rIns="118719" bIns="59361" numCol="1" anchor="t" anchorCtr="0" compatLnSpc="1">
            <a:prstTxWarp prst="textNoShape">
              <a:avLst/>
            </a:prstTxWarp>
          </a:bodyPr>
          <a:lstStyle/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719" tIns="59361" rIns="118719" bIns="59361" numCol="1" anchor="t" anchorCtr="0" compatLnSpc="1">
            <a:prstTxWarp prst="textNoShape">
              <a:avLst/>
            </a:prstTxWarp>
          </a:bodyPr>
          <a:lstStyle/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19" tIns="59361" rIns="118719" bIns="59361" numCol="1" anchor="t" anchorCtr="0" compatLnSpc="1">
            <a:prstTxWarp prst="textNoShape">
              <a:avLst/>
            </a:prstTxWarp>
          </a:bodyPr>
          <a:lstStyle/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19" tIns="59361" rIns="118719" bIns="59361" numCol="1" anchor="t" anchorCtr="0" compatLnSpc="1">
            <a:prstTxWarp prst="textNoShape">
              <a:avLst/>
            </a:prstTxWarp>
          </a:bodyPr>
          <a:lstStyle/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19" tIns="59361" rIns="118719" bIns="59361" numCol="1" anchor="t" anchorCtr="0" compatLnSpc="1">
            <a:prstTxWarp prst="textNoShape">
              <a:avLst/>
            </a:prstTxWarp>
          </a:bodyPr>
          <a:lstStyle/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22736031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074" r:id="rId1"/>
    <p:sldLayoutId id="2147486075" r:id="rId2"/>
    <p:sldLayoutId id="2147486076" r:id="rId3"/>
    <p:sldLayoutId id="2147486077" r:id="rId4"/>
  </p:sldLayoutIdLst>
  <p:hf sldNum="0" hdr="0" ftr="0" dt="0"/>
  <p:txStyles>
    <p:titleStyle>
      <a:lvl1pPr algn="l" defTabSz="593499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059" indent="-239059" algn="l" defTabSz="59349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3988" indent="-228747" algn="l" defTabSz="59349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3988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2739" indent="-228747" algn="l" defTabSz="59349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2739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1495" indent="-228747" algn="l" defTabSz="59349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1495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0237" indent="-228747" algn="l" defTabSz="59349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0237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64357" indent="-296745" algn="l" defTabSz="593499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57871" indent="-296745" algn="l" defTabSz="593499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51385" indent="-296745" algn="l" defTabSz="593499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44909" indent="-296745" algn="l" defTabSz="593499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349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3499" algn="l" defTabSz="59349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7040" algn="l" defTabSz="59349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0560" algn="l" defTabSz="59349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4078" algn="l" defTabSz="59349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67599" algn="l" defTabSz="59349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61112" algn="l" defTabSz="59349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54630" algn="l" defTabSz="59349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48151" algn="l" defTabSz="59349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21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368089918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20368" name="Slide do think-cell" r:id="rId10" imgW="270" imgH="270" progId="TCLayout.ActiveDocument.1">
                  <p:embed/>
                </p:oleObj>
              </mc:Choice>
              <mc:Fallback>
                <p:oleObj name="Slide do think-cell" r:id="rId1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82" y="1854704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2054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3499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81813" y="1855223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3499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38" tIns="46738" rIns="46738" bIns="46738" numCol="1" anchor="t" anchorCtr="0" compatLnSpc="1">
            <a:prstTxWarp prst="textNoShape">
              <a:avLst/>
            </a:prstTxWarp>
          </a:bodyPr>
          <a:lstStyle/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38" tIns="46738" rIns="46738" bIns="46738" numCol="1" anchor="t" anchorCtr="0" compatLnSpc="1">
            <a:prstTxWarp prst="textNoShape">
              <a:avLst/>
            </a:prstTxWarp>
          </a:bodyPr>
          <a:lstStyle/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38" tIns="46738" rIns="46738" bIns="46738" numCol="1" anchor="t" anchorCtr="0" compatLnSpc="1">
            <a:prstTxWarp prst="textNoShape">
              <a:avLst/>
            </a:prstTxWarp>
          </a:bodyPr>
          <a:lstStyle/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38" tIns="46738" rIns="46738" bIns="46738" numCol="1" anchor="t" anchorCtr="0" compatLnSpc="1">
            <a:prstTxWarp prst="textNoShape">
              <a:avLst/>
            </a:prstTxWarp>
          </a:bodyPr>
          <a:lstStyle/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38" tIns="46738" rIns="46738" bIns="46738" numCol="1" anchor="t" anchorCtr="0" compatLnSpc="1">
            <a:prstTxWarp prst="textNoShape">
              <a:avLst/>
            </a:prstTxWarp>
          </a:bodyPr>
          <a:lstStyle/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38" tIns="46738" rIns="46738" bIns="46738" numCol="1" anchor="t" anchorCtr="0" compatLnSpc="1">
            <a:prstTxWarp prst="textNoShape">
              <a:avLst/>
            </a:prstTxWarp>
          </a:bodyPr>
          <a:lstStyle/>
          <a:p>
            <a:pPr defTabSz="59349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349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349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38" tIns="46738" rIns="46738" bIns="46738" numCol="1" anchor="t" anchorCtr="0" compatLnSpc="1">
            <a:prstTxWarp prst="textNoShape">
              <a:avLst/>
            </a:prstTxWarp>
          </a:bodyPr>
          <a:lstStyle/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9223673" y="6781925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3499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719" tIns="59361" rIns="118719" bIns="59361" numCol="1" anchor="t" anchorCtr="0" compatLnSpc="1">
            <a:prstTxWarp prst="textNoShape">
              <a:avLst/>
            </a:prstTxWarp>
          </a:bodyPr>
          <a:lstStyle/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19" tIns="59361" rIns="118719" bIns="59361" numCol="1" anchor="t" anchorCtr="0" compatLnSpc="1">
            <a:prstTxWarp prst="textNoShape">
              <a:avLst/>
            </a:prstTxWarp>
          </a:bodyPr>
          <a:lstStyle/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19" tIns="59361" rIns="118719" bIns="59361" numCol="1" anchor="t" anchorCtr="0" compatLnSpc="1">
            <a:prstTxWarp prst="textNoShape">
              <a:avLst/>
            </a:prstTxWarp>
          </a:bodyPr>
          <a:lstStyle/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19" tIns="59361" rIns="118719" bIns="59361" numCol="1" anchor="t" anchorCtr="0" compatLnSpc="1">
            <a:prstTxWarp prst="textNoShape">
              <a:avLst/>
            </a:prstTxWarp>
          </a:bodyPr>
          <a:lstStyle/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719" tIns="59361" rIns="118719" bIns="59361" numCol="1" anchor="t" anchorCtr="0" compatLnSpc="1">
            <a:prstTxWarp prst="textNoShape">
              <a:avLst/>
            </a:prstTxWarp>
          </a:bodyPr>
          <a:lstStyle/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19" tIns="59361" rIns="118719" bIns="59361" numCol="1" anchor="t" anchorCtr="0" compatLnSpc="1">
            <a:prstTxWarp prst="textNoShape">
              <a:avLst/>
            </a:prstTxWarp>
          </a:bodyPr>
          <a:lstStyle/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19" tIns="59361" rIns="118719" bIns="59361" numCol="1" anchor="t" anchorCtr="0" compatLnSpc="1">
            <a:prstTxWarp prst="textNoShape">
              <a:avLst/>
            </a:prstTxWarp>
          </a:bodyPr>
          <a:lstStyle/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19" tIns="59361" rIns="118719" bIns="59361" numCol="1" anchor="t" anchorCtr="0" compatLnSpc="1">
            <a:prstTxWarp prst="textNoShape">
              <a:avLst/>
            </a:prstTxWarp>
          </a:bodyPr>
          <a:lstStyle/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719" tIns="59361" rIns="118719" bIns="59361" numCol="1" anchor="t" anchorCtr="0" compatLnSpc="1">
            <a:prstTxWarp prst="textNoShape">
              <a:avLst/>
            </a:prstTxWarp>
          </a:bodyPr>
          <a:lstStyle/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19" tIns="59361" rIns="118719" bIns="59361" numCol="1" anchor="t" anchorCtr="0" compatLnSpc="1">
            <a:prstTxWarp prst="textNoShape">
              <a:avLst/>
            </a:prstTxWarp>
          </a:bodyPr>
          <a:lstStyle/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19" tIns="59361" rIns="118719" bIns="59361" numCol="1" anchor="t" anchorCtr="0" compatLnSpc="1">
            <a:prstTxWarp prst="textNoShape">
              <a:avLst/>
            </a:prstTxWarp>
          </a:bodyPr>
          <a:lstStyle/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19" tIns="59361" rIns="118719" bIns="59361" numCol="1" anchor="t" anchorCtr="0" compatLnSpc="1">
            <a:prstTxWarp prst="textNoShape">
              <a:avLst/>
            </a:prstTxWarp>
          </a:bodyPr>
          <a:lstStyle/>
          <a:p>
            <a:pPr defTabSz="59349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6679741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079" r:id="rId1"/>
    <p:sldLayoutId id="2147486080" r:id="rId2"/>
    <p:sldLayoutId id="2147486081" r:id="rId3"/>
    <p:sldLayoutId id="2147486082" r:id="rId4"/>
    <p:sldLayoutId id="2147486358" r:id="rId5"/>
    <p:sldLayoutId id="2147486579" r:id="rId6"/>
  </p:sldLayoutIdLst>
  <p:hf sldNum="0" hdr="0" ftr="0" dt="0"/>
  <p:txStyles>
    <p:titleStyle>
      <a:lvl1pPr algn="l" defTabSz="593499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059" indent="-239059" algn="l" defTabSz="59349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3988" indent="-228747" algn="l" defTabSz="59349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3988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2739" indent="-228747" algn="l" defTabSz="59349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2739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1495" indent="-228747" algn="l" defTabSz="59349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1495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0237" indent="-228747" algn="l" defTabSz="59349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0237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64357" indent="-296745" algn="l" defTabSz="593499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57871" indent="-296745" algn="l" defTabSz="593499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51385" indent="-296745" algn="l" defTabSz="593499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44909" indent="-296745" algn="l" defTabSz="593499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349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3499" algn="l" defTabSz="59349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7040" algn="l" defTabSz="59349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0560" algn="l" defTabSz="59349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4078" algn="l" defTabSz="59349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67599" algn="l" defTabSz="59349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61112" algn="l" defTabSz="59349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54630" algn="l" defTabSz="59349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48151" algn="l" defTabSz="59349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21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78" y="1854702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2051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6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3630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81816" y="1855222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3630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81816" y="4207633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3630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8" tIns="46748" rIns="46748" bIns="46748" numCol="1" anchor="t" anchorCtr="0" compatLnSpc="1">
            <a:prstTxWarp prst="textNoShape">
              <a:avLst/>
            </a:prstTxWarp>
          </a:bodyPr>
          <a:lstStyle/>
          <a:p>
            <a:pPr defTabSz="59363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63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363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8" tIns="46748" rIns="46748" bIns="46748" numCol="1" anchor="t" anchorCtr="0" compatLnSpc="1">
            <a:prstTxWarp prst="textNoShape">
              <a:avLst/>
            </a:prstTxWarp>
          </a:bodyPr>
          <a:lstStyle/>
          <a:p>
            <a:pPr defTabSz="59363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63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363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8" tIns="46748" rIns="46748" bIns="46748" numCol="1" anchor="t" anchorCtr="0" compatLnSpc="1">
            <a:prstTxWarp prst="textNoShape">
              <a:avLst/>
            </a:prstTxWarp>
          </a:bodyPr>
          <a:lstStyle/>
          <a:p>
            <a:pPr defTabSz="59363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63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363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8" tIns="46748" rIns="46748" bIns="46748" numCol="1" anchor="t" anchorCtr="0" compatLnSpc="1">
            <a:prstTxWarp prst="textNoShape">
              <a:avLst/>
            </a:prstTxWarp>
          </a:bodyPr>
          <a:lstStyle/>
          <a:p>
            <a:pPr defTabSz="59363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63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363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8" tIns="46748" rIns="46748" bIns="46748" numCol="1" anchor="t" anchorCtr="0" compatLnSpc="1">
            <a:prstTxWarp prst="textNoShape">
              <a:avLst/>
            </a:prstTxWarp>
          </a:bodyPr>
          <a:lstStyle/>
          <a:p>
            <a:pPr defTabSz="59363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363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363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8" tIns="46748" rIns="46748" bIns="46748" numCol="1" anchor="t" anchorCtr="0" compatLnSpc="1">
            <a:prstTxWarp prst="textNoShape">
              <a:avLst/>
            </a:prstTxWarp>
          </a:bodyPr>
          <a:lstStyle/>
          <a:p>
            <a:pPr defTabSz="59363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363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363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8" tIns="46748" rIns="46748" bIns="46748" numCol="1" anchor="t" anchorCtr="0" compatLnSpc="1">
            <a:prstTxWarp prst="textNoShape">
              <a:avLst/>
            </a:prstTxWarp>
          </a:bodyPr>
          <a:lstStyle/>
          <a:p>
            <a:pPr defTabSz="59363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363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363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9223673" y="6781924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3630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10960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745" tIns="59374" rIns="118745" bIns="59374" numCol="1" anchor="t" anchorCtr="0" compatLnSpc="1">
            <a:prstTxWarp prst="textNoShape">
              <a:avLst/>
            </a:prstTxWarp>
          </a:bodyPr>
          <a:lstStyle/>
          <a:p>
            <a:pPr defTabSz="59363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10960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45" tIns="59374" rIns="118745" bIns="59374" numCol="1" anchor="t" anchorCtr="0" compatLnSpc="1">
            <a:prstTxWarp prst="textNoShape">
              <a:avLst/>
            </a:prstTxWarp>
          </a:bodyPr>
          <a:lstStyle/>
          <a:p>
            <a:pPr defTabSz="59363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45" tIns="59374" rIns="118745" bIns="59374" numCol="1" anchor="t" anchorCtr="0" compatLnSpc="1">
            <a:prstTxWarp prst="textNoShape">
              <a:avLst/>
            </a:prstTxWarp>
          </a:bodyPr>
          <a:lstStyle/>
          <a:p>
            <a:pPr defTabSz="59363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95151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45" tIns="59374" rIns="118745" bIns="59374" numCol="1" anchor="t" anchorCtr="0" compatLnSpc="1">
            <a:prstTxWarp prst="textNoShape">
              <a:avLst/>
            </a:prstTxWarp>
          </a:bodyPr>
          <a:lstStyle/>
          <a:p>
            <a:pPr defTabSz="59363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3149540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745" tIns="59374" rIns="118745" bIns="59374" numCol="1" anchor="t" anchorCtr="0" compatLnSpc="1">
            <a:prstTxWarp prst="textNoShape">
              <a:avLst/>
            </a:prstTxWarp>
          </a:bodyPr>
          <a:lstStyle/>
          <a:p>
            <a:pPr defTabSz="59363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3149538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45" tIns="59374" rIns="118745" bIns="59374" numCol="1" anchor="t" anchorCtr="0" compatLnSpc="1">
            <a:prstTxWarp prst="textNoShape">
              <a:avLst/>
            </a:prstTxWarp>
          </a:bodyPr>
          <a:lstStyle/>
          <a:p>
            <a:pPr defTabSz="59363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45" tIns="59374" rIns="118745" bIns="59374" numCol="1" anchor="t" anchorCtr="0" compatLnSpc="1">
            <a:prstTxWarp prst="textNoShape">
              <a:avLst/>
            </a:prstTxWarp>
          </a:bodyPr>
          <a:lstStyle/>
          <a:p>
            <a:pPr defTabSz="59363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511201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45" tIns="59374" rIns="118745" bIns="59374" numCol="1" anchor="t" anchorCtr="0" compatLnSpc="1">
            <a:prstTxWarp prst="textNoShape">
              <a:avLst/>
            </a:prstTxWarp>
          </a:bodyPr>
          <a:lstStyle/>
          <a:p>
            <a:pPr defTabSz="59363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6279959" y="6748315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745" tIns="59374" rIns="118745" bIns="59374" numCol="1" anchor="t" anchorCtr="0" compatLnSpc="1">
            <a:prstTxWarp prst="textNoShape">
              <a:avLst/>
            </a:prstTxWarp>
          </a:bodyPr>
          <a:lstStyle/>
          <a:p>
            <a:pPr defTabSz="59363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45" tIns="59374" rIns="118745" bIns="59374" numCol="1" anchor="t" anchorCtr="0" compatLnSpc="1">
            <a:prstTxWarp prst="textNoShape">
              <a:avLst/>
            </a:prstTxWarp>
          </a:bodyPr>
          <a:lstStyle/>
          <a:p>
            <a:pPr defTabSz="59363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45" tIns="59374" rIns="118745" bIns="59374" numCol="1" anchor="t" anchorCtr="0" compatLnSpc="1">
            <a:prstTxWarp prst="textNoShape">
              <a:avLst/>
            </a:prstTxWarp>
          </a:bodyPr>
          <a:lstStyle/>
          <a:p>
            <a:pPr defTabSz="59363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8242436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45" tIns="59374" rIns="118745" bIns="59374" numCol="1" anchor="t" anchorCtr="0" compatLnSpc="1">
            <a:prstTxWarp prst="textNoShape">
              <a:avLst/>
            </a:prstTxWarp>
          </a:bodyPr>
          <a:lstStyle/>
          <a:p>
            <a:pPr defTabSz="59363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4096334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084" r:id="rId1"/>
    <p:sldLayoutId id="2147486085" r:id="rId2"/>
    <p:sldLayoutId id="2147486086" r:id="rId3"/>
    <p:sldLayoutId id="2147486087" r:id="rId4"/>
    <p:sldLayoutId id="2147486088" r:id="rId5"/>
    <p:sldLayoutId id="2147486090" r:id="rId6"/>
  </p:sldLayoutIdLst>
  <p:hf sldNum="0" hdr="0" ftr="0" dt="0"/>
  <p:txStyles>
    <p:titleStyle>
      <a:lvl1pPr algn="l" defTabSz="593630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110" indent="-239110" algn="l" defTabSz="593630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4092" indent="-228797" algn="l" defTabSz="593630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4092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2892" indent="-228797" algn="l" defTabSz="593630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2892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1699" indent="-228797" algn="l" defTabSz="593630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1699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0489" indent="-228797" algn="l" defTabSz="593630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0489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65072" indent="-296810" algn="l" defTabSz="593630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58716" indent="-296810" algn="l" defTabSz="593630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52361" indent="-296810" algn="l" defTabSz="593630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46015" indent="-296810" algn="l" defTabSz="593630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363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3630" algn="l" defTabSz="59363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7298" algn="l" defTabSz="59363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0951" algn="l" defTabSz="59363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4597" algn="l" defTabSz="59363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68250" algn="l" defTabSz="59363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61892" algn="l" defTabSz="59363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55540" algn="l" defTabSz="59363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49192" algn="l" defTabSz="59363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2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82" y="1854687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2038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81813" y="1855207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01" tIns="46801" rIns="46801" bIns="46801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01" tIns="46801" rIns="46801" bIns="46801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01" tIns="46801" rIns="46801" bIns="46801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01" tIns="46801" rIns="46801" bIns="46801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01" tIns="46801" rIns="46801" bIns="46801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01" tIns="46801" rIns="46801" bIns="46801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01" tIns="46801" rIns="46801" bIns="46801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9223673" y="6781910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4313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77" tIns="59439" rIns="118877" bIns="59439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77" tIns="59439" rIns="118877" bIns="59439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77" tIns="59439" rIns="118877" bIns="59439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77" tIns="59439" rIns="118877" bIns="59439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77" tIns="59439" rIns="118877" bIns="59439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77" tIns="59439" rIns="118877" bIns="59439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77" tIns="59439" rIns="118877" bIns="59439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77" tIns="59439" rIns="118877" bIns="59439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77" tIns="59439" rIns="118877" bIns="59439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77" tIns="59439" rIns="118877" bIns="59439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77" tIns="59439" rIns="118877" bIns="59439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77" tIns="59439" rIns="118877" bIns="59439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6244403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95" r:id="rId1"/>
    <p:sldLayoutId id="2147483896" r:id="rId2"/>
    <p:sldLayoutId id="2147483897" r:id="rId3"/>
    <p:sldLayoutId id="2147483898" r:id="rId4"/>
  </p:sldLayoutIdLst>
  <p:hf sldNum="0" hdr="0" ftr="0" dt="0"/>
  <p:txStyles>
    <p:titleStyle>
      <a:lvl1pPr algn="l" defTabSz="594313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381" indent="-239381" algn="l" defTabSz="59431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4630" indent="-229061" algn="l" defTabSz="59431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4630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3695" indent="-229061" algn="l" defTabSz="59431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3695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2760" indent="-229061" algn="l" defTabSz="59431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2760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1817" indent="-229061" algn="l" defTabSz="59431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1817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68792" indent="-297154" algn="l" defTabSz="59431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63112" indent="-297154" algn="l" defTabSz="59431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57433" indent="-297154" algn="l" defTabSz="59431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51760" indent="-297154" algn="l" defTabSz="59431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431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4313" algn="l" defTabSz="59431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8653" algn="l" defTabSz="59431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2980" algn="l" defTabSz="59431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7300" algn="l" defTabSz="59431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71633" algn="l" defTabSz="59431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65953" algn="l" defTabSz="59431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60277" algn="l" defTabSz="59431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54599" algn="l" defTabSz="59431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22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2128277687"/>
              </p:ext>
            </p:extLst>
          </p:nvPr>
        </p:nvGraphicFramePr>
        <p:xfrm>
          <a:off x="0" y="2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43869" name="Slide do think-cell" r:id="rId13" imgW="0" imgH="0" progId="TCLayout.ActiveDocument.1">
                  <p:embed/>
                </p:oleObj>
              </mc:Choice>
              <mc:Fallback>
                <p:oleObj name="Slide do think-cell" r:id="rId13" imgW="0" imgH="0" progId="TCLayout.ActiveDocument.1">
                  <p:embed/>
                  <p:pic>
                    <p:nvPicPr>
                      <p:cNvPr id="0" name="AutoShape 67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2"/>
                        <a:ext cx="211676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10776431" y="36518"/>
            <a:ext cx="876339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4888"/>
            <a:endParaRPr lang="pt-BR" sz="8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10519874" y="1932900"/>
            <a:ext cx="267220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10682583" y="4106726"/>
            <a:ext cx="234679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936841" y="1951039"/>
            <a:ext cx="5736421" cy="11060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ext styles</a:t>
            </a:r>
          </a:p>
          <a:p>
            <a:pPr lvl="1"/>
            <a:r>
              <a:rPr lang="pt-BR" noProof="0" smtClean="0"/>
              <a:t>Second level</a:t>
            </a:r>
          </a:p>
          <a:p>
            <a:pPr lvl="2"/>
            <a:r>
              <a:rPr lang="pt-BR" noProof="0" smtClean="0"/>
              <a:t>Third level</a:t>
            </a:r>
          </a:p>
          <a:p>
            <a:pPr lvl="3"/>
            <a:r>
              <a:rPr lang="pt-BR" noProof="0" smtClean="0"/>
              <a:t>Fourth level</a:t>
            </a:r>
          </a:p>
          <a:p>
            <a:pPr lvl="4"/>
            <a:r>
              <a:rPr lang="pt-BR" noProof="0" smtClean="0"/>
              <a:t>Fifth level</a:t>
            </a:r>
            <a:endParaRPr lang="pt-BR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211676" y="230193"/>
            <a:ext cx="10530036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58764" y="26992"/>
            <a:ext cx="886083" cy="2212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pt-BR" sz="1400" smtClean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TRACKER</a:t>
            </a:r>
            <a:endParaRPr lang="pt-BR" sz="1400" dirty="0">
              <a:solidFill>
                <a:srgbClr val="80808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58786" y="621826"/>
            <a:ext cx="11491891" cy="281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pt-BR" sz="1800" smtClean="0">
                <a:solidFill>
                  <a:srgbClr val="D5E7FF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Unit of measure</a:t>
            </a:r>
            <a:endParaRPr lang="pt-BR" sz="1800" dirty="0" smtClean="0">
              <a:solidFill>
                <a:srgbClr val="D5E7FF">
                  <a:lumMod val="75000"/>
                </a:srgbClr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158758" y="6266461"/>
            <a:ext cx="11398753" cy="358776"/>
            <a:chOff x="75" y="3877"/>
            <a:chExt cx="5385" cy="226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877"/>
              <a:ext cx="5385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pt-BR" sz="100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1 Footnote</a:t>
              </a:r>
              <a:endParaRPr lang="pt-BR" sz="1000" dirty="0" smtClean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06"/>
              <a:ext cx="4323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t" anchorCtr="0">
              <a:spAutoFit/>
            </a:bodyPr>
            <a:lstStyle/>
            <a:p>
              <a:pPr marL="609285" indent="-609285" defTabSz="894888">
                <a:tabLst>
                  <a:tab pos="612459" algn="l"/>
                </a:tabLst>
              </a:pPr>
              <a:r>
                <a:rPr lang="pt-BR" sz="1000" dirty="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FONTE: </a:t>
              </a:r>
              <a:r>
                <a:rPr lang="pt-BR" sz="1000" dirty="0" err="1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ource</a:t>
              </a:r>
              <a:endParaRPr lang="pt-BR" sz="1000" dirty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936840" y="1123953"/>
            <a:ext cx="5685618" cy="511174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 hidden="1"/>
            <p:cNvSpPr>
              <a:spLocks noChangeArrowheads="1"/>
            </p:cNvSpPr>
            <p:nvPr/>
          </p:nvSpPr>
          <p:spPr bwMode="auto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pt-BR" b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itle</a:t>
              </a:r>
            </a:p>
            <a:p>
              <a:r>
                <a:rPr lang="pt-BR" smtClean="0">
                  <a:solidFill>
                    <a:srgbClr val="80808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Unit of measure</a:t>
              </a:r>
              <a:endParaRPr lang="pt-BR" dirty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28" name="Group 27"/>
          <p:cNvGrpSpPr/>
          <p:nvPr userDrawn="1"/>
        </p:nvGrpSpPr>
        <p:grpSpPr>
          <a:xfrm>
            <a:off x="12094498" y="60963"/>
            <a:ext cx="613376" cy="655256"/>
            <a:chOff x="5526523" y="2325890"/>
            <a:chExt cx="3423032" cy="3656747"/>
          </a:xfrm>
        </p:grpSpPr>
        <p:sp>
          <p:nvSpPr>
            <p:cNvPr id="29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30" name="Group 29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31" name="Donut 30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2" name="Oval 31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3" name="Oval 32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14842708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092" r:id="rId1"/>
    <p:sldLayoutId id="2147486093" r:id="rId2"/>
    <p:sldLayoutId id="2147486094" r:id="rId3"/>
    <p:sldLayoutId id="2147486095" r:id="rId4"/>
    <p:sldLayoutId id="2147486096" r:id="rId5"/>
    <p:sldLayoutId id="2147486097" r:id="rId6"/>
    <p:sldLayoutId id="2147486098" r:id="rId7"/>
    <p:sldLayoutId id="2147486099" r:id="rId8"/>
    <p:sldLayoutId id="2147486101" r:id="rId9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894888" rtl="0" eaLnBrk="1" fontAlgn="base" hangingPunct="1">
        <a:spcBef>
          <a:spcPct val="0"/>
        </a:spcBef>
        <a:spcAft>
          <a:spcPct val="0"/>
        </a:spcAft>
        <a:tabLst>
          <a:tab pos="269737" algn="l"/>
        </a:tabLst>
        <a:defRPr lang="en-US" sz="2000" b="1" baseline="0" noProof="0" dirty="0" smtClean="0">
          <a:solidFill>
            <a:schemeClr val="accent4"/>
          </a:solidFill>
          <a:latin typeface="Arial" panose="020B0604020202020204" pitchFamily="34" charset="0"/>
          <a:ea typeface="+mj-ea"/>
          <a:cs typeface="Arial" panose="020B0604020202020204" pitchFamily="34" charset="0"/>
          <a:sym typeface="Arial" panose="020B0604020202020204" pitchFamily="34" charset="0"/>
        </a:defRPr>
      </a:lvl1pPr>
      <a:lvl2pPr algn="l" defTabSz="89488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2pPr>
      <a:lvl3pPr algn="l" defTabSz="89488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3pPr>
      <a:lvl4pPr algn="l" defTabSz="89488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4pPr>
      <a:lvl5pPr algn="l" defTabSz="89488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5pPr>
      <a:lvl6pPr marL="456965" algn="l" defTabSz="89488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6pPr>
      <a:lvl7pPr marL="913928" algn="l" defTabSz="89488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7pPr>
      <a:lvl8pPr marL="1370890" algn="l" defTabSz="89488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8pPr>
      <a:lvl9pPr marL="1827858" algn="l" defTabSz="89488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4888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400" baseline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1pPr>
      <a:lvl2pPr marL="193575" indent="-193575" algn="l" defTabSz="894888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15000"/>
        <a:buFont typeface="Simplon BP Regular" pitchFamily="2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2pPr>
      <a:lvl3pPr marL="456965" indent="-261801" algn="l" defTabSz="894888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charset="0"/>
        <a:buChar char="–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3pPr>
      <a:lvl4pPr marL="614047" indent="-155496" algn="l" defTabSz="894888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pitchFamily="34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4pPr>
      <a:lvl5pPr marL="749421" indent="-130109" algn="l" defTabSz="894888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89000"/>
        <a:buFont typeface="Arial" charset="0"/>
        <a:buChar char="-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5pPr>
      <a:lvl6pPr marL="749421" indent="-130109" algn="l" defTabSz="89488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9421" indent="-130109" algn="l" defTabSz="89488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9421" indent="-130109" algn="l" defTabSz="89488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9421" indent="-130109" algn="l" defTabSz="89488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392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965" algn="l" defTabSz="91392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3928" algn="l" defTabSz="91392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0890" algn="l" defTabSz="91392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7858" algn="l" defTabSz="91392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4820" algn="l" defTabSz="91392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1783" algn="l" defTabSz="91392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8751" algn="l" defTabSz="91392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5717" algn="l" defTabSz="91392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2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500197045"/>
              </p:ext>
            </p:extLst>
          </p:nvPr>
        </p:nvGraphicFramePr>
        <p:xfrm>
          <a:off x="0" y="2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47965" name="Slide do think-cell" r:id="rId15" imgW="0" imgH="0" progId="TCLayout.ActiveDocument.1">
                  <p:embed/>
                </p:oleObj>
              </mc:Choice>
              <mc:Fallback>
                <p:oleObj name="Slide do think-cell" r:id="rId15" imgW="0" imgH="0" progId="TCLayout.ActiveDocument.1">
                  <p:embed/>
                  <p:pic>
                    <p:nvPicPr>
                      <p:cNvPr id="0" name="AutoShape 6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2"/>
                        <a:ext cx="211676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10776431" y="36518"/>
            <a:ext cx="876339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4888"/>
            <a:endParaRPr lang="pt-BR" sz="8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10519874" y="1932900"/>
            <a:ext cx="267220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10682583" y="4106726"/>
            <a:ext cx="234679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936841" y="1951039"/>
            <a:ext cx="5736421" cy="11060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ext styles</a:t>
            </a:r>
          </a:p>
          <a:p>
            <a:pPr lvl="1"/>
            <a:r>
              <a:rPr lang="pt-BR" noProof="0" smtClean="0"/>
              <a:t>Second level</a:t>
            </a:r>
          </a:p>
          <a:p>
            <a:pPr lvl="2"/>
            <a:r>
              <a:rPr lang="pt-BR" noProof="0" smtClean="0"/>
              <a:t>Third level</a:t>
            </a:r>
          </a:p>
          <a:p>
            <a:pPr lvl="3"/>
            <a:r>
              <a:rPr lang="pt-BR" noProof="0" smtClean="0"/>
              <a:t>Fourth level</a:t>
            </a:r>
          </a:p>
          <a:p>
            <a:pPr lvl="4"/>
            <a:r>
              <a:rPr lang="pt-BR" noProof="0" smtClean="0"/>
              <a:t>Fifth level</a:t>
            </a:r>
            <a:endParaRPr lang="pt-BR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211676" y="230193"/>
            <a:ext cx="10530036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58764" y="26992"/>
            <a:ext cx="886083" cy="2212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pt-BR" sz="1400" smtClean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TRACKER</a:t>
            </a:r>
            <a:endParaRPr lang="pt-BR" sz="1400" dirty="0">
              <a:solidFill>
                <a:srgbClr val="80808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58786" y="621826"/>
            <a:ext cx="11491891" cy="281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pt-BR" sz="1800" smtClean="0">
                <a:solidFill>
                  <a:srgbClr val="D5E7FF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Unit of measure</a:t>
            </a:r>
            <a:endParaRPr lang="pt-BR" sz="1800" dirty="0" smtClean="0">
              <a:solidFill>
                <a:srgbClr val="D5E7FF">
                  <a:lumMod val="75000"/>
                </a:srgbClr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158758" y="6266461"/>
            <a:ext cx="11398753" cy="358776"/>
            <a:chOff x="75" y="3877"/>
            <a:chExt cx="5385" cy="226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877"/>
              <a:ext cx="5385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pt-BR" sz="100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1 Footnote</a:t>
              </a:r>
              <a:endParaRPr lang="pt-BR" sz="1000" dirty="0" smtClean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06"/>
              <a:ext cx="4323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t" anchorCtr="0">
              <a:spAutoFit/>
            </a:bodyPr>
            <a:lstStyle/>
            <a:p>
              <a:pPr marL="609285" indent="-609285" defTabSz="894888">
                <a:tabLst>
                  <a:tab pos="612459" algn="l"/>
                </a:tabLst>
              </a:pPr>
              <a:r>
                <a:rPr lang="pt-BR" sz="1000" dirty="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FONTE: </a:t>
              </a:r>
              <a:r>
                <a:rPr lang="pt-BR" sz="1000" dirty="0" err="1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ource</a:t>
              </a:r>
              <a:endParaRPr lang="pt-BR" sz="1000" dirty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936840" y="1123953"/>
            <a:ext cx="5685618" cy="511174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 hidden="1"/>
            <p:cNvSpPr>
              <a:spLocks noChangeArrowheads="1"/>
            </p:cNvSpPr>
            <p:nvPr/>
          </p:nvSpPr>
          <p:spPr bwMode="auto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pt-BR" b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itle</a:t>
              </a:r>
            </a:p>
            <a:p>
              <a:r>
                <a:rPr lang="pt-BR" smtClean="0">
                  <a:solidFill>
                    <a:srgbClr val="80808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Unit of measure</a:t>
              </a:r>
              <a:endParaRPr lang="pt-BR" dirty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28" name="Group 27"/>
          <p:cNvGrpSpPr/>
          <p:nvPr/>
        </p:nvGrpSpPr>
        <p:grpSpPr>
          <a:xfrm>
            <a:off x="11335740" y="60963"/>
            <a:ext cx="613376" cy="655256"/>
            <a:chOff x="5526523" y="2325890"/>
            <a:chExt cx="3423032" cy="3656747"/>
          </a:xfrm>
        </p:grpSpPr>
        <p:sp>
          <p:nvSpPr>
            <p:cNvPr id="29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30" name="Group 29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31" name="Donut 30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2" name="Oval 31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3" name="Oval 32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  <p:sp>
        <p:nvSpPr>
          <p:cNvPr id="25" name="TextBox 13"/>
          <p:cNvSpPr txBox="1"/>
          <p:nvPr userDrawn="1"/>
        </p:nvSpPr>
        <p:spPr>
          <a:xfrm>
            <a:off x="-281816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3630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26" name="TextBox 18"/>
          <p:cNvSpPr txBox="1"/>
          <p:nvPr userDrawn="1"/>
        </p:nvSpPr>
        <p:spPr>
          <a:xfrm>
            <a:off x="-281816" y="1855222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3630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7" name="TextBox 22"/>
          <p:cNvSpPr txBox="1"/>
          <p:nvPr userDrawn="1"/>
        </p:nvSpPr>
        <p:spPr>
          <a:xfrm>
            <a:off x="-281816" y="4207633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3630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8" tIns="46748" rIns="46748" bIns="46748" numCol="1" anchor="t" anchorCtr="0" compatLnSpc="1">
            <a:prstTxWarp prst="textNoShape">
              <a:avLst/>
            </a:prstTxWarp>
          </a:bodyPr>
          <a:lstStyle/>
          <a:p>
            <a:pPr defTabSz="59363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63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363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8" tIns="46748" rIns="46748" bIns="46748" numCol="1" anchor="t" anchorCtr="0" compatLnSpc="1">
            <a:prstTxWarp prst="textNoShape">
              <a:avLst/>
            </a:prstTxWarp>
          </a:bodyPr>
          <a:lstStyle/>
          <a:p>
            <a:pPr defTabSz="59363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63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363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8" tIns="46748" rIns="46748" bIns="46748" numCol="1" anchor="t" anchorCtr="0" compatLnSpc="1">
            <a:prstTxWarp prst="textNoShape">
              <a:avLst/>
            </a:prstTxWarp>
          </a:bodyPr>
          <a:lstStyle/>
          <a:p>
            <a:pPr defTabSz="59363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63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363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8" tIns="46748" rIns="46748" bIns="46748" numCol="1" anchor="t" anchorCtr="0" compatLnSpc="1">
            <a:prstTxWarp prst="textNoShape">
              <a:avLst/>
            </a:prstTxWarp>
          </a:bodyPr>
          <a:lstStyle/>
          <a:p>
            <a:pPr defTabSz="59363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63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363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8" name="Freeform 20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8" tIns="46748" rIns="46748" bIns="46748" numCol="1" anchor="t" anchorCtr="0" compatLnSpc="1">
            <a:prstTxWarp prst="textNoShape">
              <a:avLst/>
            </a:prstTxWarp>
          </a:bodyPr>
          <a:lstStyle/>
          <a:p>
            <a:pPr defTabSz="59363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363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363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8" tIns="46748" rIns="46748" bIns="46748" numCol="1" anchor="t" anchorCtr="0" compatLnSpc="1">
            <a:prstTxWarp prst="textNoShape">
              <a:avLst/>
            </a:prstTxWarp>
          </a:bodyPr>
          <a:lstStyle/>
          <a:p>
            <a:pPr defTabSz="59363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363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363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8" tIns="46748" rIns="46748" bIns="46748" numCol="1" anchor="t" anchorCtr="0" compatLnSpc="1">
            <a:prstTxWarp prst="textNoShape">
              <a:avLst/>
            </a:prstTxWarp>
          </a:bodyPr>
          <a:lstStyle/>
          <a:p>
            <a:pPr defTabSz="59363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363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363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-10960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745" tIns="59374" rIns="118745" bIns="59374" numCol="1" anchor="t" anchorCtr="0" compatLnSpc="1">
            <a:prstTxWarp prst="textNoShape">
              <a:avLst/>
            </a:prstTxWarp>
          </a:bodyPr>
          <a:lstStyle/>
          <a:p>
            <a:pPr defTabSz="59363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3" name="Freeform 5"/>
          <p:cNvSpPr>
            <a:spLocks/>
          </p:cNvSpPr>
          <p:nvPr userDrawn="1"/>
        </p:nvSpPr>
        <p:spPr bwMode="auto">
          <a:xfrm>
            <a:off x="-10960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45" tIns="59374" rIns="118745" bIns="59374" numCol="1" anchor="t" anchorCtr="0" compatLnSpc="1">
            <a:prstTxWarp prst="textNoShape">
              <a:avLst/>
            </a:prstTxWarp>
          </a:bodyPr>
          <a:lstStyle/>
          <a:p>
            <a:pPr defTabSz="59363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45" tIns="59374" rIns="118745" bIns="59374" numCol="1" anchor="t" anchorCtr="0" compatLnSpc="1">
            <a:prstTxWarp prst="textNoShape">
              <a:avLst/>
            </a:prstTxWarp>
          </a:bodyPr>
          <a:lstStyle/>
          <a:p>
            <a:pPr defTabSz="59363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5" name="Freeform 5"/>
          <p:cNvSpPr>
            <a:spLocks/>
          </p:cNvSpPr>
          <p:nvPr userDrawn="1"/>
        </p:nvSpPr>
        <p:spPr bwMode="auto">
          <a:xfrm>
            <a:off x="195151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45" tIns="59374" rIns="118745" bIns="59374" numCol="1" anchor="t" anchorCtr="0" compatLnSpc="1">
            <a:prstTxWarp prst="textNoShape">
              <a:avLst/>
            </a:prstTxWarp>
          </a:bodyPr>
          <a:lstStyle/>
          <a:p>
            <a:pPr defTabSz="59363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6" name="Freeform 5"/>
          <p:cNvSpPr>
            <a:spLocks/>
          </p:cNvSpPr>
          <p:nvPr userDrawn="1"/>
        </p:nvSpPr>
        <p:spPr bwMode="auto">
          <a:xfrm>
            <a:off x="3149540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745" tIns="59374" rIns="118745" bIns="59374" numCol="1" anchor="t" anchorCtr="0" compatLnSpc="1">
            <a:prstTxWarp prst="textNoShape">
              <a:avLst/>
            </a:prstTxWarp>
          </a:bodyPr>
          <a:lstStyle/>
          <a:p>
            <a:pPr defTabSz="59363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7" name="Freeform 5"/>
          <p:cNvSpPr>
            <a:spLocks/>
          </p:cNvSpPr>
          <p:nvPr userDrawn="1"/>
        </p:nvSpPr>
        <p:spPr bwMode="auto">
          <a:xfrm>
            <a:off x="3149538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45" tIns="59374" rIns="118745" bIns="59374" numCol="1" anchor="t" anchorCtr="0" compatLnSpc="1">
            <a:prstTxWarp prst="textNoShape">
              <a:avLst/>
            </a:prstTxWarp>
          </a:bodyPr>
          <a:lstStyle/>
          <a:p>
            <a:pPr defTabSz="59363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8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45" tIns="59374" rIns="118745" bIns="59374" numCol="1" anchor="t" anchorCtr="0" compatLnSpc="1">
            <a:prstTxWarp prst="textNoShape">
              <a:avLst/>
            </a:prstTxWarp>
          </a:bodyPr>
          <a:lstStyle/>
          <a:p>
            <a:pPr defTabSz="59363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9" name="Freeform 5"/>
          <p:cNvSpPr>
            <a:spLocks/>
          </p:cNvSpPr>
          <p:nvPr userDrawn="1"/>
        </p:nvSpPr>
        <p:spPr bwMode="auto">
          <a:xfrm>
            <a:off x="511201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45" tIns="59374" rIns="118745" bIns="59374" numCol="1" anchor="t" anchorCtr="0" compatLnSpc="1">
            <a:prstTxWarp prst="textNoShape">
              <a:avLst/>
            </a:prstTxWarp>
          </a:bodyPr>
          <a:lstStyle/>
          <a:p>
            <a:pPr defTabSz="59363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0" name="Freeform 5"/>
          <p:cNvSpPr>
            <a:spLocks/>
          </p:cNvSpPr>
          <p:nvPr userDrawn="1"/>
        </p:nvSpPr>
        <p:spPr bwMode="auto">
          <a:xfrm>
            <a:off x="6279959" y="6748315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745" tIns="59374" rIns="118745" bIns="59374" numCol="1" anchor="t" anchorCtr="0" compatLnSpc="1">
            <a:prstTxWarp prst="textNoShape">
              <a:avLst/>
            </a:prstTxWarp>
          </a:bodyPr>
          <a:lstStyle/>
          <a:p>
            <a:pPr defTabSz="59363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1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45" tIns="59374" rIns="118745" bIns="59374" numCol="1" anchor="t" anchorCtr="0" compatLnSpc="1">
            <a:prstTxWarp prst="textNoShape">
              <a:avLst/>
            </a:prstTxWarp>
          </a:bodyPr>
          <a:lstStyle/>
          <a:p>
            <a:pPr defTabSz="59363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2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45" tIns="59374" rIns="118745" bIns="59374" numCol="1" anchor="t" anchorCtr="0" compatLnSpc="1">
            <a:prstTxWarp prst="textNoShape">
              <a:avLst/>
            </a:prstTxWarp>
          </a:bodyPr>
          <a:lstStyle/>
          <a:p>
            <a:pPr defTabSz="59363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3" name="Freeform 5"/>
          <p:cNvSpPr>
            <a:spLocks/>
          </p:cNvSpPr>
          <p:nvPr userDrawn="1"/>
        </p:nvSpPr>
        <p:spPr bwMode="auto">
          <a:xfrm>
            <a:off x="8242436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45" tIns="59374" rIns="118745" bIns="59374" numCol="1" anchor="t" anchorCtr="0" compatLnSpc="1">
            <a:prstTxWarp prst="textNoShape">
              <a:avLst/>
            </a:prstTxWarp>
          </a:bodyPr>
          <a:lstStyle/>
          <a:p>
            <a:pPr defTabSz="59363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77917126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103" r:id="rId1"/>
    <p:sldLayoutId id="2147486104" r:id="rId2"/>
    <p:sldLayoutId id="2147486105" r:id="rId3"/>
    <p:sldLayoutId id="2147486106" r:id="rId4"/>
    <p:sldLayoutId id="2147486107" r:id="rId5"/>
    <p:sldLayoutId id="2147486108" r:id="rId6"/>
    <p:sldLayoutId id="2147486109" r:id="rId7"/>
    <p:sldLayoutId id="2147486110" r:id="rId8"/>
    <p:sldLayoutId id="2147486111" r:id="rId9"/>
    <p:sldLayoutId id="2147486113" r:id="rId10"/>
    <p:sldLayoutId id="2147486114" r:id="rId11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defTabSz="894888" rtl="0" eaLnBrk="1" fontAlgn="base" hangingPunct="1">
        <a:spcBef>
          <a:spcPct val="0"/>
        </a:spcBef>
        <a:spcAft>
          <a:spcPct val="0"/>
        </a:spcAft>
        <a:tabLst>
          <a:tab pos="269737" algn="l"/>
        </a:tabLst>
        <a:defRPr lang="en-US" sz="2000" b="1" baseline="0" noProof="0" dirty="0" smtClean="0">
          <a:solidFill>
            <a:schemeClr val="accent4"/>
          </a:solidFill>
          <a:latin typeface="Arial" panose="020B0604020202020204" pitchFamily="34" charset="0"/>
          <a:ea typeface="+mj-ea"/>
          <a:cs typeface="Arial" panose="020B0604020202020204" pitchFamily="34" charset="0"/>
          <a:sym typeface="Arial" panose="020B0604020202020204" pitchFamily="34" charset="0"/>
        </a:defRPr>
      </a:lvl1pPr>
      <a:lvl2pPr algn="l" defTabSz="89488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2pPr>
      <a:lvl3pPr algn="l" defTabSz="89488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3pPr>
      <a:lvl4pPr algn="l" defTabSz="89488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4pPr>
      <a:lvl5pPr algn="l" defTabSz="89488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5pPr>
      <a:lvl6pPr marL="456965" algn="l" defTabSz="89488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6pPr>
      <a:lvl7pPr marL="913928" algn="l" defTabSz="89488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7pPr>
      <a:lvl8pPr marL="1370890" algn="l" defTabSz="89488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8pPr>
      <a:lvl9pPr marL="1827858" algn="l" defTabSz="89488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4888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400" baseline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1pPr>
      <a:lvl2pPr marL="193575" indent="-193575" algn="l" defTabSz="894888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15000"/>
        <a:buFont typeface="Simplon BP Regular" pitchFamily="2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2pPr>
      <a:lvl3pPr marL="456965" indent="-261801" algn="l" defTabSz="894888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charset="0"/>
        <a:buChar char="–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3pPr>
      <a:lvl4pPr marL="614047" indent="-155496" algn="l" defTabSz="894888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pitchFamily="34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4pPr>
      <a:lvl5pPr marL="749421" indent="-130109" algn="l" defTabSz="894888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89000"/>
        <a:buFont typeface="Arial" charset="0"/>
        <a:buChar char="-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5pPr>
      <a:lvl6pPr marL="749421" indent="-130109" algn="l" defTabSz="89488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9421" indent="-130109" algn="l" defTabSz="89488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9421" indent="-130109" algn="l" defTabSz="89488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9421" indent="-130109" algn="l" defTabSz="89488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392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965" algn="l" defTabSz="91392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3928" algn="l" defTabSz="91392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0890" algn="l" defTabSz="91392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7858" algn="l" defTabSz="91392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4820" algn="l" defTabSz="91392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1783" algn="l" defTabSz="91392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8751" algn="l" defTabSz="91392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5717" algn="l" defTabSz="91392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22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1011053979"/>
              </p:ext>
            </p:extLst>
          </p:nvPr>
        </p:nvGraphicFramePr>
        <p:xfrm>
          <a:off x="0" y="2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4109" name="Slide do think-cell" r:id="rId16" imgW="0" imgH="0" progId="TCLayout.ActiveDocument.1">
                  <p:embed/>
                </p:oleObj>
              </mc:Choice>
              <mc:Fallback>
                <p:oleObj name="Slide do think-cell" r:id="rId16" imgW="0" imgH="0" progId="TCLayout.ActiveDocument.1">
                  <p:embed/>
                  <p:pic>
                    <p:nvPicPr>
                      <p:cNvPr id="0" name="AutoShape 67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2"/>
                        <a:ext cx="211676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10776431" y="36518"/>
            <a:ext cx="876339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4888"/>
            <a:endParaRPr lang="pt-BR" sz="8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10519874" y="1932900"/>
            <a:ext cx="267220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10682583" y="4106726"/>
            <a:ext cx="234679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936841" y="1951039"/>
            <a:ext cx="5736421" cy="11060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ext styles</a:t>
            </a:r>
          </a:p>
          <a:p>
            <a:pPr lvl="1"/>
            <a:r>
              <a:rPr lang="pt-BR" noProof="0" smtClean="0"/>
              <a:t>Second level</a:t>
            </a:r>
          </a:p>
          <a:p>
            <a:pPr lvl="2"/>
            <a:r>
              <a:rPr lang="pt-BR" noProof="0" smtClean="0"/>
              <a:t>Third level</a:t>
            </a:r>
          </a:p>
          <a:p>
            <a:pPr lvl="3"/>
            <a:r>
              <a:rPr lang="pt-BR" noProof="0" smtClean="0"/>
              <a:t>Fourth level</a:t>
            </a:r>
          </a:p>
          <a:p>
            <a:pPr lvl="4"/>
            <a:r>
              <a:rPr lang="pt-BR" noProof="0" smtClean="0"/>
              <a:t>Fifth level</a:t>
            </a:r>
            <a:endParaRPr lang="pt-BR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211676" y="230193"/>
            <a:ext cx="10530036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58764" y="26992"/>
            <a:ext cx="886083" cy="2212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pt-BR" sz="1400" smtClean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TRACKER</a:t>
            </a:r>
            <a:endParaRPr lang="pt-BR" sz="1400" dirty="0">
              <a:solidFill>
                <a:srgbClr val="80808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58786" y="621826"/>
            <a:ext cx="11491891" cy="281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pt-BR" sz="1800" smtClean="0">
                <a:solidFill>
                  <a:srgbClr val="D5E7FF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Unit of measure</a:t>
            </a:r>
            <a:endParaRPr lang="pt-BR" sz="1800" dirty="0" smtClean="0">
              <a:solidFill>
                <a:srgbClr val="D5E7FF">
                  <a:lumMod val="75000"/>
                </a:srgbClr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158758" y="6266461"/>
            <a:ext cx="11398753" cy="358776"/>
            <a:chOff x="75" y="3877"/>
            <a:chExt cx="5385" cy="226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877"/>
              <a:ext cx="5385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pt-BR" sz="100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1 Footnote</a:t>
              </a:r>
              <a:endParaRPr lang="pt-BR" sz="1000" dirty="0" smtClean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06"/>
              <a:ext cx="4323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t" anchorCtr="0">
              <a:spAutoFit/>
            </a:bodyPr>
            <a:lstStyle/>
            <a:p>
              <a:pPr marL="609285" indent="-609285" defTabSz="894888">
                <a:tabLst>
                  <a:tab pos="612459" algn="l"/>
                </a:tabLst>
              </a:pPr>
              <a:r>
                <a:rPr lang="pt-BR" sz="1000" dirty="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FONTE: </a:t>
              </a:r>
              <a:r>
                <a:rPr lang="pt-BR" sz="1000" dirty="0" err="1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ource</a:t>
              </a:r>
              <a:endParaRPr lang="pt-BR" sz="1000" dirty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936840" y="1123953"/>
            <a:ext cx="5685618" cy="511174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 hidden="1"/>
            <p:cNvSpPr>
              <a:spLocks noChangeArrowheads="1"/>
            </p:cNvSpPr>
            <p:nvPr/>
          </p:nvSpPr>
          <p:spPr bwMode="auto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pt-BR" b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itle</a:t>
              </a:r>
            </a:p>
            <a:p>
              <a:r>
                <a:rPr lang="pt-BR" smtClean="0">
                  <a:solidFill>
                    <a:srgbClr val="80808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Unit of measure</a:t>
              </a:r>
              <a:endParaRPr lang="pt-BR" dirty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sp>
        <p:nvSpPr>
          <p:cNvPr id="23" name="Footer Placeholder 2"/>
          <p:cNvSpPr txBox="1">
            <a:spLocks/>
          </p:cNvSpPr>
          <p:nvPr/>
        </p:nvSpPr>
        <p:spPr>
          <a:xfrm>
            <a:off x="9546286" y="6434245"/>
            <a:ext cx="1732846" cy="153888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defPPr>
              <a:defRPr lang="en-US"/>
            </a:defPPr>
            <a:lvl1pPr marL="0" algn="l" defTabSz="457200" rtl="0" eaLnBrk="0" latinLnBrk="0" hangingPunct="0">
              <a:defRPr sz="1800" kern="1200">
                <a:solidFill>
                  <a:schemeClr val="tx1"/>
                </a:solidFill>
                <a:latin typeface="Calibri" charset="0"/>
                <a:ea typeface="ＭＳ Ｐゴシック" charset="0"/>
                <a:cs typeface="Arial" charset="0"/>
              </a:defRPr>
            </a:lvl1pPr>
            <a:lvl2pPr marL="742950" indent="-285750" algn="l" defTabSz="457200" rtl="0" eaLnBrk="0" latinLnBrk="0" hangingPunct="0"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2pPr>
            <a:lvl3pPr marL="1143000" indent="-228600" algn="l" defTabSz="457200" rtl="0" eaLnBrk="0" latinLnBrk="0" hangingPunct="0"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3pPr>
            <a:lvl4pPr marL="1600200" indent="-228600" algn="l" defTabSz="457200" rtl="0" eaLnBrk="0" latinLnBrk="0" hangingPunct="0"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4pPr>
            <a:lvl5pPr marL="2057400" indent="-228600" algn="l" defTabSz="457200" rtl="0" eaLnBrk="0" latinLnBrk="0" hangingPunct="0"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5pPr>
            <a:lvl6pPr marL="2514600" indent="-228600" algn="l" defTabSz="4572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6pPr>
            <a:lvl7pPr marL="2971800" indent="-228600" algn="l" defTabSz="4572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7pPr>
            <a:lvl8pPr marL="3429000" indent="-228600" algn="l" defTabSz="4572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8pPr>
            <a:lvl9pPr marL="3886200" indent="-228600" algn="l" defTabSz="4572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9pPr>
          </a:lstStyle>
          <a:p>
            <a:pPr algn="r" eaLnBrk="1" hangingPunct="1"/>
            <a:r>
              <a:rPr lang="pt-BR" sz="1000" smtClean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MATERIAL CONFIDENCIAL  |</a:t>
            </a:r>
            <a:endParaRPr lang="pt-BR" sz="1000" dirty="0">
              <a:solidFill>
                <a:srgbClr val="4D4D4D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28" name="Group 27"/>
          <p:cNvGrpSpPr/>
          <p:nvPr userDrawn="1"/>
        </p:nvGrpSpPr>
        <p:grpSpPr>
          <a:xfrm>
            <a:off x="12094498" y="60963"/>
            <a:ext cx="613376" cy="655256"/>
            <a:chOff x="5526523" y="2325890"/>
            <a:chExt cx="3423032" cy="3656747"/>
          </a:xfrm>
        </p:grpSpPr>
        <p:sp>
          <p:nvSpPr>
            <p:cNvPr id="29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30" name="Group 29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31" name="Donut 30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2" name="Oval 31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3" name="Oval 32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  <p:sp>
        <p:nvSpPr>
          <p:cNvPr id="24" name="Slide Number"/>
          <p:cNvSpPr txBox="1">
            <a:spLocks/>
          </p:cNvSpPr>
          <p:nvPr userDrawn="1"/>
        </p:nvSpPr>
        <p:spPr>
          <a:xfrm>
            <a:off x="11394525" y="6426673"/>
            <a:ext cx="278354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pt-BR" smtClean="0">
                <a:solidFill>
                  <a:srgbClr val="000000"/>
                </a:solidFill>
                <a:cs typeface="Arial" panose="020B0604020202020204" pitchFamily="34" charset="0"/>
                <a:sym typeface="Arial" panose="020B0604020202020204" pitchFamily="34" charset="0"/>
              </a:rPr>
              <a:pPr/>
              <a:t>‹nº›</a:t>
            </a:fld>
            <a:endParaRPr lang="pt-BR" dirty="0">
              <a:solidFill>
                <a:srgbClr val="000000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622495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232" r:id="rId1"/>
    <p:sldLayoutId id="2147486233" r:id="rId2"/>
    <p:sldLayoutId id="2147486234" r:id="rId3"/>
    <p:sldLayoutId id="2147486235" r:id="rId4"/>
    <p:sldLayoutId id="2147486236" r:id="rId5"/>
    <p:sldLayoutId id="2147486237" r:id="rId6"/>
    <p:sldLayoutId id="2147486238" r:id="rId7"/>
    <p:sldLayoutId id="2147486239" r:id="rId8"/>
    <p:sldLayoutId id="2147486240" r:id="rId9"/>
    <p:sldLayoutId id="2147486241" r:id="rId10"/>
    <p:sldLayoutId id="2147486242" r:id="rId11"/>
    <p:sldLayoutId id="2147486243" r:id="rId12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894888" rtl="0" eaLnBrk="1" fontAlgn="base" hangingPunct="1">
        <a:spcBef>
          <a:spcPct val="0"/>
        </a:spcBef>
        <a:spcAft>
          <a:spcPct val="0"/>
        </a:spcAft>
        <a:tabLst>
          <a:tab pos="269737" algn="l"/>
        </a:tabLst>
        <a:defRPr lang="en-US" sz="2000" b="1" baseline="0" noProof="0" dirty="0" smtClean="0">
          <a:solidFill>
            <a:schemeClr val="accent4"/>
          </a:solidFill>
          <a:latin typeface="Arial" panose="020B0604020202020204" pitchFamily="34" charset="0"/>
          <a:ea typeface="+mj-ea"/>
          <a:cs typeface="Arial" panose="020B0604020202020204" pitchFamily="34" charset="0"/>
          <a:sym typeface="Arial" panose="020B0604020202020204" pitchFamily="34" charset="0"/>
        </a:defRPr>
      </a:lvl1pPr>
      <a:lvl2pPr algn="l" defTabSz="89488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2pPr>
      <a:lvl3pPr algn="l" defTabSz="89488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3pPr>
      <a:lvl4pPr algn="l" defTabSz="89488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4pPr>
      <a:lvl5pPr algn="l" defTabSz="89488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5pPr>
      <a:lvl6pPr marL="456965" algn="l" defTabSz="89488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6pPr>
      <a:lvl7pPr marL="913928" algn="l" defTabSz="89488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7pPr>
      <a:lvl8pPr marL="1370890" algn="l" defTabSz="89488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8pPr>
      <a:lvl9pPr marL="1827858" algn="l" defTabSz="89488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4888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400" baseline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1pPr>
      <a:lvl2pPr marL="193575" indent="-193575" algn="l" defTabSz="894888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15000"/>
        <a:buFont typeface="Simplon BP Regular" pitchFamily="2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2pPr>
      <a:lvl3pPr marL="456965" indent="-261801" algn="l" defTabSz="894888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charset="0"/>
        <a:buChar char="–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3pPr>
      <a:lvl4pPr marL="614047" indent="-155496" algn="l" defTabSz="894888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pitchFamily="34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4pPr>
      <a:lvl5pPr marL="749421" indent="-130109" algn="l" defTabSz="894888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89000"/>
        <a:buFont typeface="Arial" charset="0"/>
        <a:buChar char="-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5pPr>
      <a:lvl6pPr marL="749421" indent="-130109" algn="l" defTabSz="89488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9421" indent="-130109" algn="l" defTabSz="89488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9421" indent="-130109" algn="l" defTabSz="89488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9421" indent="-130109" algn="l" defTabSz="89488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392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965" algn="l" defTabSz="91392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3928" algn="l" defTabSz="91392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0890" algn="l" defTabSz="91392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7858" algn="l" defTabSz="91392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4820" algn="l" defTabSz="91392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1783" algn="l" defTabSz="91392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8751" algn="l" defTabSz="91392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5717" algn="l" defTabSz="91392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2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1978" y="358899"/>
            <a:ext cx="7338636" cy="102481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lvl="0">
              <a:lnSpc>
                <a:spcPct val="100000"/>
              </a:lnSpc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-281816" y="7363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7219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6" y="1855153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7219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-281816" y="4207633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078502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26" tIns="47026" rIns="47026" bIns="47026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16"/>
          <p:cNvSpPr>
            <a:spLocks/>
          </p:cNvSpPr>
          <p:nvPr userDrawn="1"/>
        </p:nvSpPr>
        <p:spPr bwMode="auto">
          <a:xfrm>
            <a:off x="11944818" y="2513906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26" tIns="47026" rIns="47026" bIns="47026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4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1949310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26" tIns="47026" rIns="47026" bIns="47026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9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9" name="Freeform 5"/>
          <p:cNvSpPr>
            <a:spLocks/>
          </p:cNvSpPr>
          <p:nvPr userDrawn="1"/>
        </p:nvSpPr>
        <p:spPr bwMode="auto">
          <a:xfrm>
            <a:off x="11944818" y="1384714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26" tIns="47026" rIns="47026" bIns="47026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0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Freeform 28"/>
          <p:cNvSpPr>
            <a:spLocks/>
          </p:cNvSpPr>
          <p:nvPr userDrawn="1"/>
        </p:nvSpPr>
        <p:spPr bwMode="auto">
          <a:xfrm>
            <a:off x="11944818" y="820118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26" tIns="47026" rIns="47026" bIns="47026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140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Freeform 5"/>
          <p:cNvSpPr>
            <a:spLocks/>
          </p:cNvSpPr>
          <p:nvPr userDrawn="1"/>
        </p:nvSpPr>
        <p:spPr bwMode="auto">
          <a:xfrm>
            <a:off x="11944818" y="258726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26" tIns="47026" rIns="47026" bIns="47026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721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721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11944818" y="3643098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26" tIns="47026" rIns="47026" bIns="47026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6" name="Freeform 5"/>
          <p:cNvSpPr>
            <a:spLocks/>
          </p:cNvSpPr>
          <p:nvPr userDrawn="1"/>
        </p:nvSpPr>
        <p:spPr bwMode="auto">
          <a:xfrm>
            <a:off x="11949114" y="4301731"/>
            <a:ext cx="424105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27" name="Freeform 5"/>
          <p:cNvSpPr>
            <a:spLocks/>
          </p:cNvSpPr>
          <p:nvPr userDrawn="1"/>
        </p:nvSpPr>
        <p:spPr bwMode="auto">
          <a:xfrm>
            <a:off x="11949112" y="4493138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12102362" y="4493135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5" name="Freeform 5"/>
          <p:cNvSpPr>
            <a:spLocks/>
          </p:cNvSpPr>
          <p:nvPr userDrawn="1"/>
        </p:nvSpPr>
        <p:spPr bwMode="auto">
          <a:xfrm>
            <a:off x="12255608" y="4493134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6" name="Freeform 5"/>
          <p:cNvSpPr>
            <a:spLocks/>
          </p:cNvSpPr>
          <p:nvPr userDrawn="1"/>
        </p:nvSpPr>
        <p:spPr bwMode="auto">
          <a:xfrm>
            <a:off x="11949114" y="4775432"/>
            <a:ext cx="424105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7" name="Freeform 5"/>
          <p:cNvSpPr>
            <a:spLocks/>
          </p:cNvSpPr>
          <p:nvPr userDrawn="1"/>
        </p:nvSpPr>
        <p:spPr bwMode="auto">
          <a:xfrm>
            <a:off x="11949112" y="4982131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8" name="Freeform 5"/>
          <p:cNvSpPr>
            <a:spLocks/>
          </p:cNvSpPr>
          <p:nvPr userDrawn="1"/>
        </p:nvSpPr>
        <p:spPr bwMode="auto">
          <a:xfrm>
            <a:off x="12102362" y="4982128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9" name="Freeform 5"/>
          <p:cNvSpPr>
            <a:spLocks/>
          </p:cNvSpPr>
          <p:nvPr userDrawn="1"/>
        </p:nvSpPr>
        <p:spPr bwMode="auto">
          <a:xfrm>
            <a:off x="12255608" y="4982127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0" name="Freeform 5"/>
          <p:cNvSpPr>
            <a:spLocks/>
          </p:cNvSpPr>
          <p:nvPr userDrawn="1"/>
        </p:nvSpPr>
        <p:spPr bwMode="auto">
          <a:xfrm>
            <a:off x="11949114" y="5245930"/>
            <a:ext cx="424105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1" name="Freeform 5"/>
          <p:cNvSpPr>
            <a:spLocks/>
          </p:cNvSpPr>
          <p:nvPr userDrawn="1"/>
        </p:nvSpPr>
        <p:spPr bwMode="auto">
          <a:xfrm>
            <a:off x="11949112" y="5437334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2" name="Freeform 5"/>
          <p:cNvSpPr>
            <a:spLocks/>
          </p:cNvSpPr>
          <p:nvPr userDrawn="1"/>
        </p:nvSpPr>
        <p:spPr bwMode="auto">
          <a:xfrm>
            <a:off x="12102362" y="5437333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3" name="Freeform 5"/>
          <p:cNvSpPr>
            <a:spLocks/>
          </p:cNvSpPr>
          <p:nvPr userDrawn="1"/>
        </p:nvSpPr>
        <p:spPr bwMode="auto">
          <a:xfrm>
            <a:off x="12255608" y="5437333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4" name="TextBox 39"/>
          <p:cNvSpPr txBox="1"/>
          <p:nvPr userDrawn="1"/>
        </p:nvSpPr>
        <p:spPr>
          <a:xfrm>
            <a:off x="11949116" y="5619122"/>
            <a:ext cx="603771" cy="86593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7219" fontAlgn="auto">
              <a:spcBef>
                <a:spcPts val="1045"/>
              </a:spcBef>
              <a:spcAft>
                <a:spcPts val="0"/>
              </a:spcAft>
            </a:pPr>
            <a:r>
              <a:rPr lang="en-US" sz="9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9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9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9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9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9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9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9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9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9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12411753" y="25872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BD78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12411753" y="537757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7A23C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2411753" y="86222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86DB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12411753" y="113250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B51F7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12411753" y="144158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95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12411753" y="171186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CC52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12411753" y="200887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C8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12411753" y="227915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CCC6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12411753" y="256409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69D17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12411753" y="283437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9E0B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12411753" y="3155524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E6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3" name="Freeform 5"/>
          <p:cNvSpPr>
            <a:spLocks/>
          </p:cNvSpPr>
          <p:nvPr userDrawn="1"/>
        </p:nvSpPr>
        <p:spPr bwMode="auto">
          <a:xfrm>
            <a:off x="12411753" y="342580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AFC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" name="Freeform 5"/>
          <p:cNvSpPr>
            <a:spLocks/>
          </p:cNvSpPr>
          <p:nvPr userDrawn="1"/>
        </p:nvSpPr>
        <p:spPr bwMode="auto">
          <a:xfrm>
            <a:off x="12411753" y="3734884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DEDEDE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5" name="Freeform 5"/>
          <p:cNvSpPr>
            <a:spLocks/>
          </p:cNvSpPr>
          <p:nvPr userDrawn="1"/>
        </p:nvSpPr>
        <p:spPr bwMode="auto">
          <a:xfrm>
            <a:off x="12411753" y="400516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9C9C9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06718752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245" r:id="rId1"/>
    <p:sldLayoutId id="2147486246" r:id="rId2"/>
    <p:sldLayoutId id="2147486247" r:id="rId3"/>
    <p:sldLayoutId id="2147486248" r:id="rId4"/>
    <p:sldLayoutId id="2147486249" r:id="rId5"/>
    <p:sldLayoutId id="2147486250" r:id="rId6"/>
    <p:sldLayoutId id="2147486251" r:id="rId7"/>
    <p:sldLayoutId id="2147486252" r:id="rId8"/>
    <p:sldLayoutId id="2147486253" r:id="rId9"/>
    <p:sldLayoutId id="2147486254" r:id="rId10"/>
  </p:sldLayoutIdLst>
  <p:timing>
    <p:tnLst>
      <p:par>
        <p:cTn id="1" dur="indefinite" restart="never" nodeType="tmRoot"/>
      </p:par>
    </p:tnLst>
  </p:timing>
  <p:hf hdr="0" dt="0"/>
  <p:txStyles>
    <p:titleStyle>
      <a:lvl1pPr algn="l" defTabSz="597219" rtl="0" eaLnBrk="1" latinLnBrk="0" hangingPunct="1">
        <a:lnSpc>
          <a:spcPts val="5487"/>
        </a:lnSpc>
        <a:spcBef>
          <a:spcPct val="0"/>
        </a:spcBef>
        <a:spcAft>
          <a:spcPts val="0"/>
        </a:spcAft>
        <a:buNone/>
        <a:defRPr lang="en-US" sz="5500" b="0" i="0" kern="1200" noProof="0" dirty="0">
          <a:solidFill>
            <a:schemeClr val="accent5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40546" indent="-240546" algn="l" defTabSz="59721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6946" indent="-230179" algn="l" defTabSz="59721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6946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7125" indent="-230179" algn="l" defTabSz="59721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7125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7305" indent="-230179" algn="l" defTabSz="59721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7305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7484" indent="-230179" algn="l" defTabSz="59721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7484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84715" indent="-298610" algn="l" defTabSz="597219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81934" indent="-298610" algn="l" defTabSz="597219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79153" indent="-298610" algn="l" defTabSz="597219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76374" indent="-298610" algn="l" defTabSz="597219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721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7219" algn="l" defTabSz="59721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94441" algn="l" defTabSz="59721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91662" algn="l" defTabSz="59721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88881" algn="l" defTabSz="59721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86104" algn="l" defTabSz="59721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83323" algn="l" defTabSz="59721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80544" algn="l" defTabSz="59721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77763" algn="l" defTabSz="59721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22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3036460774"/>
              </p:ext>
            </p:extLst>
          </p:nvPr>
        </p:nvGraphicFramePr>
        <p:xfrm>
          <a:off x="2077" y="2077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62299" name="Slide do think-cell" r:id="rId18" imgW="0" imgH="0" progId="TCLayout.ActiveDocument.1">
                  <p:embed/>
                </p:oleObj>
              </mc:Choice>
              <mc:Fallback>
                <p:oleObj name="Slide do think-cell" r:id="rId18" imgW="0" imgH="0" progId="TCLayout.ActiveDocument.1">
                  <p:embed/>
                  <p:pic>
                    <p:nvPicPr>
                      <p:cNvPr id="0" name="AutoShape 6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77" y="2077"/>
                        <a:ext cx="2074" cy="20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78" y="1290358"/>
            <a:ext cx="10739680" cy="5082596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1984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2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7460" y="6371922"/>
            <a:ext cx="10176095" cy="282263"/>
          </a:xfrm>
          <a:prstGeom prst="rect">
            <a:avLst/>
          </a:prstGeom>
        </p:spPr>
        <p:txBody>
          <a:bodyPr vert="horz" lIns="119431" tIns="59716" rIns="119431" bIns="59716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pPr defTabSz="597151" fontAlgn="auto">
              <a:spcBef>
                <a:spcPts val="0"/>
              </a:spcBef>
              <a:spcAft>
                <a:spcPts val="0"/>
              </a:spcAft>
            </a:pPr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4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3552" y="6371922"/>
            <a:ext cx="578105" cy="282263"/>
          </a:xfrm>
          <a:prstGeom prst="rect">
            <a:avLst/>
          </a:prstGeom>
        </p:spPr>
        <p:txBody>
          <a:bodyPr vert="horz" lIns="119431" tIns="59716" rIns="119431" bIns="59716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pPr defTabSz="597151" fontAlgn="auto">
              <a:spcBef>
                <a:spcPts val="0"/>
              </a:spcBef>
              <a:spcAft>
                <a:spcPts val="0"/>
              </a:spcAft>
            </a:pPr>
            <a:fld id="{74850952-3374-434C-8FC6-DE28F8CD25B0}" type="slidenum">
              <a:rPr lang="pt-BR" smtClean="0">
                <a:solidFill>
                  <a:srgbClr val="5F5F5F"/>
                </a:solidFill>
              </a:rPr>
              <a:pPr defTabSz="597151" fontAlgn="auto">
                <a:spcBef>
                  <a:spcPts val="0"/>
                </a:spcBef>
                <a:spcAft>
                  <a:spcPts val="0"/>
                </a:spcAft>
              </a:pPr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44" name="TextBox 43"/>
          <p:cNvSpPr txBox="1"/>
          <p:nvPr userDrawn="1"/>
        </p:nvSpPr>
        <p:spPr>
          <a:xfrm>
            <a:off x="-281816" y="7363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7151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45" name="TextBox 44"/>
          <p:cNvSpPr txBox="1"/>
          <p:nvPr userDrawn="1"/>
        </p:nvSpPr>
        <p:spPr>
          <a:xfrm>
            <a:off x="-281816" y="1855154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7151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46" name="TextBox 45"/>
          <p:cNvSpPr txBox="1"/>
          <p:nvPr userDrawn="1"/>
        </p:nvSpPr>
        <p:spPr>
          <a:xfrm>
            <a:off x="-281816" y="4207633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7151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47" name="Freeform 5"/>
          <p:cNvSpPr>
            <a:spLocks/>
          </p:cNvSpPr>
          <p:nvPr userDrawn="1"/>
        </p:nvSpPr>
        <p:spPr bwMode="auto">
          <a:xfrm>
            <a:off x="11944818" y="3078502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20" tIns="47020" rIns="47020" bIns="47020" numCol="1" anchor="t" anchorCtr="0" compatLnSpc="1">
            <a:prstTxWarp prst="textNoShape">
              <a:avLst/>
            </a:prstTxWarp>
          </a:bodyPr>
          <a:lstStyle/>
          <a:p>
            <a:pPr defTabSz="597151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7151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7151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48" name="Freeform 47"/>
          <p:cNvSpPr>
            <a:spLocks/>
          </p:cNvSpPr>
          <p:nvPr userDrawn="1"/>
        </p:nvSpPr>
        <p:spPr bwMode="auto">
          <a:xfrm>
            <a:off x="11944818" y="2513906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20" tIns="47020" rIns="47020" bIns="47020" numCol="1" anchor="t" anchorCtr="0" compatLnSpc="1">
            <a:prstTxWarp prst="textNoShape">
              <a:avLst/>
            </a:prstTxWarp>
          </a:bodyPr>
          <a:lstStyle/>
          <a:p>
            <a:pPr defTabSz="597151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7151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7151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4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49" name="Freeform 5"/>
          <p:cNvSpPr>
            <a:spLocks/>
          </p:cNvSpPr>
          <p:nvPr userDrawn="1"/>
        </p:nvSpPr>
        <p:spPr bwMode="auto">
          <a:xfrm>
            <a:off x="11944818" y="1949310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20" tIns="47020" rIns="47020" bIns="47020" numCol="1" anchor="t" anchorCtr="0" compatLnSpc="1">
            <a:prstTxWarp prst="textNoShape">
              <a:avLst/>
            </a:prstTxWarp>
          </a:bodyPr>
          <a:lstStyle/>
          <a:p>
            <a:pPr defTabSz="597151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7151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7151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9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50" name="Freeform 5"/>
          <p:cNvSpPr>
            <a:spLocks/>
          </p:cNvSpPr>
          <p:nvPr userDrawn="1"/>
        </p:nvSpPr>
        <p:spPr bwMode="auto">
          <a:xfrm>
            <a:off x="11944818" y="1384714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20" tIns="47020" rIns="47020" bIns="47020" numCol="1" anchor="t" anchorCtr="0" compatLnSpc="1">
            <a:prstTxWarp prst="textNoShape">
              <a:avLst/>
            </a:prstTxWarp>
          </a:bodyPr>
          <a:lstStyle/>
          <a:p>
            <a:pPr defTabSz="597151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7151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7151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0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51" name="Freeform 50"/>
          <p:cNvSpPr>
            <a:spLocks/>
          </p:cNvSpPr>
          <p:nvPr userDrawn="1"/>
        </p:nvSpPr>
        <p:spPr bwMode="auto">
          <a:xfrm>
            <a:off x="11944818" y="820118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20" tIns="47020" rIns="47020" bIns="47020" numCol="1" anchor="t" anchorCtr="0" compatLnSpc="1">
            <a:prstTxWarp prst="textNoShape">
              <a:avLst/>
            </a:prstTxWarp>
          </a:bodyPr>
          <a:lstStyle/>
          <a:p>
            <a:pPr defTabSz="597151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7151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7151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140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52" name="Freeform 5"/>
          <p:cNvSpPr>
            <a:spLocks/>
          </p:cNvSpPr>
          <p:nvPr userDrawn="1"/>
        </p:nvSpPr>
        <p:spPr bwMode="auto">
          <a:xfrm>
            <a:off x="11944818" y="258726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20" tIns="47020" rIns="47020" bIns="47020" numCol="1" anchor="t" anchorCtr="0" compatLnSpc="1">
            <a:prstTxWarp prst="textNoShape">
              <a:avLst/>
            </a:prstTxWarp>
          </a:bodyPr>
          <a:lstStyle/>
          <a:p>
            <a:pPr defTabSz="597151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7151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7151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53" name="Freeform 5"/>
          <p:cNvSpPr>
            <a:spLocks/>
          </p:cNvSpPr>
          <p:nvPr userDrawn="1"/>
        </p:nvSpPr>
        <p:spPr bwMode="auto">
          <a:xfrm>
            <a:off x="11944818" y="3643098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20" tIns="47020" rIns="47020" bIns="47020" numCol="1" anchor="t" anchorCtr="0" compatLnSpc="1">
            <a:prstTxWarp prst="textNoShape">
              <a:avLst/>
            </a:prstTxWarp>
          </a:bodyPr>
          <a:lstStyle/>
          <a:p>
            <a:pPr defTabSz="597151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7151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7151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54" name="Freeform 5"/>
          <p:cNvSpPr>
            <a:spLocks/>
          </p:cNvSpPr>
          <p:nvPr userDrawn="1"/>
        </p:nvSpPr>
        <p:spPr bwMode="auto">
          <a:xfrm>
            <a:off x="11949114" y="4301731"/>
            <a:ext cx="424105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431" tIns="59716" rIns="119431" bIns="59716" numCol="1" anchor="t" anchorCtr="0" compatLnSpc="1">
            <a:prstTxWarp prst="textNoShape">
              <a:avLst/>
            </a:prstTxWarp>
          </a:bodyPr>
          <a:lstStyle/>
          <a:p>
            <a:pPr defTabSz="597151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5" name="Freeform 5"/>
          <p:cNvSpPr>
            <a:spLocks/>
          </p:cNvSpPr>
          <p:nvPr userDrawn="1"/>
        </p:nvSpPr>
        <p:spPr bwMode="auto">
          <a:xfrm>
            <a:off x="11949112" y="4493138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1" tIns="59716" rIns="119431" bIns="59716" numCol="1" anchor="t" anchorCtr="0" compatLnSpc="1">
            <a:prstTxWarp prst="textNoShape">
              <a:avLst/>
            </a:prstTxWarp>
          </a:bodyPr>
          <a:lstStyle/>
          <a:p>
            <a:pPr defTabSz="597151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6" name="Freeform 5"/>
          <p:cNvSpPr>
            <a:spLocks/>
          </p:cNvSpPr>
          <p:nvPr userDrawn="1"/>
        </p:nvSpPr>
        <p:spPr bwMode="auto">
          <a:xfrm>
            <a:off x="12102362" y="4493135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1" tIns="59716" rIns="119431" bIns="59716" numCol="1" anchor="t" anchorCtr="0" compatLnSpc="1">
            <a:prstTxWarp prst="textNoShape">
              <a:avLst/>
            </a:prstTxWarp>
          </a:bodyPr>
          <a:lstStyle/>
          <a:p>
            <a:pPr defTabSz="597151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7" name="Freeform 5"/>
          <p:cNvSpPr>
            <a:spLocks/>
          </p:cNvSpPr>
          <p:nvPr userDrawn="1"/>
        </p:nvSpPr>
        <p:spPr bwMode="auto">
          <a:xfrm>
            <a:off x="12255608" y="4493134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1" tIns="59716" rIns="119431" bIns="59716" numCol="1" anchor="t" anchorCtr="0" compatLnSpc="1">
            <a:prstTxWarp prst="textNoShape">
              <a:avLst/>
            </a:prstTxWarp>
          </a:bodyPr>
          <a:lstStyle/>
          <a:p>
            <a:pPr defTabSz="597151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8" name="Freeform 5"/>
          <p:cNvSpPr>
            <a:spLocks/>
          </p:cNvSpPr>
          <p:nvPr userDrawn="1"/>
        </p:nvSpPr>
        <p:spPr bwMode="auto">
          <a:xfrm>
            <a:off x="11949114" y="4775432"/>
            <a:ext cx="424105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431" tIns="59716" rIns="119431" bIns="59716" numCol="1" anchor="t" anchorCtr="0" compatLnSpc="1">
            <a:prstTxWarp prst="textNoShape">
              <a:avLst/>
            </a:prstTxWarp>
          </a:bodyPr>
          <a:lstStyle/>
          <a:p>
            <a:pPr defTabSz="597151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9" name="Freeform 5"/>
          <p:cNvSpPr>
            <a:spLocks/>
          </p:cNvSpPr>
          <p:nvPr userDrawn="1"/>
        </p:nvSpPr>
        <p:spPr bwMode="auto">
          <a:xfrm>
            <a:off x="11949112" y="4982131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1" tIns="59716" rIns="119431" bIns="59716" numCol="1" anchor="t" anchorCtr="0" compatLnSpc="1">
            <a:prstTxWarp prst="textNoShape">
              <a:avLst/>
            </a:prstTxWarp>
          </a:bodyPr>
          <a:lstStyle/>
          <a:p>
            <a:pPr defTabSz="597151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0" name="Freeform 5"/>
          <p:cNvSpPr>
            <a:spLocks/>
          </p:cNvSpPr>
          <p:nvPr userDrawn="1"/>
        </p:nvSpPr>
        <p:spPr bwMode="auto">
          <a:xfrm>
            <a:off x="12102362" y="4982128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1" tIns="59716" rIns="119431" bIns="59716" numCol="1" anchor="t" anchorCtr="0" compatLnSpc="1">
            <a:prstTxWarp prst="textNoShape">
              <a:avLst/>
            </a:prstTxWarp>
          </a:bodyPr>
          <a:lstStyle/>
          <a:p>
            <a:pPr defTabSz="597151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1" name="Freeform 5"/>
          <p:cNvSpPr>
            <a:spLocks/>
          </p:cNvSpPr>
          <p:nvPr userDrawn="1"/>
        </p:nvSpPr>
        <p:spPr bwMode="auto">
          <a:xfrm>
            <a:off x="12255608" y="4982127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1" tIns="59716" rIns="119431" bIns="59716" numCol="1" anchor="t" anchorCtr="0" compatLnSpc="1">
            <a:prstTxWarp prst="textNoShape">
              <a:avLst/>
            </a:prstTxWarp>
          </a:bodyPr>
          <a:lstStyle/>
          <a:p>
            <a:pPr defTabSz="597151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2" name="Freeform 5"/>
          <p:cNvSpPr>
            <a:spLocks/>
          </p:cNvSpPr>
          <p:nvPr userDrawn="1"/>
        </p:nvSpPr>
        <p:spPr bwMode="auto">
          <a:xfrm>
            <a:off x="11949114" y="5245930"/>
            <a:ext cx="424105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431" tIns="59716" rIns="119431" bIns="59716" numCol="1" anchor="t" anchorCtr="0" compatLnSpc="1">
            <a:prstTxWarp prst="textNoShape">
              <a:avLst/>
            </a:prstTxWarp>
          </a:bodyPr>
          <a:lstStyle/>
          <a:p>
            <a:pPr defTabSz="597151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3" name="Freeform 5"/>
          <p:cNvSpPr>
            <a:spLocks/>
          </p:cNvSpPr>
          <p:nvPr userDrawn="1"/>
        </p:nvSpPr>
        <p:spPr bwMode="auto">
          <a:xfrm>
            <a:off x="11949112" y="5437334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1" tIns="59716" rIns="119431" bIns="59716" numCol="1" anchor="t" anchorCtr="0" compatLnSpc="1">
            <a:prstTxWarp prst="textNoShape">
              <a:avLst/>
            </a:prstTxWarp>
          </a:bodyPr>
          <a:lstStyle/>
          <a:p>
            <a:pPr defTabSz="597151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4" name="Freeform 5"/>
          <p:cNvSpPr>
            <a:spLocks/>
          </p:cNvSpPr>
          <p:nvPr userDrawn="1"/>
        </p:nvSpPr>
        <p:spPr bwMode="auto">
          <a:xfrm>
            <a:off x="12102362" y="5437333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1" tIns="59716" rIns="119431" bIns="59716" numCol="1" anchor="t" anchorCtr="0" compatLnSpc="1">
            <a:prstTxWarp prst="textNoShape">
              <a:avLst/>
            </a:prstTxWarp>
          </a:bodyPr>
          <a:lstStyle/>
          <a:p>
            <a:pPr defTabSz="597151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5" name="Freeform 5"/>
          <p:cNvSpPr>
            <a:spLocks/>
          </p:cNvSpPr>
          <p:nvPr userDrawn="1"/>
        </p:nvSpPr>
        <p:spPr bwMode="auto">
          <a:xfrm>
            <a:off x="12255608" y="5437333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1" tIns="59716" rIns="119431" bIns="59716" numCol="1" anchor="t" anchorCtr="0" compatLnSpc="1">
            <a:prstTxWarp prst="textNoShape">
              <a:avLst/>
            </a:prstTxWarp>
          </a:bodyPr>
          <a:lstStyle/>
          <a:p>
            <a:pPr defTabSz="597151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6" name="TextBox 39"/>
          <p:cNvSpPr txBox="1"/>
          <p:nvPr userDrawn="1"/>
        </p:nvSpPr>
        <p:spPr>
          <a:xfrm>
            <a:off x="11949112" y="5619122"/>
            <a:ext cx="621766" cy="86593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7151" fontAlgn="auto">
              <a:spcBef>
                <a:spcPts val="1045"/>
              </a:spcBef>
              <a:spcAft>
                <a:spcPts val="0"/>
              </a:spcAft>
            </a:pPr>
            <a:r>
              <a:rPr lang="en-US" sz="9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9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9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9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9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9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9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9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9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9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</a:p>
        </p:txBody>
      </p:sp>
      <p:sp>
        <p:nvSpPr>
          <p:cNvPr id="68" name="Freeform 5"/>
          <p:cNvSpPr>
            <a:spLocks/>
          </p:cNvSpPr>
          <p:nvPr userDrawn="1"/>
        </p:nvSpPr>
        <p:spPr bwMode="auto">
          <a:xfrm>
            <a:off x="12411753" y="25872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BD78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1" tIns="59716" rIns="119431" bIns="59716" numCol="1" anchor="t" anchorCtr="0" compatLnSpc="1">
            <a:prstTxWarp prst="textNoShape">
              <a:avLst/>
            </a:prstTxWarp>
          </a:bodyPr>
          <a:lstStyle/>
          <a:p>
            <a:pPr defTabSz="597151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9" name="Freeform 5"/>
          <p:cNvSpPr>
            <a:spLocks/>
          </p:cNvSpPr>
          <p:nvPr userDrawn="1"/>
        </p:nvSpPr>
        <p:spPr bwMode="auto">
          <a:xfrm>
            <a:off x="12411753" y="537757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7A23C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1" tIns="59716" rIns="119431" bIns="59716" numCol="1" anchor="t" anchorCtr="0" compatLnSpc="1">
            <a:prstTxWarp prst="textNoShape">
              <a:avLst/>
            </a:prstTxWarp>
          </a:bodyPr>
          <a:lstStyle/>
          <a:p>
            <a:pPr defTabSz="597151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0" name="Freeform 5"/>
          <p:cNvSpPr>
            <a:spLocks/>
          </p:cNvSpPr>
          <p:nvPr userDrawn="1"/>
        </p:nvSpPr>
        <p:spPr bwMode="auto">
          <a:xfrm>
            <a:off x="12411753" y="86222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86DB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1" tIns="59716" rIns="119431" bIns="59716" numCol="1" anchor="t" anchorCtr="0" compatLnSpc="1">
            <a:prstTxWarp prst="textNoShape">
              <a:avLst/>
            </a:prstTxWarp>
          </a:bodyPr>
          <a:lstStyle/>
          <a:p>
            <a:pPr defTabSz="597151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1" name="Freeform 5"/>
          <p:cNvSpPr>
            <a:spLocks/>
          </p:cNvSpPr>
          <p:nvPr userDrawn="1"/>
        </p:nvSpPr>
        <p:spPr bwMode="auto">
          <a:xfrm>
            <a:off x="12411753" y="113250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B51F7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1" tIns="59716" rIns="119431" bIns="59716" numCol="1" anchor="t" anchorCtr="0" compatLnSpc="1">
            <a:prstTxWarp prst="textNoShape">
              <a:avLst/>
            </a:prstTxWarp>
          </a:bodyPr>
          <a:lstStyle/>
          <a:p>
            <a:pPr defTabSz="597151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2" name="Freeform 71"/>
          <p:cNvSpPr>
            <a:spLocks/>
          </p:cNvSpPr>
          <p:nvPr userDrawn="1"/>
        </p:nvSpPr>
        <p:spPr bwMode="auto">
          <a:xfrm>
            <a:off x="12411753" y="144158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95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1" tIns="59716" rIns="119431" bIns="59716" numCol="1" anchor="t" anchorCtr="0" compatLnSpc="1">
            <a:prstTxWarp prst="textNoShape">
              <a:avLst/>
            </a:prstTxWarp>
          </a:bodyPr>
          <a:lstStyle/>
          <a:p>
            <a:pPr defTabSz="597151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3" name="Freeform 5"/>
          <p:cNvSpPr>
            <a:spLocks/>
          </p:cNvSpPr>
          <p:nvPr userDrawn="1"/>
        </p:nvSpPr>
        <p:spPr bwMode="auto">
          <a:xfrm>
            <a:off x="12411753" y="171186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CC52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1" tIns="59716" rIns="119431" bIns="59716" numCol="1" anchor="t" anchorCtr="0" compatLnSpc="1">
            <a:prstTxWarp prst="textNoShape">
              <a:avLst/>
            </a:prstTxWarp>
          </a:bodyPr>
          <a:lstStyle/>
          <a:p>
            <a:pPr defTabSz="597151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4" name="Freeform 5"/>
          <p:cNvSpPr>
            <a:spLocks/>
          </p:cNvSpPr>
          <p:nvPr userDrawn="1"/>
        </p:nvSpPr>
        <p:spPr bwMode="auto">
          <a:xfrm>
            <a:off x="12411753" y="200887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C8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1" tIns="59716" rIns="119431" bIns="59716" numCol="1" anchor="t" anchorCtr="0" compatLnSpc="1">
            <a:prstTxWarp prst="textNoShape">
              <a:avLst/>
            </a:prstTxWarp>
          </a:bodyPr>
          <a:lstStyle/>
          <a:p>
            <a:pPr defTabSz="597151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5" name="Freeform 5"/>
          <p:cNvSpPr>
            <a:spLocks/>
          </p:cNvSpPr>
          <p:nvPr userDrawn="1"/>
        </p:nvSpPr>
        <p:spPr bwMode="auto">
          <a:xfrm>
            <a:off x="12411753" y="227915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CCC6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1" tIns="59716" rIns="119431" bIns="59716" numCol="1" anchor="t" anchorCtr="0" compatLnSpc="1">
            <a:prstTxWarp prst="textNoShape">
              <a:avLst/>
            </a:prstTxWarp>
          </a:bodyPr>
          <a:lstStyle/>
          <a:p>
            <a:pPr defTabSz="597151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6" name="Freeform 5"/>
          <p:cNvSpPr>
            <a:spLocks/>
          </p:cNvSpPr>
          <p:nvPr userDrawn="1"/>
        </p:nvSpPr>
        <p:spPr bwMode="auto">
          <a:xfrm>
            <a:off x="12411753" y="256409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69D17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1" tIns="59716" rIns="119431" bIns="59716" numCol="1" anchor="t" anchorCtr="0" compatLnSpc="1">
            <a:prstTxWarp prst="textNoShape">
              <a:avLst/>
            </a:prstTxWarp>
          </a:bodyPr>
          <a:lstStyle/>
          <a:p>
            <a:pPr defTabSz="597151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7" name="Freeform 5"/>
          <p:cNvSpPr>
            <a:spLocks/>
          </p:cNvSpPr>
          <p:nvPr userDrawn="1"/>
        </p:nvSpPr>
        <p:spPr bwMode="auto">
          <a:xfrm>
            <a:off x="12411753" y="283437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9E0B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1" tIns="59716" rIns="119431" bIns="59716" numCol="1" anchor="t" anchorCtr="0" compatLnSpc="1">
            <a:prstTxWarp prst="textNoShape">
              <a:avLst/>
            </a:prstTxWarp>
          </a:bodyPr>
          <a:lstStyle/>
          <a:p>
            <a:pPr defTabSz="597151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8" name="Freeform 5"/>
          <p:cNvSpPr>
            <a:spLocks/>
          </p:cNvSpPr>
          <p:nvPr userDrawn="1"/>
        </p:nvSpPr>
        <p:spPr bwMode="auto">
          <a:xfrm>
            <a:off x="12411753" y="3155524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E6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1" tIns="59716" rIns="119431" bIns="59716" numCol="1" anchor="t" anchorCtr="0" compatLnSpc="1">
            <a:prstTxWarp prst="textNoShape">
              <a:avLst/>
            </a:prstTxWarp>
          </a:bodyPr>
          <a:lstStyle/>
          <a:p>
            <a:pPr defTabSz="597151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9" name="Freeform 5"/>
          <p:cNvSpPr>
            <a:spLocks/>
          </p:cNvSpPr>
          <p:nvPr userDrawn="1"/>
        </p:nvSpPr>
        <p:spPr bwMode="auto">
          <a:xfrm>
            <a:off x="12411753" y="342580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AFC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1" tIns="59716" rIns="119431" bIns="59716" numCol="1" anchor="t" anchorCtr="0" compatLnSpc="1">
            <a:prstTxWarp prst="textNoShape">
              <a:avLst/>
            </a:prstTxWarp>
          </a:bodyPr>
          <a:lstStyle/>
          <a:p>
            <a:pPr defTabSz="597151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80" name="Freeform 5"/>
          <p:cNvSpPr>
            <a:spLocks/>
          </p:cNvSpPr>
          <p:nvPr userDrawn="1"/>
        </p:nvSpPr>
        <p:spPr bwMode="auto">
          <a:xfrm>
            <a:off x="12411753" y="3734884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DEDEDE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1" tIns="59716" rIns="119431" bIns="59716" numCol="1" anchor="t" anchorCtr="0" compatLnSpc="1">
            <a:prstTxWarp prst="textNoShape">
              <a:avLst/>
            </a:prstTxWarp>
          </a:bodyPr>
          <a:lstStyle/>
          <a:p>
            <a:pPr defTabSz="597151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81" name="Freeform 5"/>
          <p:cNvSpPr>
            <a:spLocks/>
          </p:cNvSpPr>
          <p:nvPr userDrawn="1"/>
        </p:nvSpPr>
        <p:spPr bwMode="auto">
          <a:xfrm>
            <a:off x="12411753" y="400516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9C9C9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31" tIns="59716" rIns="119431" bIns="59716" numCol="1" anchor="t" anchorCtr="0" compatLnSpc="1">
            <a:prstTxWarp prst="textNoShape">
              <a:avLst/>
            </a:prstTxWarp>
          </a:bodyPr>
          <a:lstStyle/>
          <a:p>
            <a:pPr defTabSz="597151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7708535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259" r:id="rId1"/>
    <p:sldLayoutId id="2147486260" r:id="rId2"/>
    <p:sldLayoutId id="2147486261" r:id="rId3"/>
    <p:sldLayoutId id="2147486262" r:id="rId4"/>
    <p:sldLayoutId id="2147486263" r:id="rId5"/>
    <p:sldLayoutId id="2147486264" r:id="rId6"/>
    <p:sldLayoutId id="2147486265" r:id="rId7"/>
    <p:sldLayoutId id="2147486266" r:id="rId8"/>
    <p:sldLayoutId id="2147486267" r:id="rId9"/>
    <p:sldLayoutId id="2147486268" r:id="rId10"/>
    <p:sldLayoutId id="2147486269" r:id="rId11"/>
    <p:sldLayoutId id="2147486270" r:id="rId12"/>
    <p:sldLayoutId id="2147486271" r:id="rId13"/>
    <p:sldLayoutId id="2147486272" r:id="rId14"/>
  </p:sldLayoutIdLst>
  <p:timing>
    <p:tnLst>
      <p:par>
        <p:cTn id="1" dur="indefinite" restart="never" nodeType="tmRoot"/>
      </p:par>
    </p:tnLst>
  </p:timing>
  <p:hf hdr="0" dt="0"/>
  <p:txStyles>
    <p:titleStyle>
      <a:lvl1pPr algn="l" defTabSz="597151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2700" b="0" i="0" kern="1200" noProof="0">
          <a:solidFill>
            <a:schemeClr val="accent5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40519" indent="-240519" algn="l" defTabSz="597151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6892" indent="-230153" algn="l" defTabSz="597151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6892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7045" indent="-230153" algn="l" defTabSz="597151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7045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7199" indent="-230153" algn="l" defTabSz="597151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7199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7352" indent="-230153" algn="l" defTabSz="597151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7352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84343" indent="-298576" algn="l" defTabSz="597151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81495" indent="-298576" algn="l" defTabSz="597151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78646" indent="-298576" algn="l" defTabSz="597151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75799" indent="-298576" algn="l" defTabSz="597151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715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7151" algn="l" defTabSz="59715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94306" algn="l" defTabSz="59715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91460" algn="l" defTabSz="59715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88611" algn="l" defTabSz="59715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85766" algn="l" defTabSz="59715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82918" algn="l" defTabSz="59715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80071" algn="l" defTabSz="59715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77222" algn="l" defTabSz="59715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22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1978" y="358899"/>
            <a:ext cx="7338636" cy="102481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lvl="0">
              <a:lnSpc>
                <a:spcPct val="100000"/>
              </a:lnSpc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-281816" y="7363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7219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6" y="1855153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7219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-281816" y="4207633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078502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26" tIns="47026" rIns="47026" bIns="47026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16"/>
          <p:cNvSpPr>
            <a:spLocks/>
          </p:cNvSpPr>
          <p:nvPr userDrawn="1"/>
        </p:nvSpPr>
        <p:spPr bwMode="auto">
          <a:xfrm>
            <a:off x="11944818" y="2513906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26" tIns="47026" rIns="47026" bIns="47026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4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1949310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26" tIns="47026" rIns="47026" bIns="47026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9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9" name="Freeform 5"/>
          <p:cNvSpPr>
            <a:spLocks/>
          </p:cNvSpPr>
          <p:nvPr userDrawn="1"/>
        </p:nvSpPr>
        <p:spPr bwMode="auto">
          <a:xfrm>
            <a:off x="11944818" y="1384714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26" tIns="47026" rIns="47026" bIns="47026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0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Freeform 28"/>
          <p:cNvSpPr>
            <a:spLocks/>
          </p:cNvSpPr>
          <p:nvPr userDrawn="1"/>
        </p:nvSpPr>
        <p:spPr bwMode="auto">
          <a:xfrm>
            <a:off x="11944818" y="820118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26" tIns="47026" rIns="47026" bIns="47026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140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Freeform 5"/>
          <p:cNvSpPr>
            <a:spLocks/>
          </p:cNvSpPr>
          <p:nvPr userDrawn="1"/>
        </p:nvSpPr>
        <p:spPr bwMode="auto">
          <a:xfrm>
            <a:off x="11944818" y="258726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26" tIns="47026" rIns="47026" bIns="47026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721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721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11944818" y="3643098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26" tIns="47026" rIns="47026" bIns="47026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6" name="Freeform 5"/>
          <p:cNvSpPr>
            <a:spLocks/>
          </p:cNvSpPr>
          <p:nvPr userDrawn="1"/>
        </p:nvSpPr>
        <p:spPr bwMode="auto">
          <a:xfrm>
            <a:off x="11949114" y="4301731"/>
            <a:ext cx="424105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27" name="Freeform 5"/>
          <p:cNvSpPr>
            <a:spLocks/>
          </p:cNvSpPr>
          <p:nvPr userDrawn="1"/>
        </p:nvSpPr>
        <p:spPr bwMode="auto">
          <a:xfrm>
            <a:off x="11949112" y="4493138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12102362" y="4493135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5" name="Freeform 5"/>
          <p:cNvSpPr>
            <a:spLocks/>
          </p:cNvSpPr>
          <p:nvPr userDrawn="1"/>
        </p:nvSpPr>
        <p:spPr bwMode="auto">
          <a:xfrm>
            <a:off x="12255608" y="4493134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6" name="Freeform 5"/>
          <p:cNvSpPr>
            <a:spLocks/>
          </p:cNvSpPr>
          <p:nvPr userDrawn="1"/>
        </p:nvSpPr>
        <p:spPr bwMode="auto">
          <a:xfrm>
            <a:off x="11949114" y="4775432"/>
            <a:ext cx="424105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7" name="Freeform 5"/>
          <p:cNvSpPr>
            <a:spLocks/>
          </p:cNvSpPr>
          <p:nvPr userDrawn="1"/>
        </p:nvSpPr>
        <p:spPr bwMode="auto">
          <a:xfrm>
            <a:off x="11949112" y="4982131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8" name="Freeform 5"/>
          <p:cNvSpPr>
            <a:spLocks/>
          </p:cNvSpPr>
          <p:nvPr userDrawn="1"/>
        </p:nvSpPr>
        <p:spPr bwMode="auto">
          <a:xfrm>
            <a:off x="12102362" y="4982128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9" name="Freeform 5"/>
          <p:cNvSpPr>
            <a:spLocks/>
          </p:cNvSpPr>
          <p:nvPr userDrawn="1"/>
        </p:nvSpPr>
        <p:spPr bwMode="auto">
          <a:xfrm>
            <a:off x="12255608" y="4982127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0" name="Freeform 5"/>
          <p:cNvSpPr>
            <a:spLocks/>
          </p:cNvSpPr>
          <p:nvPr userDrawn="1"/>
        </p:nvSpPr>
        <p:spPr bwMode="auto">
          <a:xfrm>
            <a:off x="11949114" y="5245930"/>
            <a:ext cx="424105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1" name="Freeform 5"/>
          <p:cNvSpPr>
            <a:spLocks/>
          </p:cNvSpPr>
          <p:nvPr userDrawn="1"/>
        </p:nvSpPr>
        <p:spPr bwMode="auto">
          <a:xfrm>
            <a:off x="11949112" y="5437334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2" name="Freeform 5"/>
          <p:cNvSpPr>
            <a:spLocks/>
          </p:cNvSpPr>
          <p:nvPr userDrawn="1"/>
        </p:nvSpPr>
        <p:spPr bwMode="auto">
          <a:xfrm>
            <a:off x="12102362" y="5437333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3" name="Freeform 5"/>
          <p:cNvSpPr>
            <a:spLocks/>
          </p:cNvSpPr>
          <p:nvPr userDrawn="1"/>
        </p:nvSpPr>
        <p:spPr bwMode="auto">
          <a:xfrm>
            <a:off x="12255608" y="5437333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4" name="TextBox 39"/>
          <p:cNvSpPr txBox="1"/>
          <p:nvPr userDrawn="1"/>
        </p:nvSpPr>
        <p:spPr>
          <a:xfrm>
            <a:off x="11949116" y="5619122"/>
            <a:ext cx="603771" cy="86593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7219" fontAlgn="auto">
              <a:spcBef>
                <a:spcPts val="1045"/>
              </a:spcBef>
              <a:spcAft>
                <a:spcPts val="0"/>
              </a:spcAft>
            </a:pPr>
            <a:r>
              <a:rPr lang="en-US" sz="9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9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9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9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9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9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9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9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9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9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12411753" y="25872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BD78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12411753" y="537757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7A23C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2411753" y="86222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86DB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12411753" y="113250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B51F7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12411753" y="144158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95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12411753" y="171186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CC52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12411753" y="200887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C8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12411753" y="227915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CCC6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12411753" y="256409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69D17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12411753" y="283437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9E0B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12411753" y="3155524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E6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3" name="Freeform 5"/>
          <p:cNvSpPr>
            <a:spLocks/>
          </p:cNvSpPr>
          <p:nvPr userDrawn="1"/>
        </p:nvSpPr>
        <p:spPr bwMode="auto">
          <a:xfrm>
            <a:off x="12411753" y="342580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AFC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" name="Freeform 5"/>
          <p:cNvSpPr>
            <a:spLocks/>
          </p:cNvSpPr>
          <p:nvPr userDrawn="1"/>
        </p:nvSpPr>
        <p:spPr bwMode="auto">
          <a:xfrm>
            <a:off x="12411753" y="3734884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DEDEDE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5" name="Freeform 5"/>
          <p:cNvSpPr>
            <a:spLocks/>
          </p:cNvSpPr>
          <p:nvPr userDrawn="1"/>
        </p:nvSpPr>
        <p:spPr bwMode="auto">
          <a:xfrm>
            <a:off x="12411753" y="400516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9C9C9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99958397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274" r:id="rId1"/>
    <p:sldLayoutId id="2147486275" r:id="rId2"/>
    <p:sldLayoutId id="2147486276" r:id="rId3"/>
    <p:sldLayoutId id="2147486277" r:id="rId4"/>
    <p:sldLayoutId id="2147486278" r:id="rId5"/>
    <p:sldLayoutId id="2147486279" r:id="rId6"/>
    <p:sldLayoutId id="2147486280" r:id="rId7"/>
    <p:sldLayoutId id="2147486281" r:id="rId8"/>
    <p:sldLayoutId id="2147486282" r:id="rId9"/>
    <p:sldLayoutId id="2147486283" r:id="rId10"/>
  </p:sldLayoutIdLst>
  <p:timing>
    <p:tnLst>
      <p:par>
        <p:cTn id="1" dur="indefinite" restart="never" nodeType="tmRoot"/>
      </p:par>
    </p:tnLst>
  </p:timing>
  <p:hf hdr="0" dt="0"/>
  <p:txStyles>
    <p:titleStyle>
      <a:lvl1pPr algn="l" defTabSz="597219" rtl="0" eaLnBrk="1" latinLnBrk="0" hangingPunct="1">
        <a:lnSpc>
          <a:spcPts val="5487"/>
        </a:lnSpc>
        <a:spcBef>
          <a:spcPct val="0"/>
        </a:spcBef>
        <a:spcAft>
          <a:spcPts val="0"/>
        </a:spcAft>
        <a:buNone/>
        <a:defRPr lang="en-US" sz="5500" b="0" i="0" kern="1200" noProof="0" dirty="0">
          <a:solidFill>
            <a:schemeClr val="accent5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40546" indent="-240546" algn="l" defTabSz="59721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6946" indent="-230179" algn="l" defTabSz="59721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6946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7125" indent="-230179" algn="l" defTabSz="59721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7125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7305" indent="-230179" algn="l" defTabSz="59721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7305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7484" indent="-230179" algn="l" defTabSz="59721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7484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84715" indent="-298610" algn="l" defTabSz="597219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81934" indent="-298610" algn="l" defTabSz="597219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79153" indent="-298610" algn="l" defTabSz="597219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76374" indent="-298610" algn="l" defTabSz="597219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721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7219" algn="l" defTabSz="59721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94441" algn="l" defTabSz="59721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91662" algn="l" defTabSz="59721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88881" algn="l" defTabSz="59721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86104" algn="l" defTabSz="59721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83323" algn="l" defTabSz="59721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80544" algn="l" defTabSz="59721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77763" algn="l" defTabSz="59721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22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2667266695"/>
              </p:ext>
            </p:extLst>
          </p:nvPr>
        </p:nvGraphicFramePr>
        <p:xfrm>
          <a:off x="2077" y="2077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68440" name="Slide do think-cell" r:id="rId18" imgW="0" imgH="0" progId="TCLayout.ActiveDocument.1">
                  <p:embed/>
                </p:oleObj>
              </mc:Choice>
              <mc:Fallback>
                <p:oleObj name="Slide do think-cell" r:id="rId18" imgW="0" imgH="0" progId="TCLayout.ActiveDocument.1">
                  <p:embed/>
                  <p:pic>
                    <p:nvPicPr>
                      <p:cNvPr id="0" name="AutoShape 6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77" y="2077"/>
                        <a:ext cx="2074" cy="20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78" y="1290358"/>
            <a:ext cx="10739680" cy="5082596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1982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44" name="TextBox 43"/>
          <p:cNvSpPr txBox="1"/>
          <p:nvPr userDrawn="1"/>
        </p:nvSpPr>
        <p:spPr>
          <a:xfrm>
            <a:off x="-281816" y="7363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7219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45" name="TextBox 44"/>
          <p:cNvSpPr txBox="1"/>
          <p:nvPr userDrawn="1"/>
        </p:nvSpPr>
        <p:spPr>
          <a:xfrm>
            <a:off x="-281816" y="1855153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7219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46" name="TextBox 45"/>
          <p:cNvSpPr txBox="1"/>
          <p:nvPr userDrawn="1"/>
        </p:nvSpPr>
        <p:spPr>
          <a:xfrm>
            <a:off x="-281816" y="4207633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47" name="Freeform 5"/>
          <p:cNvSpPr>
            <a:spLocks/>
          </p:cNvSpPr>
          <p:nvPr userDrawn="1"/>
        </p:nvSpPr>
        <p:spPr bwMode="auto">
          <a:xfrm>
            <a:off x="11944818" y="3078502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26" tIns="47026" rIns="47026" bIns="47026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48" name="Freeform 47"/>
          <p:cNvSpPr>
            <a:spLocks/>
          </p:cNvSpPr>
          <p:nvPr userDrawn="1"/>
        </p:nvSpPr>
        <p:spPr bwMode="auto">
          <a:xfrm>
            <a:off x="11944818" y="2513906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26" tIns="47026" rIns="47026" bIns="47026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4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49" name="Freeform 5"/>
          <p:cNvSpPr>
            <a:spLocks/>
          </p:cNvSpPr>
          <p:nvPr userDrawn="1"/>
        </p:nvSpPr>
        <p:spPr bwMode="auto">
          <a:xfrm>
            <a:off x="11944818" y="1949310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26" tIns="47026" rIns="47026" bIns="47026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9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50" name="Freeform 5"/>
          <p:cNvSpPr>
            <a:spLocks/>
          </p:cNvSpPr>
          <p:nvPr userDrawn="1"/>
        </p:nvSpPr>
        <p:spPr bwMode="auto">
          <a:xfrm>
            <a:off x="11944818" y="1384714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26" tIns="47026" rIns="47026" bIns="47026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0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51" name="Freeform 50"/>
          <p:cNvSpPr>
            <a:spLocks/>
          </p:cNvSpPr>
          <p:nvPr userDrawn="1"/>
        </p:nvSpPr>
        <p:spPr bwMode="auto">
          <a:xfrm>
            <a:off x="11944818" y="820118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26" tIns="47026" rIns="47026" bIns="47026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140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52" name="Freeform 5"/>
          <p:cNvSpPr>
            <a:spLocks/>
          </p:cNvSpPr>
          <p:nvPr userDrawn="1"/>
        </p:nvSpPr>
        <p:spPr bwMode="auto">
          <a:xfrm>
            <a:off x="11944818" y="258726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26" tIns="47026" rIns="47026" bIns="47026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721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721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53" name="Freeform 5"/>
          <p:cNvSpPr>
            <a:spLocks/>
          </p:cNvSpPr>
          <p:nvPr userDrawn="1"/>
        </p:nvSpPr>
        <p:spPr bwMode="auto">
          <a:xfrm>
            <a:off x="11944818" y="3643098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26" tIns="47026" rIns="47026" bIns="47026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54" name="Freeform 5"/>
          <p:cNvSpPr>
            <a:spLocks/>
          </p:cNvSpPr>
          <p:nvPr userDrawn="1"/>
        </p:nvSpPr>
        <p:spPr bwMode="auto">
          <a:xfrm>
            <a:off x="11949114" y="4301731"/>
            <a:ext cx="424105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5" name="Freeform 5"/>
          <p:cNvSpPr>
            <a:spLocks/>
          </p:cNvSpPr>
          <p:nvPr userDrawn="1"/>
        </p:nvSpPr>
        <p:spPr bwMode="auto">
          <a:xfrm>
            <a:off x="11949112" y="4493138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6" name="Freeform 5"/>
          <p:cNvSpPr>
            <a:spLocks/>
          </p:cNvSpPr>
          <p:nvPr userDrawn="1"/>
        </p:nvSpPr>
        <p:spPr bwMode="auto">
          <a:xfrm>
            <a:off x="12102362" y="4493135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7" name="Freeform 5"/>
          <p:cNvSpPr>
            <a:spLocks/>
          </p:cNvSpPr>
          <p:nvPr userDrawn="1"/>
        </p:nvSpPr>
        <p:spPr bwMode="auto">
          <a:xfrm>
            <a:off x="12255608" y="4493134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8" name="Freeform 5"/>
          <p:cNvSpPr>
            <a:spLocks/>
          </p:cNvSpPr>
          <p:nvPr userDrawn="1"/>
        </p:nvSpPr>
        <p:spPr bwMode="auto">
          <a:xfrm>
            <a:off x="11949114" y="4775432"/>
            <a:ext cx="424105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9" name="Freeform 5"/>
          <p:cNvSpPr>
            <a:spLocks/>
          </p:cNvSpPr>
          <p:nvPr userDrawn="1"/>
        </p:nvSpPr>
        <p:spPr bwMode="auto">
          <a:xfrm>
            <a:off x="11949112" y="4982131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0" name="Freeform 5"/>
          <p:cNvSpPr>
            <a:spLocks/>
          </p:cNvSpPr>
          <p:nvPr userDrawn="1"/>
        </p:nvSpPr>
        <p:spPr bwMode="auto">
          <a:xfrm>
            <a:off x="12102362" y="4982128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1" name="Freeform 5"/>
          <p:cNvSpPr>
            <a:spLocks/>
          </p:cNvSpPr>
          <p:nvPr userDrawn="1"/>
        </p:nvSpPr>
        <p:spPr bwMode="auto">
          <a:xfrm>
            <a:off x="12255608" y="4982127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2" name="Freeform 5"/>
          <p:cNvSpPr>
            <a:spLocks/>
          </p:cNvSpPr>
          <p:nvPr userDrawn="1"/>
        </p:nvSpPr>
        <p:spPr bwMode="auto">
          <a:xfrm>
            <a:off x="11949114" y="5245930"/>
            <a:ext cx="424105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3" name="Freeform 5"/>
          <p:cNvSpPr>
            <a:spLocks/>
          </p:cNvSpPr>
          <p:nvPr userDrawn="1"/>
        </p:nvSpPr>
        <p:spPr bwMode="auto">
          <a:xfrm>
            <a:off x="11949112" y="5437334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4" name="Freeform 5"/>
          <p:cNvSpPr>
            <a:spLocks/>
          </p:cNvSpPr>
          <p:nvPr userDrawn="1"/>
        </p:nvSpPr>
        <p:spPr bwMode="auto">
          <a:xfrm>
            <a:off x="12102362" y="5437333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5" name="Freeform 5"/>
          <p:cNvSpPr>
            <a:spLocks/>
          </p:cNvSpPr>
          <p:nvPr userDrawn="1"/>
        </p:nvSpPr>
        <p:spPr bwMode="auto">
          <a:xfrm>
            <a:off x="12255608" y="5437333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6" name="TextBox 39"/>
          <p:cNvSpPr txBox="1"/>
          <p:nvPr userDrawn="1"/>
        </p:nvSpPr>
        <p:spPr>
          <a:xfrm>
            <a:off x="11949112" y="5619122"/>
            <a:ext cx="621766" cy="86593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7219" fontAlgn="auto">
              <a:spcBef>
                <a:spcPts val="1045"/>
              </a:spcBef>
              <a:spcAft>
                <a:spcPts val="0"/>
              </a:spcAft>
            </a:pPr>
            <a:r>
              <a:rPr lang="en-US" sz="9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9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9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9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9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9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9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9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9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9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</a:p>
        </p:txBody>
      </p:sp>
      <p:sp>
        <p:nvSpPr>
          <p:cNvPr id="68" name="Freeform 5"/>
          <p:cNvSpPr>
            <a:spLocks/>
          </p:cNvSpPr>
          <p:nvPr userDrawn="1"/>
        </p:nvSpPr>
        <p:spPr bwMode="auto">
          <a:xfrm>
            <a:off x="12411753" y="25872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BD78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9" name="Freeform 5"/>
          <p:cNvSpPr>
            <a:spLocks/>
          </p:cNvSpPr>
          <p:nvPr userDrawn="1"/>
        </p:nvSpPr>
        <p:spPr bwMode="auto">
          <a:xfrm>
            <a:off x="12411753" y="537757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7A23C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0" name="Freeform 5"/>
          <p:cNvSpPr>
            <a:spLocks/>
          </p:cNvSpPr>
          <p:nvPr userDrawn="1"/>
        </p:nvSpPr>
        <p:spPr bwMode="auto">
          <a:xfrm>
            <a:off x="12411753" y="86222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86DB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1" name="Freeform 5"/>
          <p:cNvSpPr>
            <a:spLocks/>
          </p:cNvSpPr>
          <p:nvPr userDrawn="1"/>
        </p:nvSpPr>
        <p:spPr bwMode="auto">
          <a:xfrm>
            <a:off x="12411753" y="113250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B51F7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2" name="Freeform 71"/>
          <p:cNvSpPr>
            <a:spLocks/>
          </p:cNvSpPr>
          <p:nvPr userDrawn="1"/>
        </p:nvSpPr>
        <p:spPr bwMode="auto">
          <a:xfrm>
            <a:off x="12411753" y="144158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95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3" name="Freeform 5"/>
          <p:cNvSpPr>
            <a:spLocks/>
          </p:cNvSpPr>
          <p:nvPr userDrawn="1"/>
        </p:nvSpPr>
        <p:spPr bwMode="auto">
          <a:xfrm>
            <a:off x="12411753" y="171186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CC52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4" name="Freeform 5"/>
          <p:cNvSpPr>
            <a:spLocks/>
          </p:cNvSpPr>
          <p:nvPr userDrawn="1"/>
        </p:nvSpPr>
        <p:spPr bwMode="auto">
          <a:xfrm>
            <a:off x="12411753" y="200887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C8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5" name="Freeform 5"/>
          <p:cNvSpPr>
            <a:spLocks/>
          </p:cNvSpPr>
          <p:nvPr userDrawn="1"/>
        </p:nvSpPr>
        <p:spPr bwMode="auto">
          <a:xfrm>
            <a:off x="12411753" y="227915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CCC6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6" name="Freeform 5"/>
          <p:cNvSpPr>
            <a:spLocks/>
          </p:cNvSpPr>
          <p:nvPr userDrawn="1"/>
        </p:nvSpPr>
        <p:spPr bwMode="auto">
          <a:xfrm>
            <a:off x="12411753" y="256409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69D17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7" name="Freeform 5"/>
          <p:cNvSpPr>
            <a:spLocks/>
          </p:cNvSpPr>
          <p:nvPr userDrawn="1"/>
        </p:nvSpPr>
        <p:spPr bwMode="auto">
          <a:xfrm>
            <a:off x="12411753" y="283437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9E0B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8" name="Freeform 5"/>
          <p:cNvSpPr>
            <a:spLocks/>
          </p:cNvSpPr>
          <p:nvPr userDrawn="1"/>
        </p:nvSpPr>
        <p:spPr bwMode="auto">
          <a:xfrm>
            <a:off x="12411753" y="3155524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E6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9" name="Freeform 5"/>
          <p:cNvSpPr>
            <a:spLocks/>
          </p:cNvSpPr>
          <p:nvPr userDrawn="1"/>
        </p:nvSpPr>
        <p:spPr bwMode="auto">
          <a:xfrm>
            <a:off x="12411753" y="342580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AFC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80" name="Freeform 5"/>
          <p:cNvSpPr>
            <a:spLocks/>
          </p:cNvSpPr>
          <p:nvPr userDrawn="1"/>
        </p:nvSpPr>
        <p:spPr bwMode="auto">
          <a:xfrm>
            <a:off x="12411753" y="3734884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DEDEDE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81" name="Freeform 5"/>
          <p:cNvSpPr>
            <a:spLocks/>
          </p:cNvSpPr>
          <p:nvPr userDrawn="1"/>
        </p:nvSpPr>
        <p:spPr bwMode="auto">
          <a:xfrm>
            <a:off x="12411753" y="400516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9C9C9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45" tIns="59723" rIns="119445" bIns="59723" numCol="1" anchor="t" anchorCtr="0" compatLnSpc="1">
            <a:prstTxWarp prst="textNoShape">
              <a:avLst/>
            </a:prstTxWarp>
          </a:bodyPr>
          <a:lstStyle/>
          <a:p>
            <a:pPr defTabSz="59721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6906701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288" r:id="rId1"/>
    <p:sldLayoutId id="2147486289" r:id="rId2"/>
    <p:sldLayoutId id="2147486290" r:id="rId3"/>
    <p:sldLayoutId id="2147486291" r:id="rId4"/>
    <p:sldLayoutId id="2147486292" r:id="rId5"/>
    <p:sldLayoutId id="2147486293" r:id="rId6"/>
    <p:sldLayoutId id="2147486294" r:id="rId7"/>
    <p:sldLayoutId id="2147486295" r:id="rId8"/>
    <p:sldLayoutId id="2147486296" r:id="rId9"/>
    <p:sldLayoutId id="2147486297" r:id="rId10"/>
    <p:sldLayoutId id="2147486298" r:id="rId11"/>
    <p:sldLayoutId id="2147486299" r:id="rId12"/>
    <p:sldLayoutId id="2147486300" r:id="rId13"/>
    <p:sldLayoutId id="2147486301" r:id="rId14"/>
  </p:sldLayoutIdLst>
  <p:timing>
    <p:tnLst>
      <p:par>
        <p:cTn id="1" dur="indefinite" restart="never" nodeType="tmRoot"/>
      </p:par>
    </p:tnLst>
  </p:timing>
  <p:hf hdr="0" dt="0"/>
  <p:txStyles>
    <p:titleStyle>
      <a:lvl1pPr algn="l" defTabSz="597219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2700" b="0" i="0" kern="1200" noProof="0">
          <a:solidFill>
            <a:schemeClr val="accent5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40546" indent="-240546" algn="l" defTabSz="59721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6946" indent="-230179" algn="l" defTabSz="59721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6946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7125" indent="-230179" algn="l" defTabSz="59721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7125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7305" indent="-230179" algn="l" defTabSz="59721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7305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7484" indent="-230179" algn="l" defTabSz="59721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7484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84715" indent="-298610" algn="l" defTabSz="597219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81934" indent="-298610" algn="l" defTabSz="597219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79153" indent="-298610" algn="l" defTabSz="597219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76374" indent="-298610" algn="l" defTabSz="597219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721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7219" algn="l" defTabSz="59721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94441" algn="l" defTabSz="59721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91662" algn="l" defTabSz="59721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88881" algn="l" defTabSz="59721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86104" algn="l" defTabSz="59721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83323" algn="l" defTabSz="59721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80544" algn="l" defTabSz="59721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77763" algn="l" defTabSz="59721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22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1978" y="358898"/>
            <a:ext cx="7338636" cy="102481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lvl="0">
              <a:lnSpc>
                <a:spcPct val="100000"/>
              </a:lnSpc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-281816" y="7363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728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6" y="1855151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728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-281816" y="4207633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728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078502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31" tIns="47031" rIns="47031" bIns="47031" numCol="1" anchor="t" anchorCtr="0" compatLnSpc="1">
            <a:prstTxWarp prst="textNoShape">
              <a:avLst/>
            </a:prstTxWarp>
          </a:bodyPr>
          <a:lstStyle/>
          <a:p>
            <a:pPr defTabSz="59728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728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728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16"/>
          <p:cNvSpPr>
            <a:spLocks/>
          </p:cNvSpPr>
          <p:nvPr userDrawn="1"/>
        </p:nvSpPr>
        <p:spPr bwMode="auto">
          <a:xfrm>
            <a:off x="11944818" y="2513906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31" tIns="47031" rIns="47031" bIns="47031" numCol="1" anchor="t" anchorCtr="0" compatLnSpc="1">
            <a:prstTxWarp prst="textNoShape">
              <a:avLst/>
            </a:prstTxWarp>
          </a:bodyPr>
          <a:lstStyle/>
          <a:p>
            <a:pPr defTabSz="59728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728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728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4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1949310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31" tIns="47031" rIns="47031" bIns="47031" numCol="1" anchor="t" anchorCtr="0" compatLnSpc="1">
            <a:prstTxWarp prst="textNoShape">
              <a:avLst/>
            </a:prstTxWarp>
          </a:bodyPr>
          <a:lstStyle/>
          <a:p>
            <a:pPr defTabSz="59728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728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728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9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9" name="Freeform 5"/>
          <p:cNvSpPr>
            <a:spLocks/>
          </p:cNvSpPr>
          <p:nvPr userDrawn="1"/>
        </p:nvSpPr>
        <p:spPr bwMode="auto">
          <a:xfrm>
            <a:off x="11944818" y="1384714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31" tIns="47031" rIns="47031" bIns="47031" numCol="1" anchor="t" anchorCtr="0" compatLnSpc="1">
            <a:prstTxWarp prst="textNoShape">
              <a:avLst/>
            </a:prstTxWarp>
          </a:bodyPr>
          <a:lstStyle/>
          <a:p>
            <a:pPr defTabSz="59728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728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728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0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Freeform 28"/>
          <p:cNvSpPr>
            <a:spLocks/>
          </p:cNvSpPr>
          <p:nvPr userDrawn="1"/>
        </p:nvSpPr>
        <p:spPr bwMode="auto">
          <a:xfrm>
            <a:off x="11944818" y="820118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31" tIns="47031" rIns="47031" bIns="47031" numCol="1" anchor="t" anchorCtr="0" compatLnSpc="1">
            <a:prstTxWarp prst="textNoShape">
              <a:avLst/>
            </a:prstTxWarp>
          </a:bodyPr>
          <a:lstStyle/>
          <a:p>
            <a:pPr defTabSz="59728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728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728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140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Freeform 5"/>
          <p:cNvSpPr>
            <a:spLocks/>
          </p:cNvSpPr>
          <p:nvPr userDrawn="1"/>
        </p:nvSpPr>
        <p:spPr bwMode="auto">
          <a:xfrm>
            <a:off x="11944818" y="258726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31" tIns="47031" rIns="47031" bIns="47031" numCol="1" anchor="t" anchorCtr="0" compatLnSpc="1">
            <a:prstTxWarp prst="textNoShape">
              <a:avLst/>
            </a:prstTxWarp>
          </a:bodyPr>
          <a:lstStyle/>
          <a:p>
            <a:pPr defTabSz="59728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728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728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11944818" y="3643098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31" tIns="47031" rIns="47031" bIns="47031" numCol="1" anchor="t" anchorCtr="0" compatLnSpc="1">
            <a:prstTxWarp prst="textNoShape">
              <a:avLst/>
            </a:prstTxWarp>
          </a:bodyPr>
          <a:lstStyle/>
          <a:p>
            <a:pPr defTabSz="59728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728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728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6" name="Freeform 5"/>
          <p:cNvSpPr>
            <a:spLocks/>
          </p:cNvSpPr>
          <p:nvPr userDrawn="1"/>
        </p:nvSpPr>
        <p:spPr bwMode="auto">
          <a:xfrm>
            <a:off x="11949114" y="4301731"/>
            <a:ext cx="424105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459" tIns="59729" rIns="119459" bIns="59729" numCol="1" anchor="t" anchorCtr="0" compatLnSpc="1">
            <a:prstTxWarp prst="textNoShape">
              <a:avLst/>
            </a:prstTxWarp>
          </a:bodyPr>
          <a:lstStyle/>
          <a:p>
            <a:pPr defTabSz="59728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27" name="Freeform 5"/>
          <p:cNvSpPr>
            <a:spLocks/>
          </p:cNvSpPr>
          <p:nvPr userDrawn="1"/>
        </p:nvSpPr>
        <p:spPr bwMode="auto">
          <a:xfrm>
            <a:off x="11949112" y="4493138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59" tIns="59729" rIns="119459" bIns="59729" numCol="1" anchor="t" anchorCtr="0" compatLnSpc="1">
            <a:prstTxWarp prst="textNoShape">
              <a:avLst/>
            </a:prstTxWarp>
          </a:bodyPr>
          <a:lstStyle/>
          <a:p>
            <a:pPr defTabSz="59728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12102362" y="4493135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59" tIns="59729" rIns="119459" bIns="59729" numCol="1" anchor="t" anchorCtr="0" compatLnSpc="1">
            <a:prstTxWarp prst="textNoShape">
              <a:avLst/>
            </a:prstTxWarp>
          </a:bodyPr>
          <a:lstStyle/>
          <a:p>
            <a:pPr defTabSz="59728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5" name="Freeform 5"/>
          <p:cNvSpPr>
            <a:spLocks/>
          </p:cNvSpPr>
          <p:nvPr userDrawn="1"/>
        </p:nvSpPr>
        <p:spPr bwMode="auto">
          <a:xfrm>
            <a:off x="12255608" y="4493134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59" tIns="59729" rIns="119459" bIns="59729" numCol="1" anchor="t" anchorCtr="0" compatLnSpc="1">
            <a:prstTxWarp prst="textNoShape">
              <a:avLst/>
            </a:prstTxWarp>
          </a:bodyPr>
          <a:lstStyle/>
          <a:p>
            <a:pPr defTabSz="59728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6" name="Freeform 5"/>
          <p:cNvSpPr>
            <a:spLocks/>
          </p:cNvSpPr>
          <p:nvPr userDrawn="1"/>
        </p:nvSpPr>
        <p:spPr bwMode="auto">
          <a:xfrm>
            <a:off x="11949114" y="4775432"/>
            <a:ext cx="424105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459" tIns="59729" rIns="119459" bIns="59729" numCol="1" anchor="t" anchorCtr="0" compatLnSpc="1">
            <a:prstTxWarp prst="textNoShape">
              <a:avLst/>
            </a:prstTxWarp>
          </a:bodyPr>
          <a:lstStyle/>
          <a:p>
            <a:pPr defTabSz="59728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7" name="Freeform 5"/>
          <p:cNvSpPr>
            <a:spLocks/>
          </p:cNvSpPr>
          <p:nvPr userDrawn="1"/>
        </p:nvSpPr>
        <p:spPr bwMode="auto">
          <a:xfrm>
            <a:off x="11949112" y="4982131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59" tIns="59729" rIns="119459" bIns="59729" numCol="1" anchor="t" anchorCtr="0" compatLnSpc="1">
            <a:prstTxWarp prst="textNoShape">
              <a:avLst/>
            </a:prstTxWarp>
          </a:bodyPr>
          <a:lstStyle/>
          <a:p>
            <a:pPr defTabSz="59728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8" name="Freeform 5"/>
          <p:cNvSpPr>
            <a:spLocks/>
          </p:cNvSpPr>
          <p:nvPr userDrawn="1"/>
        </p:nvSpPr>
        <p:spPr bwMode="auto">
          <a:xfrm>
            <a:off x="12102362" y="4982128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59" tIns="59729" rIns="119459" bIns="59729" numCol="1" anchor="t" anchorCtr="0" compatLnSpc="1">
            <a:prstTxWarp prst="textNoShape">
              <a:avLst/>
            </a:prstTxWarp>
          </a:bodyPr>
          <a:lstStyle/>
          <a:p>
            <a:pPr defTabSz="59728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9" name="Freeform 5"/>
          <p:cNvSpPr>
            <a:spLocks/>
          </p:cNvSpPr>
          <p:nvPr userDrawn="1"/>
        </p:nvSpPr>
        <p:spPr bwMode="auto">
          <a:xfrm>
            <a:off x="12255608" y="4982127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59" tIns="59729" rIns="119459" bIns="59729" numCol="1" anchor="t" anchorCtr="0" compatLnSpc="1">
            <a:prstTxWarp prst="textNoShape">
              <a:avLst/>
            </a:prstTxWarp>
          </a:bodyPr>
          <a:lstStyle/>
          <a:p>
            <a:pPr defTabSz="59728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0" name="Freeform 5"/>
          <p:cNvSpPr>
            <a:spLocks/>
          </p:cNvSpPr>
          <p:nvPr userDrawn="1"/>
        </p:nvSpPr>
        <p:spPr bwMode="auto">
          <a:xfrm>
            <a:off x="11949114" y="5245930"/>
            <a:ext cx="424105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459" tIns="59729" rIns="119459" bIns="59729" numCol="1" anchor="t" anchorCtr="0" compatLnSpc="1">
            <a:prstTxWarp prst="textNoShape">
              <a:avLst/>
            </a:prstTxWarp>
          </a:bodyPr>
          <a:lstStyle/>
          <a:p>
            <a:pPr defTabSz="59728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1" name="Freeform 5"/>
          <p:cNvSpPr>
            <a:spLocks/>
          </p:cNvSpPr>
          <p:nvPr userDrawn="1"/>
        </p:nvSpPr>
        <p:spPr bwMode="auto">
          <a:xfrm>
            <a:off x="11949112" y="5437334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59" tIns="59729" rIns="119459" bIns="59729" numCol="1" anchor="t" anchorCtr="0" compatLnSpc="1">
            <a:prstTxWarp prst="textNoShape">
              <a:avLst/>
            </a:prstTxWarp>
          </a:bodyPr>
          <a:lstStyle/>
          <a:p>
            <a:pPr defTabSz="59728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2" name="Freeform 5"/>
          <p:cNvSpPr>
            <a:spLocks/>
          </p:cNvSpPr>
          <p:nvPr userDrawn="1"/>
        </p:nvSpPr>
        <p:spPr bwMode="auto">
          <a:xfrm>
            <a:off x="12102362" y="5437333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59" tIns="59729" rIns="119459" bIns="59729" numCol="1" anchor="t" anchorCtr="0" compatLnSpc="1">
            <a:prstTxWarp prst="textNoShape">
              <a:avLst/>
            </a:prstTxWarp>
          </a:bodyPr>
          <a:lstStyle/>
          <a:p>
            <a:pPr defTabSz="59728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3" name="Freeform 5"/>
          <p:cNvSpPr>
            <a:spLocks/>
          </p:cNvSpPr>
          <p:nvPr userDrawn="1"/>
        </p:nvSpPr>
        <p:spPr bwMode="auto">
          <a:xfrm>
            <a:off x="12255608" y="5437333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59" tIns="59729" rIns="119459" bIns="59729" numCol="1" anchor="t" anchorCtr="0" compatLnSpc="1">
            <a:prstTxWarp prst="textNoShape">
              <a:avLst/>
            </a:prstTxWarp>
          </a:bodyPr>
          <a:lstStyle/>
          <a:p>
            <a:pPr defTabSz="59728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4" name="TextBox 39"/>
          <p:cNvSpPr txBox="1"/>
          <p:nvPr userDrawn="1"/>
        </p:nvSpPr>
        <p:spPr>
          <a:xfrm>
            <a:off x="11949115" y="5619122"/>
            <a:ext cx="603771" cy="86593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7287" fontAlgn="auto">
              <a:spcBef>
                <a:spcPts val="1045"/>
              </a:spcBef>
              <a:spcAft>
                <a:spcPts val="0"/>
              </a:spcAft>
            </a:pPr>
            <a:r>
              <a:rPr lang="en-US" sz="9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9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9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9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9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9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9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9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9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9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12411753" y="25872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BD78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59" tIns="59729" rIns="119459" bIns="59729" numCol="1" anchor="t" anchorCtr="0" compatLnSpc="1">
            <a:prstTxWarp prst="textNoShape">
              <a:avLst/>
            </a:prstTxWarp>
          </a:bodyPr>
          <a:lstStyle/>
          <a:p>
            <a:pPr defTabSz="59728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12411753" y="537757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7A23C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59" tIns="59729" rIns="119459" bIns="59729" numCol="1" anchor="t" anchorCtr="0" compatLnSpc="1">
            <a:prstTxWarp prst="textNoShape">
              <a:avLst/>
            </a:prstTxWarp>
          </a:bodyPr>
          <a:lstStyle/>
          <a:p>
            <a:pPr defTabSz="59728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2411753" y="86222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86DB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59" tIns="59729" rIns="119459" bIns="59729" numCol="1" anchor="t" anchorCtr="0" compatLnSpc="1">
            <a:prstTxWarp prst="textNoShape">
              <a:avLst/>
            </a:prstTxWarp>
          </a:bodyPr>
          <a:lstStyle/>
          <a:p>
            <a:pPr defTabSz="59728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12411753" y="113250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B51F7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59" tIns="59729" rIns="119459" bIns="59729" numCol="1" anchor="t" anchorCtr="0" compatLnSpc="1">
            <a:prstTxWarp prst="textNoShape">
              <a:avLst/>
            </a:prstTxWarp>
          </a:bodyPr>
          <a:lstStyle/>
          <a:p>
            <a:pPr defTabSz="59728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12411753" y="144158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95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59" tIns="59729" rIns="119459" bIns="59729" numCol="1" anchor="t" anchorCtr="0" compatLnSpc="1">
            <a:prstTxWarp prst="textNoShape">
              <a:avLst/>
            </a:prstTxWarp>
          </a:bodyPr>
          <a:lstStyle/>
          <a:p>
            <a:pPr defTabSz="59728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12411753" y="171186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CC52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59" tIns="59729" rIns="119459" bIns="59729" numCol="1" anchor="t" anchorCtr="0" compatLnSpc="1">
            <a:prstTxWarp prst="textNoShape">
              <a:avLst/>
            </a:prstTxWarp>
          </a:bodyPr>
          <a:lstStyle/>
          <a:p>
            <a:pPr defTabSz="59728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12411753" y="200887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C8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59" tIns="59729" rIns="119459" bIns="59729" numCol="1" anchor="t" anchorCtr="0" compatLnSpc="1">
            <a:prstTxWarp prst="textNoShape">
              <a:avLst/>
            </a:prstTxWarp>
          </a:bodyPr>
          <a:lstStyle/>
          <a:p>
            <a:pPr defTabSz="59728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12411753" y="227915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CCC6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59" tIns="59729" rIns="119459" bIns="59729" numCol="1" anchor="t" anchorCtr="0" compatLnSpc="1">
            <a:prstTxWarp prst="textNoShape">
              <a:avLst/>
            </a:prstTxWarp>
          </a:bodyPr>
          <a:lstStyle/>
          <a:p>
            <a:pPr defTabSz="59728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12411753" y="256409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69D17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59" tIns="59729" rIns="119459" bIns="59729" numCol="1" anchor="t" anchorCtr="0" compatLnSpc="1">
            <a:prstTxWarp prst="textNoShape">
              <a:avLst/>
            </a:prstTxWarp>
          </a:bodyPr>
          <a:lstStyle/>
          <a:p>
            <a:pPr defTabSz="59728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12411753" y="283437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9E0B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59" tIns="59729" rIns="119459" bIns="59729" numCol="1" anchor="t" anchorCtr="0" compatLnSpc="1">
            <a:prstTxWarp prst="textNoShape">
              <a:avLst/>
            </a:prstTxWarp>
          </a:bodyPr>
          <a:lstStyle/>
          <a:p>
            <a:pPr defTabSz="59728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12411753" y="3155524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E6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59" tIns="59729" rIns="119459" bIns="59729" numCol="1" anchor="t" anchorCtr="0" compatLnSpc="1">
            <a:prstTxWarp prst="textNoShape">
              <a:avLst/>
            </a:prstTxWarp>
          </a:bodyPr>
          <a:lstStyle/>
          <a:p>
            <a:pPr defTabSz="59728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3" name="Freeform 5"/>
          <p:cNvSpPr>
            <a:spLocks/>
          </p:cNvSpPr>
          <p:nvPr userDrawn="1"/>
        </p:nvSpPr>
        <p:spPr bwMode="auto">
          <a:xfrm>
            <a:off x="12411753" y="342580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AFC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59" tIns="59729" rIns="119459" bIns="59729" numCol="1" anchor="t" anchorCtr="0" compatLnSpc="1">
            <a:prstTxWarp prst="textNoShape">
              <a:avLst/>
            </a:prstTxWarp>
          </a:bodyPr>
          <a:lstStyle/>
          <a:p>
            <a:pPr defTabSz="59728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" name="Freeform 5"/>
          <p:cNvSpPr>
            <a:spLocks/>
          </p:cNvSpPr>
          <p:nvPr userDrawn="1"/>
        </p:nvSpPr>
        <p:spPr bwMode="auto">
          <a:xfrm>
            <a:off x="12411753" y="3734884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DEDEDE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59" tIns="59729" rIns="119459" bIns="59729" numCol="1" anchor="t" anchorCtr="0" compatLnSpc="1">
            <a:prstTxWarp prst="textNoShape">
              <a:avLst/>
            </a:prstTxWarp>
          </a:bodyPr>
          <a:lstStyle/>
          <a:p>
            <a:pPr defTabSz="59728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5" name="Freeform 5"/>
          <p:cNvSpPr>
            <a:spLocks/>
          </p:cNvSpPr>
          <p:nvPr userDrawn="1"/>
        </p:nvSpPr>
        <p:spPr bwMode="auto">
          <a:xfrm>
            <a:off x="12411753" y="400516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9C9C9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59" tIns="59729" rIns="119459" bIns="59729" numCol="1" anchor="t" anchorCtr="0" compatLnSpc="1">
            <a:prstTxWarp prst="textNoShape">
              <a:avLst/>
            </a:prstTxWarp>
          </a:bodyPr>
          <a:lstStyle/>
          <a:p>
            <a:pPr defTabSz="59728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7062665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303" r:id="rId1"/>
    <p:sldLayoutId id="2147486304" r:id="rId2"/>
    <p:sldLayoutId id="2147486305" r:id="rId3"/>
    <p:sldLayoutId id="2147486306" r:id="rId4"/>
    <p:sldLayoutId id="2147486307" r:id="rId5"/>
    <p:sldLayoutId id="2147486308" r:id="rId6"/>
    <p:sldLayoutId id="2147486309" r:id="rId7"/>
    <p:sldLayoutId id="2147486310" r:id="rId8"/>
    <p:sldLayoutId id="2147486311" r:id="rId9"/>
    <p:sldLayoutId id="2147486312" r:id="rId10"/>
  </p:sldLayoutIdLst>
  <p:timing>
    <p:tnLst>
      <p:par>
        <p:cTn id="1" dur="indefinite" restart="never" nodeType="tmRoot"/>
      </p:par>
    </p:tnLst>
  </p:timing>
  <p:hf hdr="0" dt="0"/>
  <p:txStyles>
    <p:titleStyle>
      <a:lvl1pPr algn="l" defTabSz="597287" rtl="0" eaLnBrk="1" latinLnBrk="0" hangingPunct="1">
        <a:lnSpc>
          <a:spcPts val="5487"/>
        </a:lnSpc>
        <a:spcBef>
          <a:spcPct val="0"/>
        </a:spcBef>
        <a:spcAft>
          <a:spcPts val="0"/>
        </a:spcAft>
        <a:buNone/>
        <a:defRPr lang="en-US" sz="5500" b="0" i="0" kern="1200" noProof="0" dirty="0">
          <a:solidFill>
            <a:schemeClr val="accent5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40574" indent="-240574" algn="l" defTabSz="59728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7000" indent="-230205" algn="l" defTabSz="59728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7000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7204" indent="-230205" algn="l" defTabSz="59728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7204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7411" indent="-230205" algn="l" defTabSz="59728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7411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7616" indent="-230205" algn="l" defTabSz="59728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7616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85086" indent="-298644" algn="l" defTabSz="59728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82373" indent="-298644" algn="l" defTabSz="59728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79660" indent="-298644" algn="l" defTabSz="59728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76949" indent="-298644" algn="l" defTabSz="59728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72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7287" algn="l" defTabSz="5972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94576" algn="l" defTabSz="5972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91865" algn="l" defTabSz="5972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89152" algn="l" defTabSz="5972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86441" algn="l" defTabSz="5972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83728" algn="l" defTabSz="5972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81017" algn="l" defTabSz="5972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78304" algn="l" defTabSz="5972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22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964966477"/>
              </p:ext>
            </p:extLst>
          </p:nvPr>
        </p:nvGraphicFramePr>
        <p:xfrm>
          <a:off x="2077" y="2077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74580" name="Slide do think-cell" r:id="rId18" imgW="0" imgH="0" progId="TCLayout.ActiveDocument.1">
                  <p:embed/>
                </p:oleObj>
              </mc:Choice>
              <mc:Fallback>
                <p:oleObj name="Slide do think-cell" r:id="rId18" imgW="0" imgH="0" progId="TCLayout.ActiveDocument.1">
                  <p:embed/>
                  <p:pic>
                    <p:nvPicPr>
                      <p:cNvPr id="0" name="AutoShape 5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77" y="2077"/>
                        <a:ext cx="2074" cy="20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78" y="1290358"/>
            <a:ext cx="10739680" cy="5082596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1980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2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7457" y="6371918"/>
            <a:ext cx="10176095" cy="282263"/>
          </a:xfrm>
          <a:prstGeom prst="rect">
            <a:avLst/>
          </a:prstGeom>
        </p:spPr>
        <p:txBody>
          <a:bodyPr vert="horz" lIns="119472" tIns="59736" rIns="119472" bIns="59736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pPr defTabSz="597355" fontAlgn="auto">
              <a:spcBef>
                <a:spcPts val="0"/>
              </a:spcBef>
              <a:spcAft>
                <a:spcPts val="0"/>
              </a:spcAft>
            </a:pPr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4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3552" y="6371918"/>
            <a:ext cx="578105" cy="282263"/>
          </a:xfrm>
          <a:prstGeom prst="rect">
            <a:avLst/>
          </a:prstGeom>
        </p:spPr>
        <p:txBody>
          <a:bodyPr vert="horz" lIns="119472" tIns="59736" rIns="119472" bIns="59736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pPr defTabSz="597355" fontAlgn="auto">
              <a:spcBef>
                <a:spcPts val="0"/>
              </a:spcBef>
              <a:spcAft>
                <a:spcPts val="0"/>
              </a:spcAft>
            </a:pPr>
            <a:fld id="{74850952-3374-434C-8FC6-DE28F8CD25B0}" type="slidenum">
              <a:rPr lang="pt-BR" smtClean="0">
                <a:solidFill>
                  <a:srgbClr val="5F5F5F"/>
                </a:solidFill>
              </a:rPr>
              <a:pPr defTabSz="597355" fontAlgn="auto">
                <a:spcBef>
                  <a:spcPts val="0"/>
                </a:spcBef>
                <a:spcAft>
                  <a:spcPts val="0"/>
                </a:spcAft>
              </a:pPr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44" name="TextBox 43"/>
          <p:cNvSpPr txBox="1"/>
          <p:nvPr userDrawn="1"/>
        </p:nvSpPr>
        <p:spPr>
          <a:xfrm>
            <a:off x="-281816" y="7363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7355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45" name="TextBox 44"/>
          <p:cNvSpPr txBox="1"/>
          <p:nvPr userDrawn="1"/>
        </p:nvSpPr>
        <p:spPr>
          <a:xfrm>
            <a:off x="-281816" y="1855150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7355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46" name="TextBox 45"/>
          <p:cNvSpPr txBox="1"/>
          <p:nvPr userDrawn="1"/>
        </p:nvSpPr>
        <p:spPr>
          <a:xfrm>
            <a:off x="-281816" y="4207633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7355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47" name="Freeform 5"/>
          <p:cNvSpPr>
            <a:spLocks/>
          </p:cNvSpPr>
          <p:nvPr userDrawn="1"/>
        </p:nvSpPr>
        <p:spPr bwMode="auto">
          <a:xfrm>
            <a:off x="11944818" y="3078502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36" tIns="47036" rIns="47036" bIns="47036" numCol="1" anchor="t" anchorCtr="0" compatLnSpc="1">
            <a:prstTxWarp prst="textNoShape">
              <a:avLst/>
            </a:prstTxWarp>
          </a:bodyPr>
          <a:lstStyle/>
          <a:p>
            <a:pPr defTabSz="597355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7355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7355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48" name="Freeform 47"/>
          <p:cNvSpPr>
            <a:spLocks/>
          </p:cNvSpPr>
          <p:nvPr userDrawn="1"/>
        </p:nvSpPr>
        <p:spPr bwMode="auto">
          <a:xfrm>
            <a:off x="11944818" y="2513906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36" tIns="47036" rIns="47036" bIns="47036" numCol="1" anchor="t" anchorCtr="0" compatLnSpc="1">
            <a:prstTxWarp prst="textNoShape">
              <a:avLst/>
            </a:prstTxWarp>
          </a:bodyPr>
          <a:lstStyle/>
          <a:p>
            <a:pPr defTabSz="597355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7355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7355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4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49" name="Freeform 5"/>
          <p:cNvSpPr>
            <a:spLocks/>
          </p:cNvSpPr>
          <p:nvPr userDrawn="1"/>
        </p:nvSpPr>
        <p:spPr bwMode="auto">
          <a:xfrm>
            <a:off x="11944818" y="1949310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36" tIns="47036" rIns="47036" bIns="47036" numCol="1" anchor="t" anchorCtr="0" compatLnSpc="1">
            <a:prstTxWarp prst="textNoShape">
              <a:avLst/>
            </a:prstTxWarp>
          </a:bodyPr>
          <a:lstStyle/>
          <a:p>
            <a:pPr defTabSz="597355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7355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7355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9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50" name="Freeform 5"/>
          <p:cNvSpPr>
            <a:spLocks/>
          </p:cNvSpPr>
          <p:nvPr userDrawn="1"/>
        </p:nvSpPr>
        <p:spPr bwMode="auto">
          <a:xfrm>
            <a:off x="11944818" y="1384714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36" tIns="47036" rIns="47036" bIns="47036" numCol="1" anchor="t" anchorCtr="0" compatLnSpc="1">
            <a:prstTxWarp prst="textNoShape">
              <a:avLst/>
            </a:prstTxWarp>
          </a:bodyPr>
          <a:lstStyle/>
          <a:p>
            <a:pPr defTabSz="597355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7355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7355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0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51" name="Freeform 50"/>
          <p:cNvSpPr>
            <a:spLocks/>
          </p:cNvSpPr>
          <p:nvPr userDrawn="1"/>
        </p:nvSpPr>
        <p:spPr bwMode="auto">
          <a:xfrm>
            <a:off x="11944818" y="820118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36" tIns="47036" rIns="47036" bIns="47036" numCol="1" anchor="t" anchorCtr="0" compatLnSpc="1">
            <a:prstTxWarp prst="textNoShape">
              <a:avLst/>
            </a:prstTxWarp>
          </a:bodyPr>
          <a:lstStyle/>
          <a:p>
            <a:pPr defTabSz="597355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7355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7355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140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52" name="Freeform 5"/>
          <p:cNvSpPr>
            <a:spLocks/>
          </p:cNvSpPr>
          <p:nvPr userDrawn="1"/>
        </p:nvSpPr>
        <p:spPr bwMode="auto">
          <a:xfrm>
            <a:off x="11944818" y="258726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36" tIns="47036" rIns="47036" bIns="47036" numCol="1" anchor="t" anchorCtr="0" compatLnSpc="1">
            <a:prstTxWarp prst="textNoShape">
              <a:avLst/>
            </a:prstTxWarp>
          </a:bodyPr>
          <a:lstStyle/>
          <a:p>
            <a:pPr defTabSz="597355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7355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7355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53" name="Freeform 5"/>
          <p:cNvSpPr>
            <a:spLocks/>
          </p:cNvSpPr>
          <p:nvPr userDrawn="1"/>
        </p:nvSpPr>
        <p:spPr bwMode="auto">
          <a:xfrm>
            <a:off x="11944818" y="3643098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36" tIns="47036" rIns="47036" bIns="47036" numCol="1" anchor="t" anchorCtr="0" compatLnSpc="1">
            <a:prstTxWarp prst="textNoShape">
              <a:avLst/>
            </a:prstTxWarp>
          </a:bodyPr>
          <a:lstStyle/>
          <a:p>
            <a:pPr defTabSz="597355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7355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7355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54" name="Freeform 5"/>
          <p:cNvSpPr>
            <a:spLocks/>
          </p:cNvSpPr>
          <p:nvPr userDrawn="1"/>
        </p:nvSpPr>
        <p:spPr bwMode="auto">
          <a:xfrm>
            <a:off x="11949114" y="4301731"/>
            <a:ext cx="424105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472" tIns="59736" rIns="119472" bIns="59736" numCol="1" anchor="t" anchorCtr="0" compatLnSpc="1">
            <a:prstTxWarp prst="textNoShape">
              <a:avLst/>
            </a:prstTxWarp>
          </a:bodyPr>
          <a:lstStyle/>
          <a:p>
            <a:pPr defTabSz="59735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5" name="Freeform 5"/>
          <p:cNvSpPr>
            <a:spLocks/>
          </p:cNvSpPr>
          <p:nvPr userDrawn="1"/>
        </p:nvSpPr>
        <p:spPr bwMode="auto">
          <a:xfrm>
            <a:off x="11949112" y="4493138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72" tIns="59736" rIns="119472" bIns="59736" numCol="1" anchor="t" anchorCtr="0" compatLnSpc="1">
            <a:prstTxWarp prst="textNoShape">
              <a:avLst/>
            </a:prstTxWarp>
          </a:bodyPr>
          <a:lstStyle/>
          <a:p>
            <a:pPr defTabSz="59735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6" name="Freeform 5"/>
          <p:cNvSpPr>
            <a:spLocks/>
          </p:cNvSpPr>
          <p:nvPr userDrawn="1"/>
        </p:nvSpPr>
        <p:spPr bwMode="auto">
          <a:xfrm>
            <a:off x="12102362" y="4493135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72" tIns="59736" rIns="119472" bIns="59736" numCol="1" anchor="t" anchorCtr="0" compatLnSpc="1">
            <a:prstTxWarp prst="textNoShape">
              <a:avLst/>
            </a:prstTxWarp>
          </a:bodyPr>
          <a:lstStyle/>
          <a:p>
            <a:pPr defTabSz="59735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7" name="Freeform 5"/>
          <p:cNvSpPr>
            <a:spLocks/>
          </p:cNvSpPr>
          <p:nvPr userDrawn="1"/>
        </p:nvSpPr>
        <p:spPr bwMode="auto">
          <a:xfrm>
            <a:off x="12255608" y="4493134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72" tIns="59736" rIns="119472" bIns="59736" numCol="1" anchor="t" anchorCtr="0" compatLnSpc="1">
            <a:prstTxWarp prst="textNoShape">
              <a:avLst/>
            </a:prstTxWarp>
          </a:bodyPr>
          <a:lstStyle/>
          <a:p>
            <a:pPr defTabSz="59735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8" name="Freeform 5"/>
          <p:cNvSpPr>
            <a:spLocks/>
          </p:cNvSpPr>
          <p:nvPr userDrawn="1"/>
        </p:nvSpPr>
        <p:spPr bwMode="auto">
          <a:xfrm>
            <a:off x="11949114" y="4775432"/>
            <a:ext cx="424105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472" tIns="59736" rIns="119472" bIns="59736" numCol="1" anchor="t" anchorCtr="0" compatLnSpc="1">
            <a:prstTxWarp prst="textNoShape">
              <a:avLst/>
            </a:prstTxWarp>
          </a:bodyPr>
          <a:lstStyle/>
          <a:p>
            <a:pPr defTabSz="59735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9" name="Freeform 5"/>
          <p:cNvSpPr>
            <a:spLocks/>
          </p:cNvSpPr>
          <p:nvPr userDrawn="1"/>
        </p:nvSpPr>
        <p:spPr bwMode="auto">
          <a:xfrm>
            <a:off x="11949112" y="4982131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72" tIns="59736" rIns="119472" bIns="59736" numCol="1" anchor="t" anchorCtr="0" compatLnSpc="1">
            <a:prstTxWarp prst="textNoShape">
              <a:avLst/>
            </a:prstTxWarp>
          </a:bodyPr>
          <a:lstStyle/>
          <a:p>
            <a:pPr defTabSz="59735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0" name="Freeform 5"/>
          <p:cNvSpPr>
            <a:spLocks/>
          </p:cNvSpPr>
          <p:nvPr userDrawn="1"/>
        </p:nvSpPr>
        <p:spPr bwMode="auto">
          <a:xfrm>
            <a:off x="12102362" y="4982128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72" tIns="59736" rIns="119472" bIns="59736" numCol="1" anchor="t" anchorCtr="0" compatLnSpc="1">
            <a:prstTxWarp prst="textNoShape">
              <a:avLst/>
            </a:prstTxWarp>
          </a:bodyPr>
          <a:lstStyle/>
          <a:p>
            <a:pPr defTabSz="59735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1" name="Freeform 5"/>
          <p:cNvSpPr>
            <a:spLocks/>
          </p:cNvSpPr>
          <p:nvPr userDrawn="1"/>
        </p:nvSpPr>
        <p:spPr bwMode="auto">
          <a:xfrm>
            <a:off x="12255608" y="4982127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72" tIns="59736" rIns="119472" bIns="59736" numCol="1" anchor="t" anchorCtr="0" compatLnSpc="1">
            <a:prstTxWarp prst="textNoShape">
              <a:avLst/>
            </a:prstTxWarp>
          </a:bodyPr>
          <a:lstStyle/>
          <a:p>
            <a:pPr defTabSz="59735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2" name="Freeform 5"/>
          <p:cNvSpPr>
            <a:spLocks/>
          </p:cNvSpPr>
          <p:nvPr userDrawn="1"/>
        </p:nvSpPr>
        <p:spPr bwMode="auto">
          <a:xfrm>
            <a:off x="11949114" y="5245930"/>
            <a:ext cx="424105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472" tIns="59736" rIns="119472" bIns="59736" numCol="1" anchor="t" anchorCtr="0" compatLnSpc="1">
            <a:prstTxWarp prst="textNoShape">
              <a:avLst/>
            </a:prstTxWarp>
          </a:bodyPr>
          <a:lstStyle/>
          <a:p>
            <a:pPr defTabSz="59735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3" name="Freeform 5"/>
          <p:cNvSpPr>
            <a:spLocks/>
          </p:cNvSpPr>
          <p:nvPr userDrawn="1"/>
        </p:nvSpPr>
        <p:spPr bwMode="auto">
          <a:xfrm>
            <a:off x="11949112" y="5437334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72" tIns="59736" rIns="119472" bIns="59736" numCol="1" anchor="t" anchorCtr="0" compatLnSpc="1">
            <a:prstTxWarp prst="textNoShape">
              <a:avLst/>
            </a:prstTxWarp>
          </a:bodyPr>
          <a:lstStyle/>
          <a:p>
            <a:pPr defTabSz="59735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4" name="Freeform 5"/>
          <p:cNvSpPr>
            <a:spLocks/>
          </p:cNvSpPr>
          <p:nvPr userDrawn="1"/>
        </p:nvSpPr>
        <p:spPr bwMode="auto">
          <a:xfrm>
            <a:off x="12102362" y="5437333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72" tIns="59736" rIns="119472" bIns="59736" numCol="1" anchor="t" anchorCtr="0" compatLnSpc="1">
            <a:prstTxWarp prst="textNoShape">
              <a:avLst/>
            </a:prstTxWarp>
          </a:bodyPr>
          <a:lstStyle/>
          <a:p>
            <a:pPr defTabSz="59735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5" name="Freeform 5"/>
          <p:cNvSpPr>
            <a:spLocks/>
          </p:cNvSpPr>
          <p:nvPr userDrawn="1"/>
        </p:nvSpPr>
        <p:spPr bwMode="auto">
          <a:xfrm>
            <a:off x="12255608" y="5437333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72" tIns="59736" rIns="119472" bIns="59736" numCol="1" anchor="t" anchorCtr="0" compatLnSpc="1">
            <a:prstTxWarp prst="textNoShape">
              <a:avLst/>
            </a:prstTxWarp>
          </a:bodyPr>
          <a:lstStyle/>
          <a:p>
            <a:pPr defTabSz="59735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6" name="TextBox 39"/>
          <p:cNvSpPr txBox="1"/>
          <p:nvPr userDrawn="1"/>
        </p:nvSpPr>
        <p:spPr>
          <a:xfrm>
            <a:off x="11949112" y="5619122"/>
            <a:ext cx="621766" cy="86593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7355" fontAlgn="auto">
              <a:spcBef>
                <a:spcPts val="1045"/>
              </a:spcBef>
              <a:spcAft>
                <a:spcPts val="0"/>
              </a:spcAft>
            </a:pPr>
            <a:r>
              <a:rPr lang="en-US" sz="9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9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9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9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9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9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9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9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9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9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</a:p>
        </p:txBody>
      </p:sp>
      <p:sp>
        <p:nvSpPr>
          <p:cNvPr id="68" name="Freeform 5"/>
          <p:cNvSpPr>
            <a:spLocks/>
          </p:cNvSpPr>
          <p:nvPr userDrawn="1"/>
        </p:nvSpPr>
        <p:spPr bwMode="auto">
          <a:xfrm>
            <a:off x="12411753" y="25872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BD78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72" tIns="59736" rIns="119472" bIns="59736" numCol="1" anchor="t" anchorCtr="0" compatLnSpc="1">
            <a:prstTxWarp prst="textNoShape">
              <a:avLst/>
            </a:prstTxWarp>
          </a:bodyPr>
          <a:lstStyle/>
          <a:p>
            <a:pPr defTabSz="59735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9" name="Freeform 5"/>
          <p:cNvSpPr>
            <a:spLocks/>
          </p:cNvSpPr>
          <p:nvPr userDrawn="1"/>
        </p:nvSpPr>
        <p:spPr bwMode="auto">
          <a:xfrm>
            <a:off x="12411753" y="537757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7A23C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72" tIns="59736" rIns="119472" bIns="59736" numCol="1" anchor="t" anchorCtr="0" compatLnSpc="1">
            <a:prstTxWarp prst="textNoShape">
              <a:avLst/>
            </a:prstTxWarp>
          </a:bodyPr>
          <a:lstStyle/>
          <a:p>
            <a:pPr defTabSz="59735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0" name="Freeform 5"/>
          <p:cNvSpPr>
            <a:spLocks/>
          </p:cNvSpPr>
          <p:nvPr userDrawn="1"/>
        </p:nvSpPr>
        <p:spPr bwMode="auto">
          <a:xfrm>
            <a:off x="12411753" y="86222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86DB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72" tIns="59736" rIns="119472" bIns="59736" numCol="1" anchor="t" anchorCtr="0" compatLnSpc="1">
            <a:prstTxWarp prst="textNoShape">
              <a:avLst/>
            </a:prstTxWarp>
          </a:bodyPr>
          <a:lstStyle/>
          <a:p>
            <a:pPr defTabSz="59735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1" name="Freeform 5"/>
          <p:cNvSpPr>
            <a:spLocks/>
          </p:cNvSpPr>
          <p:nvPr userDrawn="1"/>
        </p:nvSpPr>
        <p:spPr bwMode="auto">
          <a:xfrm>
            <a:off x="12411753" y="113250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B51F7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72" tIns="59736" rIns="119472" bIns="59736" numCol="1" anchor="t" anchorCtr="0" compatLnSpc="1">
            <a:prstTxWarp prst="textNoShape">
              <a:avLst/>
            </a:prstTxWarp>
          </a:bodyPr>
          <a:lstStyle/>
          <a:p>
            <a:pPr defTabSz="59735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2" name="Freeform 71"/>
          <p:cNvSpPr>
            <a:spLocks/>
          </p:cNvSpPr>
          <p:nvPr userDrawn="1"/>
        </p:nvSpPr>
        <p:spPr bwMode="auto">
          <a:xfrm>
            <a:off x="12411753" y="144158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95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72" tIns="59736" rIns="119472" bIns="59736" numCol="1" anchor="t" anchorCtr="0" compatLnSpc="1">
            <a:prstTxWarp prst="textNoShape">
              <a:avLst/>
            </a:prstTxWarp>
          </a:bodyPr>
          <a:lstStyle/>
          <a:p>
            <a:pPr defTabSz="59735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3" name="Freeform 5"/>
          <p:cNvSpPr>
            <a:spLocks/>
          </p:cNvSpPr>
          <p:nvPr userDrawn="1"/>
        </p:nvSpPr>
        <p:spPr bwMode="auto">
          <a:xfrm>
            <a:off x="12411753" y="171186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CC52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72" tIns="59736" rIns="119472" bIns="59736" numCol="1" anchor="t" anchorCtr="0" compatLnSpc="1">
            <a:prstTxWarp prst="textNoShape">
              <a:avLst/>
            </a:prstTxWarp>
          </a:bodyPr>
          <a:lstStyle/>
          <a:p>
            <a:pPr defTabSz="59735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4" name="Freeform 5"/>
          <p:cNvSpPr>
            <a:spLocks/>
          </p:cNvSpPr>
          <p:nvPr userDrawn="1"/>
        </p:nvSpPr>
        <p:spPr bwMode="auto">
          <a:xfrm>
            <a:off x="12411753" y="200887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C8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72" tIns="59736" rIns="119472" bIns="59736" numCol="1" anchor="t" anchorCtr="0" compatLnSpc="1">
            <a:prstTxWarp prst="textNoShape">
              <a:avLst/>
            </a:prstTxWarp>
          </a:bodyPr>
          <a:lstStyle/>
          <a:p>
            <a:pPr defTabSz="59735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5" name="Freeform 5"/>
          <p:cNvSpPr>
            <a:spLocks/>
          </p:cNvSpPr>
          <p:nvPr userDrawn="1"/>
        </p:nvSpPr>
        <p:spPr bwMode="auto">
          <a:xfrm>
            <a:off x="12411753" y="227915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CCC6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72" tIns="59736" rIns="119472" bIns="59736" numCol="1" anchor="t" anchorCtr="0" compatLnSpc="1">
            <a:prstTxWarp prst="textNoShape">
              <a:avLst/>
            </a:prstTxWarp>
          </a:bodyPr>
          <a:lstStyle/>
          <a:p>
            <a:pPr defTabSz="59735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6" name="Freeform 5"/>
          <p:cNvSpPr>
            <a:spLocks/>
          </p:cNvSpPr>
          <p:nvPr userDrawn="1"/>
        </p:nvSpPr>
        <p:spPr bwMode="auto">
          <a:xfrm>
            <a:off x="12411753" y="256409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69D17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72" tIns="59736" rIns="119472" bIns="59736" numCol="1" anchor="t" anchorCtr="0" compatLnSpc="1">
            <a:prstTxWarp prst="textNoShape">
              <a:avLst/>
            </a:prstTxWarp>
          </a:bodyPr>
          <a:lstStyle/>
          <a:p>
            <a:pPr defTabSz="59735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7" name="Freeform 5"/>
          <p:cNvSpPr>
            <a:spLocks/>
          </p:cNvSpPr>
          <p:nvPr userDrawn="1"/>
        </p:nvSpPr>
        <p:spPr bwMode="auto">
          <a:xfrm>
            <a:off x="12411753" y="283437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9E0B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72" tIns="59736" rIns="119472" bIns="59736" numCol="1" anchor="t" anchorCtr="0" compatLnSpc="1">
            <a:prstTxWarp prst="textNoShape">
              <a:avLst/>
            </a:prstTxWarp>
          </a:bodyPr>
          <a:lstStyle/>
          <a:p>
            <a:pPr defTabSz="59735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8" name="Freeform 5"/>
          <p:cNvSpPr>
            <a:spLocks/>
          </p:cNvSpPr>
          <p:nvPr userDrawn="1"/>
        </p:nvSpPr>
        <p:spPr bwMode="auto">
          <a:xfrm>
            <a:off x="12411753" y="3155524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E6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72" tIns="59736" rIns="119472" bIns="59736" numCol="1" anchor="t" anchorCtr="0" compatLnSpc="1">
            <a:prstTxWarp prst="textNoShape">
              <a:avLst/>
            </a:prstTxWarp>
          </a:bodyPr>
          <a:lstStyle/>
          <a:p>
            <a:pPr defTabSz="59735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9" name="Freeform 5"/>
          <p:cNvSpPr>
            <a:spLocks/>
          </p:cNvSpPr>
          <p:nvPr userDrawn="1"/>
        </p:nvSpPr>
        <p:spPr bwMode="auto">
          <a:xfrm>
            <a:off x="12411753" y="342580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AFC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72" tIns="59736" rIns="119472" bIns="59736" numCol="1" anchor="t" anchorCtr="0" compatLnSpc="1">
            <a:prstTxWarp prst="textNoShape">
              <a:avLst/>
            </a:prstTxWarp>
          </a:bodyPr>
          <a:lstStyle/>
          <a:p>
            <a:pPr defTabSz="59735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80" name="Freeform 5"/>
          <p:cNvSpPr>
            <a:spLocks/>
          </p:cNvSpPr>
          <p:nvPr userDrawn="1"/>
        </p:nvSpPr>
        <p:spPr bwMode="auto">
          <a:xfrm>
            <a:off x="12411753" y="3734884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DEDEDE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72" tIns="59736" rIns="119472" bIns="59736" numCol="1" anchor="t" anchorCtr="0" compatLnSpc="1">
            <a:prstTxWarp prst="textNoShape">
              <a:avLst/>
            </a:prstTxWarp>
          </a:bodyPr>
          <a:lstStyle/>
          <a:p>
            <a:pPr defTabSz="59735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81" name="Freeform 5"/>
          <p:cNvSpPr>
            <a:spLocks/>
          </p:cNvSpPr>
          <p:nvPr userDrawn="1"/>
        </p:nvSpPr>
        <p:spPr bwMode="auto">
          <a:xfrm>
            <a:off x="12411753" y="400516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9C9C9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72" tIns="59736" rIns="119472" bIns="59736" numCol="1" anchor="t" anchorCtr="0" compatLnSpc="1">
            <a:prstTxWarp prst="textNoShape">
              <a:avLst/>
            </a:prstTxWarp>
          </a:bodyPr>
          <a:lstStyle/>
          <a:p>
            <a:pPr defTabSz="59735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1396674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317" r:id="rId1"/>
    <p:sldLayoutId id="2147486318" r:id="rId2"/>
    <p:sldLayoutId id="2147486319" r:id="rId3"/>
    <p:sldLayoutId id="2147486320" r:id="rId4"/>
    <p:sldLayoutId id="2147486321" r:id="rId5"/>
    <p:sldLayoutId id="2147486322" r:id="rId6"/>
    <p:sldLayoutId id="2147486323" r:id="rId7"/>
    <p:sldLayoutId id="2147486324" r:id="rId8"/>
    <p:sldLayoutId id="2147486325" r:id="rId9"/>
    <p:sldLayoutId id="2147486326" r:id="rId10"/>
    <p:sldLayoutId id="2147486327" r:id="rId11"/>
    <p:sldLayoutId id="2147486328" r:id="rId12"/>
    <p:sldLayoutId id="2147486329" r:id="rId13"/>
    <p:sldLayoutId id="2147486330" r:id="rId14"/>
  </p:sldLayoutIdLst>
  <p:timing>
    <p:tnLst>
      <p:par>
        <p:cTn id="1" dur="indefinite" restart="never" nodeType="tmRoot"/>
      </p:par>
    </p:tnLst>
  </p:timing>
  <p:hf hdr="0" dt="0"/>
  <p:txStyles>
    <p:titleStyle>
      <a:lvl1pPr algn="l" defTabSz="597355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2700" b="0" i="0" kern="1200" noProof="0">
          <a:solidFill>
            <a:schemeClr val="accent5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40601" indent="-240601" algn="l" defTabSz="597355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7055" indent="-230231" algn="l" defTabSz="597355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7055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7285" indent="-230231" algn="l" defTabSz="597355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7285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7517" indent="-230231" algn="l" defTabSz="597355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7517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7748" indent="-230231" algn="l" defTabSz="597355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7748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85457" indent="-298678" algn="l" defTabSz="597355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82812" indent="-298678" algn="l" defTabSz="597355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80167" indent="-298678" algn="l" defTabSz="597355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77524" indent="-298678" algn="l" defTabSz="597355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735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7355" algn="l" defTabSz="59735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94711" algn="l" defTabSz="59735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92067" algn="l" defTabSz="59735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89422" algn="l" defTabSz="59735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86778" algn="l" defTabSz="59735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84133" algn="l" defTabSz="59735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81490" algn="l" defTabSz="59735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78845" algn="l" defTabSz="59735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22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4200893188"/>
              </p:ext>
            </p:extLst>
          </p:nvPr>
        </p:nvGraphicFramePr>
        <p:xfrm>
          <a:off x="0" y="2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87838" name="Slide do think-cell" r:id="rId14" imgW="0" imgH="0" progId="TCLayout.ActiveDocument.1">
                  <p:embed/>
                </p:oleObj>
              </mc:Choice>
              <mc:Fallback>
                <p:oleObj name="Slide do think-cell" r:id="rId14" imgW="0" imgH="0" progId="TCLayout.ActiveDocument.1">
                  <p:embed/>
                  <p:pic>
                    <p:nvPicPr>
                      <p:cNvPr id="0" name="AutoShape 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2"/>
                        <a:ext cx="211676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10776431" y="36518"/>
            <a:ext cx="876339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191"/>
            <a:endParaRPr lang="pt-BR" sz="8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10519874" y="1932900"/>
            <a:ext cx="267220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10682583" y="4106726"/>
            <a:ext cx="234679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936841" y="1951038"/>
            <a:ext cx="5736421" cy="11060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ext styles</a:t>
            </a:r>
          </a:p>
          <a:p>
            <a:pPr lvl="1"/>
            <a:r>
              <a:rPr lang="pt-BR" noProof="0" smtClean="0"/>
              <a:t>Second level</a:t>
            </a:r>
          </a:p>
          <a:p>
            <a:pPr lvl="2"/>
            <a:r>
              <a:rPr lang="pt-BR" noProof="0" smtClean="0"/>
              <a:t>Third level</a:t>
            </a:r>
          </a:p>
          <a:p>
            <a:pPr lvl="3"/>
            <a:r>
              <a:rPr lang="pt-BR" noProof="0" smtClean="0"/>
              <a:t>Fourth level</a:t>
            </a:r>
          </a:p>
          <a:p>
            <a:pPr lvl="4"/>
            <a:r>
              <a:rPr lang="pt-BR" noProof="0" smtClean="0"/>
              <a:t>Fifth level</a:t>
            </a:r>
            <a:endParaRPr lang="pt-BR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211676" y="230189"/>
            <a:ext cx="10530036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58760" y="26991"/>
            <a:ext cx="886083" cy="2212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pt-BR" sz="1400" smtClean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TRACKER</a:t>
            </a:r>
            <a:endParaRPr lang="pt-BR" sz="1400" dirty="0">
              <a:solidFill>
                <a:srgbClr val="80808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58782" y="621826"/>
            <a:ext cx="11491891" cy="281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pt-BR" sz="1800" smtClean="0">
                <a:solidFill>
                  <a:srgbClr val="D5E7FF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Unit of measure</a:t>
            </a:r>
            <a:endParaRPr lang="pt-BR" sz="1800" dirty="0" smtClean="0">
              <a:solidFill>
                <a:srgbClr val="D5E7FF">
                  <a:lumMod val="75000"/>
                </a:srgbClr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158758" y="6266497"/>
            <a:ext cx="11398753" cy="358776"/>
            <a:chOff x="75" y="3877"/>
            <a:chExt cx="5385" cy="226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877"/>
              <a:ext cx="5385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pt-BR" sz="100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1 Footnote</a:t>
              </a:r>
              <a:endParaRPr lang="pt-BR" sz="1000" dirty="0" smtClean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06"/>
              <a:ext cx="4323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t" anchorCtr="0">
              <a:spAutoFit/>
            </a:bodyPr>
            <a:lstStyle/>
            <a:p>
              <a:pPr marL="609493" indent="-609493" defTabSz="895191">
                <a:tabLst>
                  <a:tab pos="612667" algn="l"/>
                </a:tabLst>
              </a:pPr>
              <a:r>
                <a:rPr lang="pt-BR" sz="1000" dirty="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FONTE: </a:t>
              </a:r>
              <a:r>
                <a:rPr lang="pt-BR" sz="1000" dirty="0" err="1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ource</a:t>
              </a:r>
              <a:endParaRPr lang="pt-BR" sz="1000" dirty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936840" y="1123953"/>
            <a:ext cx="5685618" cy="511174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 hidden="1"/>
            <p:cNvSpPr>
              <a:spLocks noChangeArrowheads="1"/>
            </p:cNvSpPr>
            <p:nvPr/>
          </p:nvSpPr>
          <p:spPr bwMode="auto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pt-BR" b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itle</a:t>
              </a:r>
            </a:p>
            <a:p>
              <a:r>
                <a:rPr lang="pt-BR" smtClean="0">
                  <a:solidFill>
                    <a:srgbClr val="80808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Unit of measure</a:t>
              </a:r>
              <a:endParaRPr lang="pt-BR" dirty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sp>
        <p:nvSpPr>
          <p:cNvPr id="23" name="Footer Placeholder 2"/>
          <p:cNvSpPr txBox="1">
            <a:spLocks/>
          </p:cNvSpPr>
          <p:nvPr/>
        </p:nvSpPr>
        <p:spPr>
          <a:xfrm>
            <a:off x="9546286" y="6434241"/>
            <a:ext cx="1732846" cy="153888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defPPr>
              <a:defRPr lang="en-US"/>
            </a:defPPr>
            <a:lvl1pPr marL="0" algn="l" defTabSz="457200" rtl="0" eaLnBrk="0" latinLnBrk="0" hangingPunct="0">
              <a:defRPr sz="1800" kern="1200">
                <a:solidFill>
                  <a:schemeClr val="tx1"/>
                </a:solidFill>
                <a:latin typeface="Calibri" charset="0"/>
                <a:ea typeface="ＭＳ Ｐゴシック" charset="0"/>
                <a:cs typeface="Arial" charset="0"/>
              </a:defRPr>
            </a:lvl1pPr>
            <a:lvl2pPr marL="742950" indent="-285750" algn="l" defTabSz="457200" rtl="0" eaLnBrk="0" latinLnBrk="0" hangingPunct="0"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2pPr>
            <a:lvl3pPr marL="1143000" indent="-228600" algn="l" defTabSz="457200" rtl="0" eaLnBrk="0" latinLnBrk="0" hangingPunct="0"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3pPr>
            <a:lvl4pPr marL="1600200" indent="-228600" algn="l" defTabSz="457200" rtl="0" eaLnBrk="0" latinLnBrk="0" hangingPunct="0"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4pPr>
            <a:lvl5pPr marL="2057400" indent="-228600" algn="l" defTabSz="457200" rtl="0" eaLnBrk="0" latinLnBrk="0" hangingPunct="0"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5pPr>
            <a:lvl6pPr marL="2514600" indent="-228600" algn="l" defTabSz="4572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6pPr>
            <a:lvl7pPr marL="2971800" indent="-228600" algn="l" defTabSz="4572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7pPr>
            <a:lvl8pPr marL="3429000" indent="-228600" algn="l" defTabSz="4572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8pPr>
            <a:lvl9pPr marL="3886200" indent="-228600" algn="l" defTabSz="4572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9pPr>
          </a:lstStyle>
          <a:p>
            <a:pPr algn="r" eaLnBrk="1" hangingPunct="1"/>
            <a:r>
              <a:rPr lang="pt-BR" sz="1000" smtClean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MATERIAL CONFIDENCIAL  |</a:t>
            </a:r>
            <a:endParaRPr lang="pt-BR" sz="1000" dirty="0">
              <a:solidFill>
                <a:srgbClr val="4D4D4D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28" name="Group 27"/>
          <p:cNvGrpSpPr/>
          <p:nvPr userDrawn="1"/>
        </p:nvGrpSpPr>
        <p:grpSpPr>
          <a:xfrm>
            <a:off x="11335740" y="60963"/>
            <a:ext cx="613376" cy="655256"/>
            <a:chOff x="5526523" y="2325890"/>
            <a:chExt cx="3423032" cy="3656747"/>
          </a:xfrm>
        </p:grpSpPr>
        <p:sp>
          <p:nvSpPr>
            <p:cNvPr id="29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30" name="Group 29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31" name="Donut 30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2" name="Oval 31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3" name="Oval 32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  <p:sp>
        <p:nvSpPr>
          <p:cNvPr id="24" name="Slide Number"/>
          <p:cNvSpPr txBox="1">
            <a:spLocks/>
          </p:cNvSpPr>
          <p:nvPr userDrawn="1"/>
        </p:nvSpPr>
        <p:spPr>
          <a:xfrm>
            <a:off x="11394525" y="6426673"/>
            <a:ext cx="278354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pt-BR" smtClean="0">
                <a:solidFill>
                  <a:srgbClr val="000000"/>
                </a:solidFill>
                <a:cs typeface="Arial" panose="020B0604020202020204" pitchFamily="34" charset="0"/>
                <a:sym typeface="Arial" panose="020B0604020202020204" pitchFamily="34" charset="0"/>
              </a:rPr>
              <a:pPr/>
              <a:t>‹nº›</a:t>
            </a:fld>
            <a:endParaRPr lang="pt-BR" dirty="0">
              <a:solidFill>
                <a:srgbClr val="000000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4482905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335" r:id="rId1"/>
    <p:sldLayoutId id="2147486336" r:id="rId2"/>
    <p:sldLayoutId id="2147486337" r:id="rId3"/>
    <p:sldLayoutId id="2147486338" r:id="rId4"/>
    <p:sldLayoutId id="2147486339" r:id="rId5"/>
    <p:sldLayoutId id="2147486340" r:id="rId6"/>
    <p:sldLayoutId id="2147486341" r:id="rId7"/>
    <p:sldLayoutId id="2147486342" r:id="rId8"/>
    <p:sldLayoutId id="2147486343" r:id="rId9"/>
    <p:sldLayoutId id="2147486344" r:id="rId10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895191" rtl="0" eaLnBrk="1" fontAlgn="base" hangingPunct="1">
        <a:spcBef>
          <a:spcPct val="0"/>
        </a:spcBef>
        <a:spcAft>
          <a:spcPct val="0"/>
        </a:spcAft>
        <a:tabLst>
          <a:tab pos="269827" algn="l"/>
        </a:tabLst>
        <a:defRPr lang="en-US" sz="2000" b="1" baseline="0" noProof="0" dirty="0" smtClean="0">
          <a:solidFill>
            <a:schemeClr val="accent4"/>
          </a:solidFill>
          <a:latin typeface="Arial" panose="020B0604020202020204" pitchFamily="34" charset="0"/>
          <a:ea typeface="+mj-ea"/>
          <a:cs typeface="Arial" panose="020B0604020202020204" pitchFamily="34" charset="0"/>
          <a:sym typeface="Arial" panose="020B0604020202020204" pitchFamily="34" charset="0"/>
        </a:defRPr>
      </a:lvl1pPr>
      <a:lvl2pPr algn="l" defTabSz="895191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2pPr>
      <a:lvl3pPr algn="l" defTabSz="895191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3pPr>
      <a:lvl4pPr algn="l" defTabSz="895191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4pPr>
      <a:lvl5pPr algn="l" defTabSz="895191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5pPr>
      <a:lvl6pPr marL="457119" algn="l" defTabSz="895191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6pPr>
      <a:lvl7pPr marL="914238" algn="l" defTabSz="895191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7pPr>
      <a:lvl8pPr marL="1371357" algn="l" defTabSz="895191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8pPr>
      <a:lvl9pPr marL="1828478" algn="l" defTabSz="895191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191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400" baseline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1pPr>
      <a:lvl2pPr marL="193641" indent="-193641" algn="l" defTabSz="895191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15000"/>
        <a:buFont typeface="Simplon BP Regular" pitchFamily="2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2pPr>
      <a:lvl3pPr marL="457119" indent="-261891" algn="l" defTabSz="895191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charset="0"/>
        <a:buChar char="–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3pPr>
      <a:lvl4pPr marL="614255" indent="-155547" algn="l" defTabSz="895191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pitchFamily="34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4pPr>
      <a:lvl5pPr marL="749676" indent="-130153" algn="l" defTabSz="895191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89000"/>
        <a:buFont typeface="Arial" charset="0"/>
        <a:buChar char="-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5pPr>
      <a:lvl6pPr marL="749676" indent="-130153" algn="l" defTabSz="89519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9676" indent="-130153" algn="l" defTabSz="89519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9676" indent="-130153" algn="l" defTabSz="89519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9676" indent="-130153" algn="l" defTabSz="89519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23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19" algn="l" defTabSz="91423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38" algn="l" defTabSz="91423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357" algn="l" defTabSz="91423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478" algn="l" defTabSz="91423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596" algn="l" defTabSz="91423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715" algn="l" defTabSz="91423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837" algn="l" defTabSz="91423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957" algn="l" defTabSz="91423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3062387694"/>
              </p:ext>
            </p:extLst>
          </p:nvPr>
        </p:nvGraphicFramePr>
        <p:xfrm>
          <a:off x="2077" y="2077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13370" name="Slide do think-cell" r:id="rId15" imgW="0" imgH="0" progId="TCLayout.ActiveDocument.1">
                  <p:embed/>
                </p:oleObj>
              </mc:Choice>
              <mc:Fallback>
                <p:oleObj name="Slide do think-cell" r:id="rId15" imgW="0" imgH="0" progId="TCLayout.ActiveDocument.1">
                  <p:embed/>
                  <p:pic>
                    <p:nvPicPr>
                      <p:cNvPr id="0" name="AutoShape 60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77" y="2077"/>
                        <a:ext cx="2074" cy="20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82" y="1854686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2037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44" name="TextBox 43"/>
          <p:cNvSpPr txBox="1"/>
          <p:nvPr userDrawn="1"/>
        </p:nvSpPr>
        <p:spPr>
          <a:xfrm>
            <a:off x="-281813" y="7363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45" name="TextBox 44"/>
          <p:cNvSpPr txBox="1"/>
          <p:nvPr userDrawn="1"/>
        </p:nvSpPr>
        <p:spPr>
          <a:xfrm>
            <a:off x="-281813" y="1855207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46" name="TextBox 45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47" name="Freeform 5"/>
          <p:cNvSpPr>
            <a:spLocks/>
          </p:cNvSpPr>
          <p:nvPr userDrawn="1"/>
        </p:nvSpPr>
        <p:spPr bwMode="auto">
          <a:xfrm>
            <a:off x="11944818" y="3078502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06" tIns="46806" rIns="46806" bIns="4680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48" name="Freeform 47"/>
          <p:cNvSpPr>
            <a:spLocks/>
          </p:cNvSpPr>
          <p:nvPr userDrawn="1"/>
        </p:nvSpPr>
        <p:spPr bwMode="auto">
          <a:xfrm>
            <a:off x="11944818" y="2513906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06" tIns="46806" rIns="46806" bIns="4680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4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49" name="Freeform 5"/>
          <p:cNvSpPr>
            <a:spLocks/>
          </p:cNvSpPr>
          <p:nvPr userDrawn="1"/>
        </p:nvSpPr>
        <p:spPr bwMode="auto">
          <a:xfrm>
            <a:off x="11944818" y="1949310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06" tIns="46806" rIns="46806" bIns="4680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9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50" name="Freeform 5"/>
          <p:cNvSpPr>
            <a:spLocks/>
          </p:cNvSpPr>
          <p:nvPr userDrawn="1"/>
        </p:nvSpPr>
        <p:spPr bwMode="auto">
          <a:xfrm>
            <a:off x="11944818" y="1384714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06" tIns="46806" rIns="46806" bIns="4680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0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51" name="Freeform 50"/>
          <p:cNvSpPr>
            <a:spLocks/>
          </p:cNvSpPr>
          <p:nvPr userDrawn="1"/>
        </p:nvSpPr>
        <p:spPr bwMode="auto">
          <a:xfrm>
            <a:off x="11944818" y="820118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06" tIns="46806" rIns="46806" bIns="4680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140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52" name="Freeform 5"/>
          <p:cNvSpPr>
            <a:spLocks/>
          </p:cNvSpPr>
          <p:nvPr userDrawn="1"/>
        </p:nvSpPr>
        <p:spPr bwMode="auto">
          <a:xfrm>
            <a:off x="11944818" y="258729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06" tIns="46806" rIns="46806" bIns="4680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437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437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53" name="Freeform 5"/>
          <p:cNvSpPr>
            <a:spLocks/>
          </p:cNvSpPr>
          <p:nvPr userDrawn="1"/>
        </p:nvSpPr>
        <p:spPr bwMode="auto">
          <a:xfrm>
            <a:off x="11944818" y="3643098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06" tIns="46806" rIns="46806" bIns="4680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54" name="Freeform 5"/>
          <p:cNvSpPr>
            <a:spLocks/>
          </p:cNvSpPr>
          <p:nvPr userDrawn="1"/>
        </p:nvSpPr>
        <p:spPr bwMode="auto">
          <a:xfrm>
            <a:off x="11949114" y="4301731"/>
            <a:ext cx="424105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5" name="Freeform 5"/>
          <p:cNvSpPr>
            <a:spLocks/>
          </p:cNvSpPr>
          <p:nvPr userDrawn="1"/>
        </p:nvSpPr>
        <p:spPr bwMode="auto">
          <a:xfrm>
            <a:off x="11949112" y="4493139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6" name="Freeform 5"/>
          <p:cNvSpPr>
            <a:spLocks/>
          </p:cNvSpPr>
          <p:nvPr userDrawn="1"/>
        </p:nvSpPr>
        <p:spPr bwMode="auto">
          <a:xfrm>
            <a:off x="12102362" y="4493138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7" name="Freeform 5"/>
          <p:cNvSpPr>
            <a:spLocks/>
          </p:cNvSpPr>
          <p:nvPr userDrawn="1"/>
        </p:nvSpPr>
        <p:spPr bwMode="auto">
          <a:xfrm>
            <a:off x="12255608" y="4493135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8" name="Freeform 5"/>
          <p:cNvSpPr>
            <a:spLocks/>
          </p:cNvSpPr>
          <p:nvPr userDrawn="1"/>
        </p:nvSpPr>
        <p:spPr bwMode="auto">
          <a:xfrm>
            <a:off x="11949114" y="4775433"/>
            <a:ext cx="424105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9" name="Freeform 5"/>
          <p:cNvSpPr>
            <a:spLocks/>
          </p:cNvSpPr>
          <p:nvPr userDrawn="1"/>
        </p:nvSpPr>
        <p:spPr bwMode="auto">
          <a:xfrm>
            <a:off x="11949112" y="4982131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0" name="Freeform 5"/>
          <p:cNvSpPr>
            <a:spLocks/>
          </p:cNvSpPr>
          <p:nvPr userDrawn="1"/>
        </p:nvSpPr>
        <p:spPr bwMode="auto">
          <a:xfrm>
            <a:off x="12102362" y="4982128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1" name="Freeform 5"/>
          <p:cNvSpPr>
            <a:spLocks/>
          </p:cNvSpPr>
          <p:nvPr userDrawn="1"/>
        </p:nvSpPr>
        <p:spPr bwMode="auto">
          <a:xfrm>
            <a:off x="12255608" y="4982127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2" name="Freeform 5"/>
          <p:cNvSpPr>
            <a:spLocks/>
          </p:cNvSpPr>
          <p:nvPr userDrawn="1"/>
        </p:nvSpPr>
        <p:spPr bwMode="auto">
          <a:xfrm>
            <a:off x="11949114" y="5245930"/>
            <a:ext cx="424105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3" name="Freeform 5"/>
          <p:cNvSpPr>
            <a:spLocks/>
          </p:cNvSpPr>
          <p:nvPr userDrawn="1"/>
        </p:nvSpPr>
        <p:spPr bwMode="auto">
          <a:xfrm>
            <a:off x="11949112" y="5437334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4" name="Freeform 5"/>
          <p:cNvSpPr>
            <a:spLocks/>
          </p:cNvSpPr>
          <p:nvPr userDrawn="1"/>
        </p:nvSpPr>
        <p:spPr bwMode="auto">
          <a:xfrm>
            <a:off x="12102362" y="5437333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5" name="Freeform 5"/>
          <p:cNvSpPr>
            <a:spLocks/>
          </p:cNvSpPr>
          <p:nvPr userDrawn="1"/>
        </p:nvSpPr>
        <p:spPr bwMode="auto">
          <a:xfrm>
            <a:off x="12255608" y="5437333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6" name="TextBox 39"/>
          <p:cNvSpPr txBox="1"/>
          <p:nvPr userDrawn="1"/>
        </p:nvSpPr>
        <p:spPr>
          <a:xfrm>
            <a:off x="11949113" y="5619122"/>
            <a:ext cx="621766" cy="86593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4377" fontAlgn="auto">
              <a:spcBef>
                <a:spcPts val="1045"/>
              </a:spcBef>
              <a:spcAft>
                <a:spcPts val="0"/>
              </a:spcAft>
            </a:pPr>
            <a:r>
              <a:rPr lang="en-US" sz="9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9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9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9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9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9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9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9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9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9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</a:p>
        </p:txBody>
      </p:sp>
      <p:sp>
        <p:nvSpPr>
          <p:cNvPr id="68" name="Freeform 5"/>
          <p:cNvSpPr>
            <a:spLocks/>
          </p:cNvSpPr>
          <p:nvPr userDrawn="1"/>
        </p:nvSpPr>
        <p:spPr bwMode="auto">
          <a:xfrm>
            <a:off x="12411753" y="25872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BD78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9" name="Freeform 5"/>
          <p:cNvSpPr>
            <a:spLocks/>
          </p:cNvSpPr>
          <p:nvPr userDrawn="1"/>
        </p:nvSpPr>
        <p:spPr bwMode="auto">
          <a:xfrm>
            <a:off x="12411753" y="537757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7A23C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0" name="Freeform 5"/>
          <p:cNvSpPr>
            <a:spLocks/>
          </p:cNvSpPr>
          <p:nvPr userDrawn="1"/>
        </p:nvSpPr>
        <p:spPr bwMode="auto">
          <a:xfrm>
            <a:off x="12411753" y="86222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86DB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1" name="Freeform 5"/>
          <p:cNvSpPr>
            <a:spLocks/>
          </p:cNvSpPr>
          <p:nvPr userDrawn="1"/>
        </p:nvSpPr>
        <p:spPr bwMode="auto">
          <a:xfrm>
            <a:off x="12411753" y="113250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B51F7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2" name="Freeform 71"/>
          <p:cNvSpPr>
            <a:spLocks/>
          </p:cNvSpPr>
          <p:nvPr userDrawn="1"/>
        </p:nvSpPr>
        <p:spPr bwMode="auto">
          <a:xfrm>
            <a:off x="12411753" y="144158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95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3" name="Freeform 5"/>
          <p:cNvSpPr>
            <a:spLocks/>
          </p:cNvSpPr>
          <p:nvPr userDrawn="1"/>
        </p:nvSpPr>
        <p:spPr bwMode="auto">
          <a:xfrm>
            <a:off x="12411753" y="171186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CC52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4" name="Freeform 5"/>
          <p:cNvSpPr>
            <a:spLocks/>
          </p:cNvSpPr>
          <p:nvPr userDrawn="1"/>
        </p:nvSpPr>
        <p:spPr bwMode="auto">
          <a:xfrm>
            <a:off x="12411753" y="200887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C8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5" name="Freeform 5"/>
          <p:cNvSpPr>
            <a:spLocks/>
          </p:cNvSpPr>
          <p:nvPr userDrawn="1"/>
        </p:nvSpPr>
        <p:spPr bwMode="auto">
          <a:xfrm>
            <a:off x="12411753" y="227915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CCC6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6" name="Freeform 5"/>
          <p:cNvSpPr>
            <a:spLocks/>
          </p:cNvSpPr>
          <p:nvPr userDrawn="1"/>
        </p:nvSpPr>
        <p:spPr bwMode="auto">
          <a:xfrm>
            <a:off x="12411753" y="256409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69D17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7" name="Freeform 5"/>
          <p:cNvSpPr>
            <a:spLocks/>
          </p:cNvSpPr>
          <p:nvPr userDrawn="1"/>
        </p:nvSpPr>
        <p:spPr bwMode="auto">
          <a:xfrm>
            <a:off x="12411753" y="283437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9E0B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8" name="Freeform 5"/>
          <p:cNvSpPr>
            <a:spLocks/>
          </p:cNvSpPr>
          <p:nvPr userDrawn="1"/>
        </p:nvSpPr>
        <p:spPr bwMode="auto">
          <a:xfrm>
            <a:off x="12411753" y="3155524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E6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9" name="Freeform 5"/>
          <p:cNvSpPr>
            <a:spLocks/>
          </p:cNvSpPr>
          <p:nvPr userDrawn="1"/>
        </p:nvSpPr>
        <p:spPr bwMode="auto">
          <a:xfrm>
            <a:off x="12411753" y="342580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AFC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80" name="Freeform 5"/>
          <p:cNvSpPr>
            <a:spLocks/>
          </p:cNvSpPr>
          <p:nvPr userDrawn="1"/>
        </p:nvSpPr>
        <p:spPr bwMode="auto">
          <a:xfrm>
            <a:off x="12411753" y="3734884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DEDEDE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81" name="Freeform 5"/>
          <p:cNvSpPr>
            <a:spLocks/>
          </p:cNvSpPr>
          <p:nvPr userDrawn="1"/>
        </p:nvSpPr>
        <p:spPr bwMode="auto">
          <a:xfrm>
            <a:off x="12411753" y="400516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9C9C9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8031516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01" r:id="rId1"/>
    <p:sldLayoutId id="2147483902" r:id="rId2"/>
    <p:sldLayoutId id="2147483903" r:id="rId3"/>
    <p:sldLayoutId id="2147483904" r:id="rId4"/>
    <p:sldLayoutId id="2147483905" r:id="rId5"/>
    <p:sldLayoutId id="2147483906" r:id="rId6"/>
    <p:sldLayoutId id="2147483907" r:id="rId7"/>
    <p:sldLayoutId id="2147483908" r:id="rId8"/>
    <p:sldLayoutId id="2147483909" r:id="rId9"/>
    <p:sldLayoutId id="2147483910" r:id="rId10"/>
    <p:sldLayoutId id="2147483911" r:id="rId11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defTabSz="594377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2700" b="0" i="0" kern="1200" noProof="0">
          <a:solidFill>
            <a:srgbClr val="FF7900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407" indent="-239407" algn="l" defTabSz="59437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4684" indent="-229084" algn="l" defTabSz="59437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4684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3774" indent="-229084" algn="l" defTabSz="59437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3774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2866" indent="-229084" algn="l" defTabSz="59437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2866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1950" indent="-229084" algn="l" defTabSz="59437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1950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69165" indent="-297188" algn="l" defTabSz="59437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63549" indent="-297188" algn="l" defTabSz="59437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57936" indent="-297188" algn="l" defTabSz="59437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52331" indent="-297188" algn="l" defTabSz="59437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43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4377" algn="l" defTabSz="5943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8787" algn="l" defTabSz="5943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3180" algn="l" defTabSz="5943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7569" algn="l" defTabSz="5943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71970" algn="l" defTabSz="5943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66357" algn="l" defTabSz="5943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60747" algn="l" defTabSz="5943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55137" algn="l" defTabSz="5943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23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2212416305"/>
              </p:ext>
            </p:extLst>
          </p:nvPr>
        </p:nvGraphicFramePr>
        <p:xfrm>
          <a:off x="0" y="2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92958" name="Slide do think-cell" r:id="rId14" imgW="360" imgH="360" progId="TCLayout.ActiveDocument.1">
                  <p:embed/>
                </p:oleObj>
              </mc:Choice>
              <mc:Fallback>
                <p:oleObj name="Slide do think-cell" r:id="rId14" imgW="360" imgH="360" progId="TCLayout.ActiveDocument.1">
                  <p:embed/>
                  <p:pic>
                    <p:nvPicPr>
                      <p:cNvPr id="0" name="Picture 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2"/>
                        <a:ext cx="211676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10776431" y="36518"/>
            <a:ext cx="876339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191"/>
            <a:endParaRPr lang="pt-BR" sz="8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10519874" y="1932900"/>
            <a:ext cx="267220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10682583" y="4106726"/>
            <a:ext cx="234679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936841" y="1951038"/>
            <a:ext cx="5736421" cy="11060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ext styles</a:t>
            </a:r>
          </a:p>
          <a:p>
            <a:pPr lvl="1"/>
            <a:r>
              <a:rPr lang="pt-BR" noProof="0" smtClean="0"/>
              <a:t>Second level</a:t>
            </a:r>
          </a:p>
          <a:p>
            <a:pPr lvl="2"/>
            <a:r>
              <a:rPr lang="pt-BR" noProof="0" smtClean="0"/>
              <a:t>Third level</a:t>
            </a:r>
          </a:p>
          <a:p>
            <a:pPr lvl="3"/>
            <a:r>
              <a:rPr lang="pt-BR" noProof="0" smtClean="0"/>
              <a:t>Fourth level</a:t>
            </a:r>
          </a:p>
          <a:p>
            <a:pPr lvl="4"/>
            <a:r>
              <a:rPr lang="pt-BR" noProof="0" smtClean="0"/>
              <a:t>Fifth level</a:t>
            </a:r>
            <a:endParaRPr lang="pt-BR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211676" y="230189"/>
            <a:ext cx="10530036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58760" y="26991"/>
            <a:ext cx="886083" cy="2212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pt-BR" sz="1400" smtClean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TRACKER</a:t>
            </a:r>
            <a:endParaRPr lang="pt-BR" sz="1400" dirty="0">
              <a:solidFill>
                <a:srgbClr val="80808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58782" y="621826"/>
            <a:ext cx="11491891" cy="281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pt-BR" sz="1800" smtClean="0">
                <a:solidFill>
                  <a:srgbClr val="D5E7FF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Unit of measure</a:t>
            </a:r>
            <a:endParaRPr lang="pt-BR" sz="1800" dirty="0" smtClean="0">
              <a:solidFill>
                <a:srgbClr val="D5E7FF">
                  <a:lumMod val="75000"/>
                </a:srgbClr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158758" y="6266497"/>
            <a:ext cx="11398753" cy="358776"/>
            <a:chOff x="75" y="3877"/>
            <a:chExt cx="5385" cy="226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877"/>
              <a:ext cx="5385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pt-BR" sz="100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1 Footnote</a:t>
              </a:r>
              <a:endParaRPr lang="pt-BR" sz="1000" dirty="0" smtClean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06"/>
              <a:ext cx="4323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t" anchorCtr="0">
              <a:spAutoFit/>
            </a:bodyPr>
            <a:lstStyle/>
            <a:p>
              <a:pPr marL="609493" indent="-609493" defTabSz="895191">
                <a:tabLst>
                  <a:tab pos="612667" algn="l"/>
                </a:tabLst>
              </a:pPr>
              <a:r>
                <a:rPr lang="pt-BR" sz="1000" dirty="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FONTE: </a:t>
              </a:r>
              <a:r>
                <a:rPr lang="pt-BR" sz="1000" dirty="0" err="1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ource</a:t>
              </a:r>
              <a:endParaRPr lang="pt-BR" sz="1000" dirty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936840" y="1123953"/>
            <a:ext cx="5685618" cy="511174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 hidden="1"/>
            <p:cNvSpPr>
              <a:spLocks noChangeArrowheads="1"/>
            </p:cNvSpPr>
            <p:nvPr/>
          </p:nvSpPr>
          <p:spPr bwMode="auto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pt-BR" b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itle</a:t>
              </a:r>
            </a:p>
            <a:p>
              <a:r>
                <a:rPr lang="pt-BR" smtClean="0">
                  <a:solidFill>
                    <a:srgbClr val="80808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Unit of measure</a:t>
              </a:r>
              <a:endParaRPr lang="pt-BR" dirty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sp>
        <p:nvSpPr>
          <p:cNvPr id="23" name="Footer Placeholder 2"/>
          <p:cNvSpPr txBox="1">
            <a:spLocks/>
          </p:cNvSpPr>
          <p:nvPr/>
        </p:nvSpPr>
        <p:spPr>
          <a:xfrm>
            <a:off x="9546286" y="6434241"/>
            <a:ext cx="1732846" cy="153888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defPPr>
              <a:defRPr lang="en-US"/>
            </a:defPPr>
            <a:lvl1pPr marL="0" algn="l" defTabSz="457200" rtl="0" eaLnBrk="0" latinLnBrk="0" hangingPunct="0">
              <a:defRPr sz="1800" kern="1200">
                <a:solidFill>
                  <a:schemeClr val="tx1"/>
                </a:solidFill>
                <a:latin typeface="Calibri" charset="0"/>
                <a:ea typeface="ＭＳ Ｐゴシック" charset="0"/>
                <a:cs typeface="Arial" charset="0"/>
              </a:defRPr>
            </a:lvl1pPr>
            <a:lvl2pPr marL="742950" indent="-285750" algn="l" defTabSz="457200" rtl="0" eaLnBrk="0" latinLnBrk="0" hangingPunct="0"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2pPr>
            <a:lvl3pPr marL="1143000" indent="-228600" algn="l" defTabSz="457200" rtl="0" eaLnBrk="0" latinLnBrk="0" hangingPunct="0"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3pPr>
            <a:lvl4pPr marL="1600200" indent="-228600" algn="l" defTabSz="457200" rtl="0" eaLnBrk="0" latinLnBrk="0" hangingPunct="0"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4pPr>
            <a:lvl5pPr marL="2057400" indent="-228600" algn="l" defTabSz="457200" rtl="0" eaLnBrk="0" latinLnBrk="0" hangingPunct="0"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5pPr>
            <a:lvl6pPr marL="2514600" indent="-228600" algn="l" defTabSz="4572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6pPr>
            <a:lvl7pPr marL="2971800" indent="-228600" algn="l" defTabSz="4572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7pPr>
            <a:lvl8pPr marL="3429000" indent="-228600" algn="l" defTabSz="4572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8pPr>
            <a:lvl9pPr marL="3886200" indent="-228600" algn="l" defTabSz="4572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9pPr>
          </a:lstStyle>
          <a:p>
            <a:pPr algn="r" eaLnBrk="1" hangingPunct="1"/>
            <a:r>
              <a:rPr lang="pt-BR" sz="1000" smtClean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MATERIAL CONFIDENCIAL  |</a:t>
            </a:r>
            <a:endParaRPr lang="pt-BR" sz="1000" dirty="0">
              <a:solidFill>
                <a:srgbClr val="4D4D4D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28" name="Group 27"/>
          <p:cNvGrpSpPr/>
          <p:nvPr userDrawn="1"/>
        </p:nvGrpSpPr>
        <p:grpSpPr>
          <a:xfrm>
            <a:off x="11335740" y="60963"/>
            <a:ext cx="613376" cy="655256"/>
            <a:chOff x="5526523" y="2325890"/>
            <a:chExt cx="3423032" cy="3656747"/>
          </a:xfrm>
        </p:grpSpPr>
        <p:sp>
          <p:nvSpPr>
            <p:cNvPr id="29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30" name="Group 29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31" name="Donut 30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2" name="Oval 31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3" name="Oval 32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  <p:sp>
        <p:nvSpPr>
          <p:cNvPr id="24" name="Slide Number"/>
          <p:cNvSpPr txBox="1">
            <a:spLocks/>
          </p:cNvSpPr>
          <p:nvPr userDrawn="1"/>
        </p:nvSpPr>
        <p:spPr>
          <a:xfrm>
            <a:off x="11394525" y="6426673"/>
            <a:ext cx="278354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pt-BR" smtClean="0">
                <a:solidFill>
                  <a:srgbClr val="000000"/>
                </a:solidFill>
                <a:cs typeface="Arial" panose="020B0604020202020204" pitchFamily="34" charset="0"/>
                <a:sym typeface="Arial" panose="020B0604020202020204" pitchFamily="34" charset="0"/>
              </a:rPr>
              <a:pPr/>
              <a:t>‹nº›</a:t>
            </a:fld>
            <a:endParaRPr lang="pt-BR" dirty="0">
              <a:solidFill>
                <a:srgbClr val="000000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835437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346" r:id="rId1"/>
    <p:sldLayoutId id="2147486347" r:id="rId2"/>
    <p:sldLayoutId id="2147486348" r:id="rId3"/>
    <p:sldLayoutId id="2147486349" r:id="rId4"/>
    <p:sldLayoutId id="2147486350" r:id="rId5"/>
    <p:sldLayoutId id="2147486351" r:id="rId6"/>
    <p:sldLayoutId id="2147486352" r:id="rId7"/>
    <p:sldLayoutId id="2147486353" r:id="rId8"/>
    <p:sldLayoutId id="2147486354" r:id="rId9"/>
    <p:sldLayoutId id="2147486355" r:id="rId10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895191" rtl="0" eaLnBrk="1" fontAlgn="base" hangingPunct="1">
        <a:spcBef>
          <a:spcPct val="0"/>
        </a:spcBef>
        <a:spcAft>
          <a:spcPct val="0"/>
        </a:spcAft>
        <a:tabLst>
          <a:tab pos="269827" algn="l"/>
        </a:tabLst>
        <a:defRPr lang="en-US" sz="2000" b="1" baseline="0" noProof="0" dirty="0" smtClean="0">
          <a:solidFill>
            <a:schemeClr val="accent4"/>
          </a:solidFill>
          <a:latin typeface="Arial" panose="020B0604020202020204" pitchFamily="34" charset="0"/>
          <a:ea typeface="+mj-ea"/>
          <a:cs typeface="Arial" panose="020B0604020202020204" pitchFamily="34" charset="0"/>
          <a:sym typeface="Arial" panose="020B0604020202020204" pitchFamily="34" charset="0"/>
        </a:defRPr>
      </a:lvl1pPr>
      <a:lvl2pPr algn="l" defTabSz="895191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2pPr>
      <a:lvl3pPr algn="l" defTabSz="895191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3pPr>
      <a:lvl4pPr algn="l" defTabSz="895191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4pPr>
      <a:lvl5pPr algn="l" defTabSz="895191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5pPr>
      <a:lvl6pPr marL="457119" algn="l" defTabSz="895191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6pPr>
      <a:lvl7pPr marL="914238" algn="l" defTabSz="895191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7pPr>
      <a:lvl8pPr marL="1371357" algn="l" defTabSz="895191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8pPr>
      <a:lvl9pPr marL="1828478" algn="l" defTabSz="895191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191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400" baseline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1pPr>
      <a:lvl2pPr marL="193641" indent="-193641" algn="l" defTabSz="895191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15000"/>
        <a:buFont typeface="Simplon BP Regular" pitchFamily="2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2pPr>
      <a:lvl3pPr marL="457119" indent="-261891" algn="l" defTabSz="895191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charset="0"/>
        <a:buChar char="–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3pPr>
      <a:lvl4pPr marL="614255" indent="-155547" algn="l" defTabSz="895191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pitchFamily="34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4pPr>
      <a:lvl5pPr marL="749676" indent="-130153" algn="l" defTabSz="895191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89000"/>
        <a:buFont typeface="Arial" charset="0"/>
        <a:buChar char="-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5pPr>
      <a:lvl6pPr marL="749676" indent="-130153" algn="l" defTabSz="89519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9676" indent="-130153" algn="l" defTabSz="89519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9676" indent="-130153" algn="l" defTabSz="89519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9676" indent="-130153" algn="l" defTabSz="89519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23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19" algn="l" defTabSz="91423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38" algn="l" defTabSz="91423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357" algn="l" defTabSz="91423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478" algn="l" defTabSz="91423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596" algn="l" defTabSz="91423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715" algn="l" defTabSz="91423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837" algn="l" defTabSz="91423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957" algn="l" defTabSz="91423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3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77" y="1761049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30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Click to edit Master text styles</a:t>
            </a:r>
          </a:p>
          <a:p>
            <a:pPr lvl="1" fontAlgn="base">
              <a:lnSpc>
                <a:spcPts val="1830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Second level</a:t>
            </a:r>
          </a:p>
          <a:p>
            <a:pPr lvl="2" fontAlgn="base">
              <a:lnSpc>
                <a:spcPts val="1830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Third level</a:t>
            </a:r>
          </a:p>
          <a:p>
            <a:pPr lvl="3" fontAlgn="base">
              <a:lnSpc>
                <a:spcPts val="1830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Fourth level</a:t>
            </a:r>
          </a:p>
          <a:p>
            <a:pPr lvl="4" fontAlgn="base">
              <a:lnSpc>
                <a:spcPts val="1830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Fifth 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1978" y="358895"/>
            <a:ext cx="10725159" cy="102481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44" tIns="47044" rIns="47044" bIns="47044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r>
              <a:rPr lang="en-US" sz="1045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r>
              <a:rPr lang="en-US" sz="1045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r>
              <a:rPr lang="en-US" sz="1045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45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16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44" tIns="47044" rIns="47044" bIns="47044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r>
              <a:rPr lang="en-US" sz="1045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r>
              <a:rPr lang="en-US" sz="1045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r>
              <a:rPr lang="en-US" sz="1045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45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44" tIns="47044" rIns="47044" bIns="47044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r>
              <a:rPr lang="en-US" sz="1045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r>
              <a:rPr lang="en-US" sz="1045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r>
              <a:rPr lang="en-US" sz="1045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45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9" name="Freeform 5"/>
          <p:cNvSpPr>
            <a:spLocks/>
          </p:cNvSpPr>
          <p:nvPr userDrawn="1"/>
        </p:nvSpPr>
        <p:spPr bwMode="auto">
          <a:xfrm>
            <a:off x="11944818" y="1838297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44" tIns="47044" rIns="47044" bIns="47044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r>
              <a:rPr lang="en-US" sz="1045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r>
              <a:rPr lang="en-US" sz="1045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r>
              <a:rPr lang="en-US" sz="1045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45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Freeform 28"/>
          <p:cNvSpPr>
            <a:spLocks/>
          </p:cNvSpPr>
          <p:nvPr userDrawn="1"/>
        </p:nvSpPr>
        <p:spPr bwMode="auto">
          <a:xfrm>
            <a:off x="11944818" y="11210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44" tIns="47044" rIns="47044" bIns="47044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r>
              <a:rPr lang="en-US" sz="1045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r>
              <a:rPr lang="en-US" sz="1045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r>
              <a:rPr lang="en-US" sz="1045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45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Freeform 5"/>
          <p:cNvSpPr>
            <a:spLocks/>
          </p:cNvSpPr>
          <p:nvPr userDrawn="1"/>
        </p:nvSpPr>
        <p:spPr bwMode="auto">
          <a:xfrm>
            <a:off x="11944818" y="40390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44" tIns="47044" rIns="47044" bIns="47044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45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746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45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746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45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45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44" tIns="47044" rIns="47044" bIns="47044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r>
              <a:rPr lang="en-US" sz="1045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r>
              <a:rPr lang="en-US" sz="1045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r>
              <a:rPr lang="en-US" sz="1045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45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47" name="TextBox 39"/>
          <p:cNvSpPr txBox="1"/>
          <p:nvPr userDrawn="1"/>
        </p:nvSpPr>
        <p:spPr>
          <a:xfrm>
            <a:off x="-1259550" y="111861"/>
            <a:ext cx="1117740" cy="90473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 defTabSz="597469" fontAlgn="auto">
              <a:spcBef>
                <a:spcPts val="1045"/>
              </a:spcBef>
              <a:spcAft>
                <a:spcPts val="0"/>
              </a:spcAft>
            </a:pPr>
            <a:r>
              <a:rPr lang="en-US" sz="1176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176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176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176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176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176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176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176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176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176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1437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48" name="Freeform 5"/>
          <p:cNvSpPr>
            <a:spLocks/>
          </p:cNvSpPr>
          <p:nvPr userDrawn="1"/>
        </p:nvSpPr>
        <p:spPr bwMode="auto">
          <a:xfrm>
            <a:off x="-1274658" y="1176471"/>
            <a:ext cx="1129050" cy="32931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49" name="Freeform 5"/>
          <p:cNvSpPr>
            <a:spLocks/>
          </p:cNvSpPr>
          <p:nvPr userDrawn="1"/>
        </p:nvSpPr>
        <p:spPr bwMode="auto">
          <a:xfrm>
            <a:off x="-1274659" y="1599872"/>
            <a:ext cx="329306" cy="32931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50" name="Freeform 5"/>
          <p:cNvSpPr>
            <a:spLocks/>
          </p:cNvSpPr>
          <p:nvPr userDrawn="1"/>
        </p:nvSpPr>
        <p:spPr bwMode="auto">
          <a:xfrm>
            <a:off x="-890546" y="1599871"/>
            <a:ext cx="329306" cy="32931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51" name="Freeform 5"/>
          <p:cNvSpPr>
            <a:spLocks/>
          </p:cNvSpPr>
          <p:nvPr userDrawn="1"/>
        </p:nvSpPr>
        <p:spPr bwMode="auto">
          <a:xfrm>
            <a:off x="-506434" y="1599869"/>
            <a:ext cx="329306" cy="32931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52" name="Freeform 5"/>
          <p:cNvSpPr>
            <a:spLocks/>
          </p:cNvSpPr>
          <p:nvPr userDrawn="1"/>
        </p:nvSpPr>
        <p:spPr bwMode="auto">
          <a:xfrm>
            <a:off x="-1270861" y="2226182"/>
            <a:ext cx="1129050" cy="32931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53" name="Freeform 5"/>
          <p:cNvSpPr>
            <a:spLocks/>
          </p:cNvSpPr>
          <p:nvPr userDrawn="1"/>
        </p:nvSpPr>
        <p:spPr bwMode="auto">
          <a:xfrm>
            <a:off x="-1270861" y="2673923"/>
            <a:ext cx="329306" cy="32931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54" name="Freeform 5"/>
          <p:cNvSpPr>
            <a:spLocks/>
          </p:cNvSpPr>
          <p:nvPr userDrawn="1"/>
        </p:nvSpPr>
        <p:spPr bwMode="auto">
          <a:xfrm>
            <a:off x="-890546" y="2673923"/>
            <a:ext cx="329306" cy="32931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55" name="Freeform 5"/>
          <p:cNvSpPr>
            <a:spLocks/>
          </p:cNvSpPr>
          <p:nvPr userDrawn="1"/>
        </p:nvSpPr>
        <p:spPr bwMode="auto">
          <a:xfrm>
            <a:off x="-510231" y="2673923"/>
            <a:ext cx="329306" cy="32931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56" name="Freeform 5"/>
          <p:cNvSpPr>
            <a:spLocks/>
          </p:cNvSpPr>
          <p:nvPr userDrawn="1"/>
        </p:nvSpPr>
        <p:spPr bwMode="auto">
          <a:xfrm>
            <a:off x="-1270861" y="3277379"/>
            <a:ext cx="1129050" cy="32931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57" name="Freeform 5"/>
          <p:cNvSpPr>
            <a:spLocks/>
          </p:cNvSpPr>
          <p:nvPr userDrawn="1"/>
        </p:nvSpPr>
        <p:spPr bwMode="auto">
          <a:xfrm>
            <a:off x="-1259551" y="3716179"/>
            <a:ext cx="329306" cy="32931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58" name="Freeform 5"/>
          <p:cNvSpPr>
            <a:spLocks/>
          </p:cNvSpPr>
          <p:nvPr userDrawn="1"/>
        </p:nvSpPr>
        <p:spPr bwMode="auto">
          <a:xfrm>
            <a:off x="-890546" y="3716179"/>
            <a:ext cx="329306" cy="32931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59" name="Freeform 5"/>
          <p:cNvSpPr>
            <a:spLocks/>
          </p:cNvSpPr>
          <p:nvPr userDrawn="1"/>
        </p:nvSpPr>
        <p:spPr bwMode="auto">
          <a:xfrm>
            <a:off x="-463675" y="3716179"/>
            <a:ext cx="329306" cy="32931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6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950614" y="6396289"/>
            <a:ext cx="2728838" cy="233516"/>
          </a:xfrm>
          <a:prstGeom prst="rect">
            <a:avLst/>
          </a:prstGeom>
        </p:spPr>
        <p:txBody>
          <a:bodyPr vert="horz" lIns="36000" tIns="36000" rIns="36000" bIns="36000" rtlCol="0" anchor="ctr">
            <a:spAutoFit/>
          </a:bodyPr>
          <a:lstStyle>
            <a:lvl1pPr algn="r">
              <a:defRPr sz="1045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6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69908" y="6396289"/>
            <a:ext cx="578105" cy="233516"/>
          </a:xfrm>
          <a:prstGeom prst="rect">
            <a:avLst/>
          </a:prstGeom>
        </p:spPr>
        <p:txBody>
          <a:bodyPr vert="horz" lIns="36000" tIns="36000" rIns="36000" bIns="36000" rtlCol="0" anchor="ctr">
            <a:spAutoFit/>
          </a:bodyPr>
          <a:lstStyle>
            <a:lvl1pPr algn="r">
              <a:defRPr sz="1045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fld id="{74850952-3374-434C-8FC6-DE28F8CD25B0}" type="slidenum">
              <a:rPr lang="pt-BR" smtClean="0">
                <a:solidFill>
                  <a:srgbClr val="5F5F5F"/>
                </a:solidFill>
              </a:rPr>
              <a:pPr defTabSz="597469" fontAlgn="auto">
                <a:spcBef>
                  <a:spcPts val="0"/>
                </a:spcBef>
                <a:spcAft>
                  <a:spcPts val="0"/>
                </a:spcAft>
              </a:pPr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481678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360" r:id="rId1"/>
    <p:sldLayoutId id="2147486361" r:id="rId2"/>
    <p:sldLayoutId id="2147486362" r:id="rId3"/>
    <p:sldLayoutId id="2147486363" r:id="rId4"/>
    <p:sldLayoutId id="2147486364" r:id="rId5"/>
    <p:sldLayoutId id="2147486365" r:id="rId6"/>
    <p:sldLayoutId id="2147486366" r:id="rId7"/>
    <p:sldLayoutId id="2147486367" r:id="rId8"/>
  </p:sldLayoutIdLst>
  <p:hf hdr="0" dt="0"/>
  <p:txStyles>
    <p:titleStyle>
      <a:lvl1pPr algn="l" defTabSz="597469" rtl="0" eaLnBrk="1" latinLnBrk="0" hangingPunct="1">
        <a:lnSpc>
          <a:spcPts val="5489"/>
        </a:lnSpc>
        <a:spcBef>
          <a:spcPct val="0"/>
        </a:spcBef>
        <a:spcAft>
          <a:spcPts val="0"/>
        </a:spcAft>
        <a:buNone/>
        <a:defRPr lang="pt-BR" sz="5489" b="0" i="0" kern="1200" noProof="0">
          <a:solidFill>
            <a:schemeClr val="accent1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40647" indent="-240647" algn="l" defTabSz="59746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3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7145" indent="-230275" algn="l" defTabSz="59746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7145" algn="l"/>
        </a:tabLst>
        <a:defRPr lang="es-ES_tradnl" sz="183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7420" indent="-230275" algn="l" defTabSz="59746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7420" algn="l"/>
        </a:tabLst>
        <a:defRPr lang="es-ES_tradnl" sz="183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7694" indent="-230275" algn="l" defTabSz="59746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7694" algn="l"/>
        </a:tabLst>
        <a:defRPr lang="es-ES_tradnl" sz="183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7969" indent="-230275" algn="l" defTabSz="59746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7969" algn="l"/>
        </a:tabLst>
        <a:defRPr lang="pt-BR" sz="183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86079" indent="-298734" algn="l" defTabSz="597469" rtl="0" eaLnBrk="1" latinLnBrk="0" hangingPunct="1">
        <a:spcBef>
          <a:spcPct val="20000"/>
        </a:spcBef>
        <a:buFont typeface="Arial"/>
        <a:buChar char="•"/>
        <a:defRPr sz="2614" kern="1200">
          <a:solidFill>
            <a:schemeClr val="tx1"/>
          </a:solidFill>
          <a:latin typeface="+mn-lt"/>
          <a:ea typeface="+mn-ea"/>
          <a:cs typeface="+mn-cs"/>
        </a:defRPr>
      </a:lvl6pPr>
      <a:lvl7pPr marL="3883548" indent="-298734" algn="l" defTabSz="597469" rtl="0" eaLnBrk="1" latinLnBrk="0" hangingPunct="1">
        <a:spcBef>
          <a:spcPct val="20000"/>
        </a:spcBef>
        <a:buFont typeface="Arial"/>
        <a:buChar char="•"/>
        <a:defRPr sz="2614" kern="1200">
          <a:solidFill>
            <a:schemeClr val="tx1"/>
          </a:solidFill>
          <a:latin typeface="+mn-lt"/>
          <a:ea typeface="+mn-ea"/>
          <a:cs typeface="+mn-cs"/>
        </a:defRPr>
      </a:lvl7pPr>
      <a:lvl8pPr marL="4481017" indent="-298734" algn="l" defTabSz="597469" rtl="0" eaLnBrk="1" latinLnBrk="0" hangingPunct="1">
        <a:spcBef>
          <a:spcPct val="20000"/>
        </a:spcBef>
        <a:buFont typeface="Arial"/>
        <a:buChar char="•"/>
        <a:defRPr sz="2614" kern="1200">
          <a:solidFill>
            <a:schemeClr val="tx1"/>
          </a:solidFill>
          <a:latin typeface="+mn-lt"/>
          <a:ea typeface="+mn-ea"/>
          <a:cs typeface="+mn-cs"/>
        </a:defRPr>
      </a:lvl8pPr>
      <a:lvl9pPr marL="5078486" indent="-298734" algn="l" defTabSz="597469" rtl="0" eaLnBrk="1" latinLnBrk="0" hangingPunct="1">
        <a:spcBef>
          <a:spcPct val="20000"/>
        </a:spcBef>
        <a:buFont typeface="Arial"/>
        <a:buChar char="•"/>
        <a:defRPr sz="2614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7469" rtl="0" eaLnBrk="1" latinLnBrk="0" hangingPunct="1">
        <a:defRPr sz="2352" kern="1200">
          <a:solidFill>
            <a:schemeClr val="tx1"/>
          </a:solidFill>
          <a:latin typeface="+mn-lt"/>
          <a:ea typeface="+mn-ea"/>
          <a:cs typeface="+mn-cs"/>
        </a:defRPr>
      </a:lvl1pPr>
      <a:lvl2pPr marL="597469" algn="l" defTabSz="597469" rtl="0" eaLnBrk="1" latinLnBrk="0" hangingPunct="1">
        <a:defRPr sz="2352" kern="1200">
          <a:solidFill>
            <a:schemeClr val="tx1"/>
          </a:solidFill>
          <a:latin typeface="+mn-lt"/>
          <a:ea typeface="+mn-ea"/>
          <a:cs typeface="+mn-cs"/>
        </a:defRPr>
      </a:lvl2pPr>
      <a:lvl3pPr marL="1194938" algn="l" defTabSz="597469" rtl="0" eaLnBrk="1" latinLnBrk="0" hangingPunct="1">
        <a:defRPr sz="2352" kern="1200">
          <a:solidFill>
            <a:schemeClr val="tx1"/>
          </a:solidFill>
          <a:latin typeface="+mn-lt"/>
          <a:ea typeface="+mn-ea"/>
          <a:cs typeface="+mn-cs"/>
        </a:defRPr>
      </a:lvl3pPr>
      <a:lvl4pPr marL="1792407" algn="l" defTabSz="597469" rtl="0" eaLnBrk="1" latinLnBrk="0" hangingPunct="1">
        <a:defRPr sz="2352" kern="1200">
          <a:solidFill>
            <a:schemeClr val="tx1"/>
          </a:solidFill>
          <a:latin typeface="+mn-lt"/>
          <a:ea typeface="+mn-ea"/>
          <a:cs typeface="+mn-cs"/>
        </a:defRPr>
      </a:lvl4pPr>
      <a:lvl5pPr marL="2389876" algn="l" defTabSz="597469" rtl="0" eaLnBrk="1" latinLnBrk="0" hangingPunct="1">
        <a:defRPr sz="2352" kern="1200">
          <a:solidFill>
            <a:schemeClr val="tx1"/>
          </a:solidFill>
          <a:latin typeface="+mn-lt"/>
          <a:ea typeface="+mn-ea"/>
          <a:cs typeface="+mn-cs"/>
        </a:defRPr>
      </a:lvl5pPr>
      <a:lvl6pPr marL="2987345" algn="l" defTabSz="597469" rtl="0" eaLnBrk="1" latinLnBrk="0" hangingPunct="1">
        <a:defRPr sz="2352" kern="1200">
          <a:solidFill>
            <a:schemeClr val="tx1"/>
          </a:solidFill>
          <a:latin typeface="+mn-lt"/>
          <a:ea typeface="+mn-ea"/>
          <a:cs typeface="+mn-cs"/>
        </a:defRPr>
      </a:lvl6pPr>
      <a:lvl7pPr marL="3584814" algn="l" defTabSz="597469" rtl="0" eaLnBrk="1" latinLnBrk="0" hangingPunct="1">
        <a:defRPr sz="2352" kern="1200">
          <a:solidFill>
            <a:schemeClr val="tx1"/>
          </a:solidFill>
          <a:latin typeface="+mn-lt"/>
          <a:ea typeface="+mn-ea"/>
          <a:cs typeface="+mn-cs"/>
        </a:defRPr>
      </a:lvl7pPr>
      <a:lvl8pPr marL="4182283" algn="l" defTabSz="597469" rtl="0" eaLnBrk="1" latinLnBrk="0" hangingPunct="1">
        <a:defRPr sz="2352" kern="1200">
          <a:solidFill>
            <a:schemeClr val="tx1"/>
          </a:solidFill>
          <a:latin typeface="+mn-lt"/>
          <a:ea typeface="+mn-ea"/>
          <a:cs typeface="+mn-cs"/>
        </a:defRPr>
      </a:lvl8pPr>
      <a:lvl9pPr marL="4779752" algn="l" defTabSz="597469" rtl="0" eaLnBrk="1" latinLnBrk="0" hangingPunct="1">
        <a:defRPr sz="235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23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/>
          </p:nvPr>
        </p:nvGraphicFramePr>
        <p:xfrm>
          <a:off x="2076" y="2076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24439" name="Slide do think-cell" r:id="rId7" imgW="270" imgH="270" progId="TCLayout.ActiveDocument.1">
                  <p:embed/>
                </p:oleObj>
              </mc:Choice>
              <mc:Fallback>
                <p:oleObj name="Slide do think-cell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2076" y="2076"/>
                        <a:ext cx="2074" cy="20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77" y="1854628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30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Click to edit Master text styles</a:t>
            </a:r>
          </a:p>
          <a:p>
            <a:pPr lvl="1" fontAlgn="base">
              <a:lnSpc>
                <a:spcPts val="1830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Second level</a:t>
            </a:r>
          </a:p>
          <a:p>
            <a:pPr lvl="2" fontAlgn="base">
              <a:lnSpc>
                <a:spcPts val="1830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Third level</a:t>
            </a:r>
          </a:p>
          <a:p>
            <a:pPr lvl="3" fontAlgn="base">
              <a:lnSpc>
                <a:spcPts val="1830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Fourth level</a:t>
            </a:r>
          </a:p>
          <a:p>
            <a:pPr lvl="4" fontAlgn="base">
              <a:lnSpc>
                <a:spcPts val="1830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Fifth 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1978" y="358895"/>
            <a:ext cx="10725159" cy="102481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4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7455" y="6371917"/>
            <a:ext cx="10176095" cy="28226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68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r>
              <a:rPr lang="pt-BR" smtClean="0">
                <a:solidFill>
                  <a:srgbClr val="5F5F5F"/>
                </a:solidFill>
              </a:rPr>
              <a:t>&lt;PROJETO XPTO&gt;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4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3552" y="6371917"/>
            <a:ext cx="578105" cy="28226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68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fld id="{74850952-3374-434C-8FC6-DE28F8CD25B0}" type="slidenum">
              <a:rPr lang="pt-BR" smtClean="0">
                <a:solidFill>
                  <a:srgbClr val="5F5F5F"/>
                </a:solidFill>
              </a:rPr>
              <a:pPr defTabSz="597469" fontAlgn="auto">
                <a:spcBef>
                  <a:spcPts val="0"/>
                </a:spcBef>
                <a:spcAft>
                  <a:spcPts val="0"/>
                </a:spcAft>
              </a:pPr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477172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373" r:id="rId1"/>
    <p:sldLayoutId id="2147486374" r:id="rId2"/>
    <p:sldLayoutId id="2147486375" r:id="rId3"/>
  </p:sldLayoutIdLst>
  <p:hf hdr="0" ftr="0" dt="0"/>
  <p:txStyles>
    <p:titleStyle>
      <a:lvl1pPr algn="l" defTabSz="597469" rtl="0" eaLnBrk="1" latinLnBrk="0" hangingPunct="1">
        <a:lnSpc>
          <a:spcPts val="5489"/>
        </a:lnSpc>
        <a:spcBef>
          <a:spcPct val="0"/>
        </a:spcBef>
        <a:spcAft>
          <a:spcPts val="0"/>
        </a:spcAft>
        <a:buNone/>
        <a:defRPr lang="pt-BR" sz="5489" b="0" i="0" kern="1200" noProof="0">
          <a:solidFill>
            <a:schemeClr val="accent1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40647" indent="-240647" algn="l" defTabSz="59746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3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7145" indent="-230275" algn="l" defTabSz="59746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7145" algn="l"/>
        </a:tabLst>
        <a:defRPr lang="es-ES_tradnl" sz="183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7420" indent="-230275" algn="l" defTabSz="59746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7420" algn="l"/>
        </a:tabLst>
        <a:defRPr lang="es-ES_tradnl" sz="183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7694" indent="-230275" algn="l" defTabSz="59746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7694" algn="l"/>
        </a:tabLst>
        <a:defRPr lang="es-ES_tradnl" sz="183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7969" indent="-230275" algn="l" defTabSz="59746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7969" algn="l"/>
        </a:tabLst>
        <a:defRPr lang="pt-BR" sz="183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86079" indent="-298734" algn="l" defTabSz="597469" rtl="0" eaLnBrk="1" latinLnBrk="0" hangingPunct="1">
        <a:spcBef>
          <a:spcPct val="20000"/>
        </a:spcBef>
        <a:buFont typeface="Arial"/>
        <a:buChar char="•"/>
        <a:defRPr sz="2614" kern="1200">
          <a:solidFill>
            <a:schemeClr val="tx1"/>
          </a:solidFill>
          <a:latin typeface="+mn-lt"/>
          <a:ea typeface="+mn-ea"/>
          <a:cs typeface="+mn-cs"/>
        </a:defRPr>
      </a:lvl6pPr>
      <a:lvl7pPr marL="3883548" indent="-298734" algn="l" defTabSz="597469" rtl="0" eaLnBrk="1" latinLnBrk="0" hangingPunct="1">
        <a:spcBef>
          <a:spcPct val="20000"/>
        </a:spcBef>
        <a:buFont typeface="Arial"/>
        <a:buChar char="•"/>
        <a:defRPr sz="2614" kern="1200">
          <a:solidFill>
            <a:schemeClr val="tx1"/>
          </a:solidFill>
          <a:latin typeface="+mn-lt"/>
          <a:ea typeface="+mn-ea"/>
          <a:cs typeface="+mn-cs"/>
        </a:defRPr>
      </a:lvl7pPr>
      <a:lvl8pPr marL="4481017" indent="-298734" algn="l" defTabSz="597469" rtl="0" eaLnBrk="1" latinLnBrk="0" hangingPunct="1">
        <a:spcBef>
          <a:spcPct val="20000"/>
        </a:spcBef>
        <a:buFont typeface="Arial"/>
        <a:buChar char="•"/>
        <a:defRPr sz="2614" kern="1200">
          <a:solidFill>
            <a:schemeClr val="tx1"/>
          </a:solidFill>
          <a:latin typeface="+mn-lt"/>
          <a:ea typeface="+mn-ea"/>
          <a:cs typeface="+mn-cs"/>
        </a:defRPr>
      </a:lvl8pPr>
      <a:lvl9pPr marL="5078486" indent="-298734" algn="l" defTabSz="597469" rtl="0" eaLnBrk="1" latinLnBrk="0" hangingPunct="1">
        <a:spcBef>
          <a:spcPct val="20000"/>
        </a:spcBef>
        <a:buFont typeface="Arial"/>
        <a:buChar char="•"/>
        <a:defRPr sz="2614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7469" rtl="0" eaLnBrk="1" latinLnBrk="0" hangingPunct="1">
        <a:defRPr sz="2352" kern="1200">
          <a:solidFill>
            <a:schemeClr val="tx1"/>
          </a:solidFill>
          <a:latin typeface="+mn-lt"/>
          <a:ea typeface="+mn-ea"/>
          <a:cs typeface="+mn-cs"/>
        </a:defRPr>
      </a:lvl1pPr>
      <a:lvl2pPr marL="597469" algn="l" defTabSz="597469" rtl="0" eaLnBrk="1" latinLnBrk="0" hangingPunct="1">
        <a:defRPr sz="2352" kern="1200">
          <a:solidFill>
            <a:schemeClr val="tx1"/>
          </a:solidFill>
          <a:latin typeface="+mn-lt"/>
          <a:ea typeface="+mn-ea"/>
          <a:cs typeface="+mn-cs"/>
        </a:defRPr>
      </a:lvl2pPr>
      <a:lvl3pPr marL="1194938" algn="l" defTabSz="597469" rtl="0" eaLnBrk="1" latinLnBrk="0" hangingPunct="1">
        <a:defRPr sz="2352" kern="1200">
          <a:solidFill>
            <a:schemeClr val="tx1"/>
          </a:solidFill>
          <a:latin typeface="+mn-lt"/>
          <a:ea typeface="+mn-ea"/>
          <a:cs typeface="+mn-cs"/>
        </a:defRPr>
      </a:lvl3pPr>
      <a:lvl4pPr marL="1792407" algn="l" defTabSz="597469" rtl="0" eaLnBrk="1" latinLnBrk="0" hangingPunct="1">
        <a:defRPr sz="2352" kern="1200">
          <a:solidFill>
            <a:schemeClr val="tx1"/>
          </a:solidFill>
          <a:latin typeface="+mn-lt"/>
          <a:ea typeface="+mn-ea"/>
          <a:cs typeface="+mn-cs"/>
        </a:defRPr>
      </a:lvl4pPr>
      <a:lvl5pPr marL="2389876" algn="l" defTabSz="597469" rtl="0" eaLnBrk="1" latinLnBrk="0" hangingPunct="1">
        <a:defRPr sz="2352" kern="1200">
          <a:solidFill>
            <a:schemeClr val="tx1"/>
          </a:solidFill>
          <a:latin typeface="+mn-lt"/>
          <a:ea typeface="+mn-ea"/>
          <a:cs typeface="+mn-cs"/>
        </a:defRPr>
      </a:lvl5pPr>
      <a:lvl6pPr marL="2987345" algn="l" defTabSz="597469" rtl="0" eaLnBrk="1" latinLnBrk="0" hangingPunct="1">
        <a:defRPr sz="2352" kern="1200">
          <a:solidFill>
            <a:schemeClr val="tx1"/>
          </a:solidFill>
          <a:latin typeface="+mn-lt"/>
          <a:ea typeface="+mn-ea"/>
          <a:cs typeface="+mn-cs"/>
        </a:defRPr>
      </a:lvl6pPr>
      <a:lvl7pPr marL="3584814" algn="l" defTabSz="597469" rtl="0" eaLnBrk="1" latinLnBrk="0" hangingPunct="1">
        <a:defRPr sz="2352" kern="1200">
          <a:solidFill>
            <a:schemeClr val="tx1"/>
          </a:solidFill>
          <a:latin typeface="+mn-lt"/>
          <a:ea typeface="+mn-ea"/>
          <a:cs typeface="+mn-cs"/>
        </a:defRPr>
      </a:lvl7pPr>
      <a:lvl8pPr marL="4182283" algn="l" defTabSz="597469" rtl="0" eaLnBrk="1" latinLnBrk="0" hangingPunct="1">
        <a:defRPr sz="2352" kern="1200">
          <a:solidFill>
            <a:schemeClr val="tx1"/>
          </a:solidFill>
          <a:latin typeface="+mn-lt"/>
          <a:ea typeface="+mn-ea"/>
          <a:cs typeface="+mn-cs"/>
        </a:defRPr>
      </a:lvl8pPr>
      <a:lvl9pPr marL="4779752" algn="l" defTabSz="597469" rtl="0" eaLnBrk="1" latinLnBrk="0" hangingPunct="1">
        <a:defRPr sz="235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23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>
            <p:custDataLst>
              <p:tags r:id="rId9"/>
            </p:custDataLst>
            <p:extLst/>
          </p:nvPr>
        </p:nvGraphicFramePr>
        <p:xfrm>
          <a:off x="2080" y="2100"/>
          <a:ext cx="2074" cy="20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6270" name="think-cell Slide" r:id="rId10" imgW="270" imgH="270" progId="TCLayout.ActiveDocument.1">
                  <p:embed/>
                </p:oleObj>
              </mc:Choice>
              <mc:Fallback>
                <p:oleObj name="think-cell Slide" r:id="rId1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2080" y="2100"/>
                        <a:ext cx="2074" cy="207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Box 11"/>
          <p:cNvSpPr txBox="1"/>
          <p:nvPr/>
        </p:nvSpPr>
        <p:spPr>
          <a:xfrm>
            <a:off x="15141258" y="802412"/>
            <a:ext cx="1194911" cy="896197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fontAlgn="auto">
              <a:lnSpc>
                <a:spcPts val="1764"/>
              </a:lnSpc>
              <a:spcBef>
                <a:spcPts val="784"/>
              </a:spcBef>
              <a:spcAft>
                <a:spcPts val="0"/>
              </a:spcAft>
            </a:pPr>
            <a:endParaRPr lang="en-US" sz="1568" i="1" dirty="0">
              <a:solidFill>
                <a:prstClr val="black"/>
              </a:solidFill>
              <a:latin typeface="Georgia" pitchFamily="18" charset="0"/>
            </a:endParaRPr>
          </a:p>
        </p:txBody>
      </p:sp>
      <p:sp>
        <p:nvSpPr>
          <p:cNvPr id="40" name="TextBox 39"/>
          <p:cNvSpPr txBox="1"/>
          <p:nvPr/>
        </p:nvSpPr>
        <p:spPr>
          <a:xfrm>
            <a:off x="-4036922" y="21562"/>
            <a:ext cx="3924429" cy="268745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fontAlgn="auto">
              <a:lnSpc>
                <a:spcPts val="5489"/>
              </a:lnSpc>
              <a:spcBef>
                <a:spcPts val="784"/>
              </a:spcBef>
              <a:spcAft>
                <a:spcPts val="0"/>
              </a:spcAft>
            </a:pPr>
            <a:r>
              <a:rPr lang="en-US" sz="5489" dirty="0" err="1">
                <a:solidFill>
                  <a:srgbClr val="4D4D4D"/>
                </a:solidFill>
                <a:latin typeface="Simplon Oi Headline"/>
                <a:cs typeface="Simplon Oi Headline"/>
              </a:rPr>
              <a:t>Título</a:t>
            </a:r>
            <a:r>
              <a:rPr lang="en-US" sz="5489" dirty="0">
                <a:solidFill>
                  <a:srgbClr val="4D4D4D"/>
                </a:solidFill>
                <a:latin typeface="Simplon Oi Headline"/>
                <a:cs typeface="Simplon Oi Headline"/>
              </a:rPr>
              <a:t> Simplon </a:t>
            </a:r>
            <a:r>
              <a:rPr lang="en-US" sz="5489" dirty="0" err="1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5489" dirty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41" name="TextBox 40"/>
          <p:cNvSpPr txBox="1"/>
          <p:nvPr/>
        </p:nvSpPr>
        <p:spPr>
          <a:xfrm>
            <a:off x="-3988733" y="3046423"/>
            <a:ext cx="3579590" cy="144044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fontAlgn="auto">
              <a:lnSpc>
                <a:spcPts val="2744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2744" dirty="0">
                <a:solidFill>
                  <a:srgbClr val="4D4D4D"/>
                </a:solidFill>
                <a:latin typeface="Simplon BP Regular"/>
                <a:cs typeface="Simplon BP Regular"/>
              </a:rPr>
              <a:t>SUBTÍTULOS</a:t>
            </a:r>
          </a:p>
          <a:p>
            <a:pPr fontAlgn="auto">
              <a:lnSpc>
                <a:spcPts val="2744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2744" dirty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42" name="TextBox 41"/>
          <p:cNvSpPr txBox="1"/>
          <p:nvPr/>
        </p:nvSpPr>
        <p:spPr>
          <a:xfrm>
            <a:off x="-3988733" y="4728478"/>
            <a:ext cx="3579590" cy="38734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fontAlgn="auto">
              <a:lnSpc>
                <a:spcPts val="1372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372" dirty="0" err="1">
                <a:solidFill>
                  <a:srgbClr val="4D4D4D"/>
                </a:solidFill>
                <a:latin typeface="Simplon BP Regular"/>
                <a:cs typeface="Simplon BP Regular"/>
              </a:rPr>
              <a:t>Textos</a:t>
            </a:r>
            <a:r>
              <a:rPr lang="en-US" sz="1372" dirty="0">
                <a:solidFill>
                  <a:srgbClr val="4D4D4D"/>
                </a:solidFill>
                <a:latin typeface="Simplon BP Regular"/>
                <a:cs typeface="Simplon BP Regular"/>
              </a:rPr>
              <a:t> Simplon BP Regular 14pt</a:t>
            </a:r>
          </a:p>
        </p:txBody>
      </p:sp>
      <p:sp>
        <p:nvSpPr>
          <p:cNvPr id="74" name="Rectangle 35"/>
          <p:cNvSpPr/>
          <p:nvPr/>
        </p:nvSpPr>
        <p:spPr>
          <a:xfrm>
            <a:off x="13078579" y="403901"/>
            <a:ext cx="1158625" cy="352930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pt-BR" sz="1176" dirty="0">
                <a:solidFill>
                  <a:srgbClr val="4D4D4D"/>
                </a:solidFill>
                <a:latin typeface="Simplon BP Regular"/>
                <a:cs typeface="Simplon BP Regular"/>
              </a:rPr>
              <a:t>ROXO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1176" dirty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1176" dirty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1176" dirty="0">
                <a:solidFill>
                  <a:srgbClr val="4D4D4D"/>
                </a:solidFill>
                <a:latin typeface="Simplon BP Regular"/>
                <a:cs typeface="Simplon BP Regular"/>
              </a:rPr>
              <a:t>ROSA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1176" dirty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1176" dirty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1176" dirty="0">
                <a:solidFill>
                  <a:srgbClr val="4D4D4D"/>
                </a:solidFill>
                <a:latin typeface="Simplon BP Regular"/>
                <a:cs typeface="Simplon BP Regular"/>
              </a:rPr>
              <a:t>LARANJA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1176" dirty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1176" dirty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1176" dirty="0">
                <a:solidFill>
                  <a:srgbClr val="4D4D4D"/>
                </a:solidFill>
                <a:latin typeface="Simplon BP Regular"/>
                <a:cs typeface="Simplon BP Regular"/>
              </a:rPr>
              <a:t>AMARELO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1176" dirty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1176" dirty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1176" dirty="0">
                <a:solidFill>
                  <a:srgbClr val="4D4D4D"/>
                </a:solidFill>
                <a:latin typeface="Simplon BP Regular"/>
                <a:cs typeface="Simplon BP Regular"/>
              </a:rPr>
              <a:t>VERDE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1176" dirty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1176" dirty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1176" dirty="0">
                <a:solidFill>
                  <a:srgbClr val="4D4D4D"/>
                </a:solidFill>
                <a:latin typeface="Simplon BP Regular"/>
                <a:cs typeface="Simplon BP Regular"/>
              </a:rPr>
              <a:t>AZUL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1176" dirty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1176" dirty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1176" dirty="0">
                <a:solidFill>
                  <a:srgbClr val="4D4D4D"/>
                </a:solidFill>
                <a:latin typeface="Simplon BP Regular"/>
                <a:cs typeface="Simplon BP Regular"/>
              </a:rPr>
              <a:t>CINZA</a:t>
            </a:r>
            <a:endParaRPr lang="hr-HR" sz="1176" dirty="0">
              <a:solidFill>
                <a:srgbClr val="4D4D4D"/>
              </a:solidFill>
              <a:latin typeface="Simplon BP Regular"/>
              <a:cs typeface="Simplon BP Regular"/>
            </a:endParaRPr>
          </a:p>
        </p:txBody>
      </p:sp>
      <p:sp>
        <p:nvSpPr>
          <p:cNvPr id="75" name="Rectangle 36"/>
          <p:cNvSpPr/>
          <p:nvPr/>
        </p:nvSpPr>
        <p:spPr>
          <a:xfrm>
            <a:off x="13089725" y="1418608"/>
            <a:ext cx="1771986" cy="27148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1176" dirty="0">
                <a:solidFill>
                  <a:srgbClr val="4D4E50"/>
                </a:solidFill>
                <a:latin typeface="Simplon BP Regular"/>
                <a:cs typeface="Simplon BP Regular"/>
              </a:rPr>
              <a:t>R 234  G 40  B 140</a:t>
            </a:r>
          </a:p>
        </p:txBody>
      </p:sp>
      <p:sp>
        <p:nvSpPr>
          <p:cNvPr id="76" name="Rectangle 37"/>
          <p:cNvSpPr/>
          <p:nvPr/>
        </p:nvSpPr>
        <p:spPr>
          <a:xfrm>
            <a:off x="13089725" y="704023"/>
            <a:ext cx="1771986" cy="27148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44810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176" dirty="0">
                <a:solidFill>
                  <a:srgbClr val="4D4E50"/>
                </a:solidFill>
                <a:latin typeface="Simplon BP Regular"/>
                <a:cs typeface="Simplon BP Regular"/>
              </a:rPr>
              <a:t>R 160  G 43  B 255 </a:t>
            </a:r>
          </a:p>
        </p:txBody>
      </p:sp>
      <p:sp>
        <p:nvSpPr>
          <p:cNvPr id="77" name="Rectangle 38"/>
          <p:cNvSpPr/>
          <p:nvPr/>
        </p:nvSpPr>
        <p:spPr>
          <a:xfrm>
            <a:off x="13089725" y="2086869"/>
            <a:ext cx="1771986" cy="27148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1176" dirty="0">
                <a:solidFill>
                  <a:srgbClr val="4D4E50"/>
                </a:solidFill>
                <a:latin typeface="Simplon BP Regular"/>
                <a:cs typeface="Simplon BP Regular"/>
              </a:rPr>
              <a:t>R 255  G 109  B 0</a:t>
            </a:r>
          </a:p>
        </p:txBody>
      </p:sp>
      <p:sp>
        <p:nvSpPr>
          <p:cNvPr id="78" name="Rectangle 39"/>
          <p:cNvSpPr/>
          <p:nvPr/>
        </p:nvSpPr>
        <p:spPr>
          <a:xfrm>
            <a:off x="13089725" y="2811656"/>
            <a:ext cx="1771986" cy="27148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1176" dirty="0">
                <a:solidFill>
                  <a:srgbClr val="4D4E50"/>
                </a:solidFill>
                <a:latin typeface="Simplon BP Regular"/>
                <a:cs typeface="Simplon BP Regular"/>
              </a:rPr>
              <a:t>R 255  G 255  B 0</a:t>
            </a:r>
          </a:p>
        </p:txBody>
      </p:sp>
      <p:sp>
        <p:nvSpPr>
          <p:cNvPr id="79" name="Rectangle 39"/>
          <p:cNvSpPr/>
          <p:nvPr/>
        </p:nvSpPr>
        <p:spPr>
          <a:xfrm>
            <a:off x="13089725" y="3539725"/>
            <a:ext cx="1771986" cy="27148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1176" dirty="0">
                <a:solidFill>
                  <a:srgbClr val="4D4E50"/>
                </a:solidFill>
                <a:latin typeface="Simplon BP Regular"/>
                <a:cs typeface="Simplon BP Regular"/>
              </a:rPr>
              <a:t>R 0  G 211  B 24</a:t>
            </a:r>
          </a:p>
        </p:txBody>
      </p:sp>
      <p:sp>
        <p:nvSpPr>
          <p:cNvPr id="80" name="Rectangle 39"/>
          <p:cNvSpPr/>
          <p:nvPr/>
        </p:nvSpPr>
        <p:spPr>
          <a:xfrm>
            <a:off x="13089725" y="4292049"/>
            <a:ext cx="1771986" cy="27148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1176" dirty="0">
                <a:solidFill>
                  <a:srgbClr val="4D4E50"/>
                </a:solidFill>
                <a:latin typeface="Simplon BP Regular"/>
                <a:cs typeface="Simplon BP Regular"/>
              </a:rPr>
              <a:t>R 0  G 206  B 255</a:t>
            </a:r>
          </a:p>
        </p:txBody>
      </p:sp>
      <p:sp>
        <p:nvSpPr>
          <p:cNvPr id="81" name="Freeform 5"/>
          <p:cNvSpPr>
            <a:spLocks/>
          </p:cNvSpPr>
          <p:nvPr/>
        </p:nvSpPr>
        <p:spPr bwMode="auto">
          <a:xfrm>
            <a:off x="12171818" y="3989911"/>
            <a:ext cx="931451" cy="667999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89618" tIns="44809" rIns="89618" bIns="44809" numCol="1" anchor="t" anchorCtr="0" compatLnSpc="1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pt-BR" sz="1764">
              <a:solidFill>
                <a:prstClr val="black"/>
              </a:solidFill>
              <a:latin typeface="Arial"/>
            </a:endParaRPr>
          </a:p>
        </p:txBody>
      </p:sp>
      <p:sp>
        <p:nvSpPr>
          <p:cNvPr id="82" name="Freeform 5"/>
          <p:cNvSpPr>
            <a:spLocks/>
          </p:cNvSpPr>
          <p:nvPr/>
        </p:nvSpPr>
        <p:spPr bwMode="auto">
          <a:xfrm>
            <a:off x="12171818" y="3272700"/>
            <a:ext cx="931451" cy="667999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89618" tIns="44809" rIns="89618" bIns="44809" numCol="1" anchor="t" anchorCtr="0" compatLnSpc="1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pt-BR" sz="1764">
              <a:solidFill>
                <a:prstClr val="black"/>
              </a:solidFill>
              <a:latin typeface="Arial"/>
            </a:endParaRPr>
          </a:p>
        </p:txBody>
      </p:sp>
      <p:sp>
        <p:nvSpPr>
          <p:cNvPr id="83" name="Freeform 5"/>
          <p:cNvSpPr>
            <a:spLocks/>
          </p:cNvSpPr>
          <p:nvPr/>
        </p:nvSpPr>
        <p:spPr bwMode="auto">
          <a:xfrm>
            <a:off x="12171818" y="2555519"/>
            <a:ext cx="931451" cy="667999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89618" tIns="44809" rIns="89618" bIns="44809" numCol="1" anchor="t" anchorCtr="0" compatLnSpc="1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pt-BR" sz="1764">
              <a:solidFill>
                <a:prstClr val="black"/>
              </a:solidFill>
              <a:latin typeface="Arial"/>
            </a:endParaRPr>
          </a:p>
        </p:txBody>
      </p:sp>
      <p:sp>
        <p:nvSpPr>
          <p:cNvPr id="84" name="Freeform 5"/>
          <p:cNvSpPr>
            <a:spLocks/>
          </p:cNvSpPr>
          <p:nvPr/>
        </p:nvSpPr>
        <p:spPr bwMode="auto">
          <a:xfrm>
            <a:off x="12171818" y="1838320"/>
            <a:ext cx="931451" cy="667999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89618" tIns="44809" rIns="89618" bIns="44809" numCol="1" anchor="t" anchorCtr="0" compatLnSpc="1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pt-BR" sz="1764">
              <a:solidFill>
                <a:prstClr val="black"/>
              </a:solidFill>
              <a:latin typeface="Arial"/>
            </a:endParaRPr>
          </a:p>
        </p:txBody>
      </p:sp>
      <p:sp>
        <p:nvSpPr>
          <p:cNvPr id="85" name="Freeform 5"/>
          <p:cNvSpPr>
            <a:spLocks/>
          </p:cNvSpPr>
          <p:nvPr/>
        </p:nvSpPr>
        <p:spPr bwMode="auto">
          <a:xfrm>
            <a:off x="12171818" y="1121120"/>
            <a:ext cx="931451" cy="667999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89618" tIns="44809" rIns="89618" bIns="44809" numCol="1" anchor="t" anchorCtr="0" compatLnSpc="1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pt-BR" sz="1764">
              <a:solidFill>
                <a:prstClr val="black"/>
              </a:solidFill>
              <a:latin typeface="Arial"/>
            </a:endParaRPr>
          </a:p>
        </p:txBody>
      </p:sp>
      <p:sp>
        <p:nvSpPr>
          <p:cNvPr id="86" name="Freeform 5"/>
          <p:cNvSpPr>
            <a:spLocks/>
          </p:cNvSpPr>
          <p:nvPr/>
        </p:nvSpPr>
        <p:spPr bwMode="auto">
          <a:xfrm>
            <a:off x="12171818" y="403924"/>
            <a:ext cx="931451" cy="667999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89618" tIns="44809" rIns="89618" bIns="44809" numCol="1" anchor="t" anchorCtr="0" compatLnSpc="1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pt-BR" sz="1764">
              <a:solidFill>
                <a:prstClr val="black"/>
              </a:solidFill>
              <a:latin typeface="Arial"/>
            </a:endParaRPr>
          </a:p>
        </p:txBody>
      </p:sp>
      <p:sp>
        <p:nvSpPr>
          <p:cNvPr id="87" name="Rectangle 39"/>
          <p:cNvSpPr/>
          <p:nvPr/>
        </p:nvSpPr>
        <p:spPr>
          <a:xfrm>
            <a:off x="13089725" y="5022123"/>
            <a:ext cx="1771986" cy="27148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1176" dirty="0">
                <a:solidFill>
                  <a:srgbClr val="4D4E50"/>
                </a:solidFill>
                <a:latin typeface="Simplon BP Regular"/>
                <a:cs typeface="Simplon BP Regular"/>
              </a:rPr>
              <a:t>R 77  G 77  B 77</a:t>
            </a:r>
          </a:p>
        </p:txBody>
      </p:sp>
      <p:sp>
        <p:nvSpPr>
          <p:cNvPr id="88" name="Freeform 5"/>
          <p:cNvSpPr>
            <a:spLocks/>
          </p:cNvSpPr>
          <p:nvPr/>
        </p:nvSpPr>
        <p:spPr bwMode="auto">
          <a:xfrm>
            <a:off x="12171818" y="4719989"/>
            <a:ext cx="931451" cy="667999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89618" tIns="44809" rIns="89618" bIns="44809" numCol="1" anchor="t" anchorCtr="0" compatLnSpc="1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pt-BR" sz="1764">
              <a:solidFill>
                <a:prstClr val="black"/>
              </a:solidFill>
              <a:latin typeface="Arial"/>
            </a:endParaRPr>
          </a:p>
        </p:txBody>
      </p:sp>
      <p:sp>
        <p:nvSpPr>
          <p:cNvPr id="104" name="TextBox 39"/>
          <p:cNvSpPr txBox="1"/>
          <p:nvPr/>
        </p:nvSpPr>
        <p:spPr>
          <a:xfrm>
            <a:off x="12171833" y="18111"/>
            <a:ext cx="1609760" cy="34286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fontAlgn="auto">
              <a:spcBef>
                <a:spcPts val="784"/>
              </a:spcBef>
              <a:spcAft>
                <a:spcPts val="0"/>
              </a:spcAft>
            </a:pPr>
            <a:r>
              <a:rPr lang="en-US" sz="1568" dirty="0">
                <a:solidFill>
                  <a:srgbClr val="4D4D4D"/>
                </a:solidFill>
                <a:latin typeface="Simplon Oi Headline"/>
                <a:cs typeface="Simplon Oi Headline"/>
              </a:rPr>
              <a:t>Cores </a:t>
            </a:r>
            <a:r>
              <a:rPr lang="en-US" sz="1568" dirty="0" err="1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endParaRPr lang="en-US" sz="1568" dirty="0">
              <a:solidFill>
                <a:srgbClr val="4D4D4D"/>
              </a:solidFill>
              <a:latin typeface="Simplon Oi Headline"/>
              <a:cs typeface="Simplon Oi Headline"/>
            </a:endParaRPr>
          </a:p>
        </p:txBody>
      </p:sp>
      <p:sp>
        <p:nvSpPr>
          <p:cNvPr id="105" name="TextBox 39"/>
          <p:cNvSpPr txBox="1"/>
          <p:nvPr/>
        </p:nvSpPr>
        <p:spPr>
          <a:xfrm>
            <a:off x="-8908" y="6876504"/>
            <a:ext cx="8262305" cy="34286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fontAlgn="auto">
              <a:spcBef>
                <a:spcPts val="784"/>
              </a:spcBef>
              <a:spcAft>
                <a:spcPts val="0"/>
              </a:spcAft>
            </a:pPr>
            <a:r>
              <a:rPr lang="en-US" sz="1568" dirty="0" err="1">
                <a:solidFill>
                  <a:srgbClr val="4D4D4D"/>
                </a:solidFill>
                <a:latin typeface="Simplon Oi Headline"/>
                <a:cs typeface="Simplon Oi Headline"/>
              </a:rPr>
              <a:t>Esquemas</a:t>
            </a:r>
            <a:r>
              <a:rPr lang="en-US" sz="1568" dirty="0">
                <a:solidFill>
                  <a:srgbClr val="4D4D4D"/>
                </a:solidFill>
                <a:latin typeface="Simplon Oi Headline"/>
                <a:cs typeface="Simplon Oi Headline"/>
              </a:rPr>
              <a:t> de cores </a:t>
            </a:r>
            <a:r>
              <a:rPr lang="en-US" sz="1568" dirty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(</a:t>
            </a:r>
            <a:r>
              <a:rPr lang="en-US" sz="1568" dirty="0" err="1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usar</a:t>
            </a:r>
            <a:r>
              <a:rPr lang="en-US" sz="1568" dirty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</a:t>
            </a:r>
            <a:r>
              <a:rPr lang="en-US" sz="1568" dirty="0" err="1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apenas</a:t>
            </a:r>
            <a:r>
              <a:rPr lang="en-US" sz="1568" dirty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2 cores dos </a:t>
            </a:r>
            <a:r>
              <a:rPr lang="en-US" sz="1568" dirty="0" err="1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esquemas</a:t>
            </a:r>
            <a:r>
              <a:rPr lang="en-US" sz="1568" dirty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</a:t>
            </a:r>
            <a:r>
              <a:rPr lang="en-US" sz="1568" dirty="0" err="1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abaixo</a:t>
            </a:r>
            <a:r>
              <a:rPr lang="en-US" sz="1568" dirty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)</a:t>
            </a:r>
          </a:p>
        </p:txBody>
      </p:sp>
      <p:sp>
        <p:nvSpPr>
          <p:cNvPr id="106" name="Freeform 5"/>
          <p:cNvSpPr>
            <a:spLocks/>
          </p:cNvSpPr>
          <p:nvPr/>
        </p:nvSpPr>
        <p:spPr bwMode="auto">
          <a:xfrm>
            <a:off x="0" y="7244272"/>
            <a:ext cx="2893928" cy="667999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89618" tIns="44809" rIns="89618" bIns="44809" numCol="1" anchor="t" anchorCtr="0" compatLnSpc="1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pt-BR" sz="1764">
              <a:solidFill>
                <a:prstClr val="black"/>
              </a:solidFill>
              <a:latin typeface="Arial"/>
            </a:endParaRPr>
          </a:p>
        </p:txBody>
      </p:sp>
      <p:sp>
        <p:nvSpPr>
          <p:cNvPr id="107" name="Freeform 5"/>
          <p:cNvSpPr>
            <a:spLocks/>
          </p:cNvSpPr>
          <p:nvPr/>
        </p:nvSpPr>
        <p:spPr bwMode="auto">
          <a:xfrm>
            <a:off x="-1" y="7978032"/>
            <a:ext cx="931451" cy="667999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89618" tIns="44809" rIns="89618" bIns="44809" numCol="1" anchor="t" anchorCtr="0" compatLnSpc="1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pt-BR" sz="1764">
              <a:solidFill>
                <a:prstClr val="black"/>
              </a:solidFill>
              <a:latin typeface="Arial"/>
            </a:endParaRPr>
          </a:p>
        </p:txBody>
      </p:sp>
      <p:sp>
        <p:nvSpPr>
          <p:cNvPr id="108" name="Freeform 5"/>
          <p:cNvSpPr>
            <a:spLocks/>
          </p:cNvSpPr>
          <p:nvPr/>
        </p:nvSpPr>
        <p:spPr bwMode="auto">
          <a:xfrm>
            <a:off x="981237" y="7978029"/>
            <a:ext cx="931451" cy="667999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89618" tIns="44809" rIns="89618" bIns="44809" numCol="1" anchor="t" anchorCtr="0" compatLnSpc="1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pt-BR" sz="1764">
              <a:solidFill>
                <a:prstClr val="black"/>
              </a:solidFill>
              <a:latin typeface="Arial"/>
            </a:endParaRPr>
          </a:p>
        </p:txBody>
      </p:sp>
      <p:sp>
        <p:nvSpPr>
          <p:cNvPr id="109" name="Freeform 5"/>
          <p:cNvSpPr>
            <a:spLocks/>
          </p:cNvSpPr>
          <p:nvPr/>
        </p:nvSpPr>
        <p:spPr bwMode="auto">
          <a:xfrm>
            <a:off x="1962478" y="7978029"/>
            <a:ext cx="931451" cy="667999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89618" tIns="44809" rIns="89618" bIns="44809" numCol="1" anchor="t" anchorCtr="0" compatLnSpc="1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pt-BR" sz="1764">
              <a:solidFill>
                <a:prstClr val="black"/>
              </a:solidFill>
              <a:latin typeface="Arial"/>
            </a:endParaRPr>
          </a:p>
        </p:txBody>
      </p:sp>
      <p:sp>
        <p:nvSpPr>
          <p:cNvPr id="110" name="Freeform 5"/>
          <p:cNvSpPr>
            <a:spLocks/>
          </p:cNvSpPr>
          <p:nvPr/>
        </p:nvSpPr>
        <p:spPr bwMode="auto">
          <a:xfrm>
            <a:off x="3160500" y="7244272"/>
            <a:ext cx="2893928" cy="667999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89618" tIns="44809" rIns="89618" bIns="44809" numCol="1" anchor="t" anchorCtr="0" compatLnSpc="1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pt-BR" sz="1764">
              <a:solidFill>
                <a:prstClr val="black"/>
              </a:solidFill>
              <a:latin typeface="Arial"/>
            </a:endParaRPr>
          </a:p>
        </p:txBody>
      </p:sp>
      <p:sp>
        <p:nvSpPr>
          <p:cNvPr id="111" name="Freeform 5"/>
          <p:cNvSpPr>
            <a:spLocks/>
          </p:cNvSpPr>
          <p:nvPr/>
        </p:nvSpPr>
        <p:spPr bwMode="auto">
          <a:xfrm>
            <a:off x="3160501" y="7978032"/>
            <a:ext cx="931451" cy="667999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89618" tIns="44809" rIns="89618" bIns="44809" numCol="1" anchor="t" anchorCtr="0" compatLnSpc="1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pt-BR" sz="1764">
              <a:solidFill>
                <a:prstClr val="black"/>
              </a:solidFill>
              <a:latin typeface="Arial"/>
            </a:endParaRPr>
          </a:p>
        </p:txBody>
      </p:sp>
      <p:sp>
        <p:nvSpPr>
          <p:cNvPr id="112" name="Freeform 5"/>
          <p:cNvSpPr>
            <a:spLocks/>
          </p:cNvSpPr>
          <p:nvPr/>
        </p:nvSpPr>
        <p:spPr bwMode="auto">
          <a:xfrm>
            <a:off x="4141737" y="7978029"/>
            <a:ext cx="931451" cy="667999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89618" tIns="44809" rIns="89618" bIns="44809" numCol="1" anchor="t" anchorCtr="0" compatLnSpc="1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pt-BR" sz="1764">
              <a:solidFill>
                <a:prstClr val="black"/>
              </a:solidFill>
              <a:latin typeface="Arial"/>
            </a:endParaRPr>
          </a:p>
        </p:txBody>
      </p:sp>
      <p:sp>
        <p:nvSpPr>
          <p:cNvPr id="113" name="Freeform 5"/>
          <p:cNvSpPr>
            <a:spLocks/>
          </p:cNvSpPr>
          <p:nvPr/>
        </p:nvSpPr>
        <p:spPr bwMode="auto">
          <a:xfrm>
            <a:off x="5122978" y="7978029"/>
            <a:ext cx="931451" cy="667999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89618" tIns="44809" rIns="89618" bIns="44809" numCol="1" anchor="t" anchorCtr="0" compatLnSpc="1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pt-BR" sz="1764">
              <a:solidFill>
                <a:prstClr val="black"/>
              </a:solidFill>
              <a:latin typeface="Arial"/>
            </a:endParaRPr>
          </a:p>
        </p:txBody>
      </p:sp>
      <p:sp>
        <p:nvSpPr>
          <p:cNvPr id="114" name="Freeform 5"/>
          <p:cNvSpPr>
            <a:spLocks/>
          </p:cNvSpPr>
          <p:nvPr/>
        </p:nvSpPr>
        <p:spPr bwMode="auto">
          <a:xfrm>
            <a:off x="6290919" y="7244272"/>
            <a:ext cx="2893928" cy="667999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89618" tIns="44809" rIns="89618" bIns="44809" numCol="1" anchor="t" anchorCtr="0" compatLnSpc="1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pt-BR" sz="1764">
              <a:solidFill>
                <a:prstClr val="black"/>
              </a:solidFill>
              <a:latin typeface="Arial"/>
            </a:endParaRPr>
          </a:p>
        </p:txBody>
      </p:sp>
      <p:sp>
        <p:nvSpPr>
          <p:cNvPr id="115" name="Freeform 5"/>
          <p:cNvSpPr>
            <a:spLocks/>
          </p:cNvSpPr>
          <p:nvPr/>
        </p:nvSpPr>
        <p:spPr bwMode="auto">
          <a:xfrm>
            <a:off x="6290921" y="7978029"/>
            <a:ext cx="931451" cy="667999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89618" tIns="44809" rIns="89618" bIns="44809" numCol="1" anchor="t" anchorCtr="0" compatLnSpc="1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pt-BR" sz="1764">
              <a:solidFill>
                <a:prstClr val="black"/>
              </a:solidFill>
              <a:latin typeface="Arial"/>
            </a:endParaRPr>
          </a:p>
        </p:txBody>
      </p:sp>
      <p:sp>
        <p:nvSpPr>
          <p:cNvPr id="116" name="Freeform 5"/>
          <p:cNvSpPr>
            <a:spLocks/>
          </p:cNvSpPr>
          <p:nvPr/>
        </p:nvSpPr>
        <p:spPr bwMode="auto">
          <a:xfrm>
            <a:off x="7272159" y="7978029"/>
            <a:ext cx="931451" cy="667999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89618" tIns="44809" rIns="89618" bIns="44809" numCol="1" anchor="t" anchorCtr="0" compatLnSpc="1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pt-BR" sz="1764">
              <a:solidFill>
                <a:prstClr val="black"/>
              </a:solidFill>
              <a:latin typeface="Arial"/>
            </a:endParaRPr>
          </a:p>
        </p:txBody>
      </p:sp>
      <p:sp>
        <p:nvSpPr>
          <p:cNvPr id="117" name="Freeform 5"/>
          <p:cNvSpPr>
            <a:spLocks/>
          </p:cNvSpPr>
          <p:nvPr/>
        </p:nvSpPr>
        <p:spPr bwMode="auto">
          <a:xfrm>
            <a:off x="8253396" y="7978032"/>
            <a:ext cx="931451" cy="667999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89618" tIns="44809" rIns="89618" bIns="44809" numCol="1" anchor="t" anchorCtr="0" compatLnSpc="1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pt-BR" sz="1764">
              <a:solidFill>
                <a:prstClr val="black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2569185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393" r:id="rId1"/>
    <p:sldLayoutId id="2147486394" r:id="rId2"/>
    <p:sldLayoutId id="2147486395" r:id="rId3"/>
    <p:sldLayoutId id="2147486396" r:id="rId4"/>
    <p:sldLayoutId id="2147486398" r:id="rId5"/>
    <p:sldLayoutId id="2147486399" r:id="rId6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448102" rtl="0" eaLnBrk="1" latinLnBrk="0" hangingPunct="1">
        <a:lnSpc>
          <a:spcPts val="2352"/>
        </a:lnSpc>
        <a:spcBef>
          <a:spcPts val="1078"/>
        </a:spcBef>
        <a:buNone/>
        <a:defRPr sz="2156" i="1" kern="1200">
          <a:solidFill>
            <a:schemeClr val="tx1"/>
          </a:solidFill>
          <a:latin typeface="+mn-lt"/>
          <a:ea typeface="+mj-ea"/>
          <a:cs typeface="Arial"/>
        </a:defRPr>
      </a:lvl1pPr>
    </p:titleStyle>
    <p:bodyStyle>
      <a:lvl1pPr marL="0" indent="0" algn="l" defTabSz="448102" rtl="0" eaLnBrk="1" latinLnBrk="0" hangingPunct="1">
        <a:lnSpc>
          <a:spcPts val="1960"/>
        </a:lnSpc>
        <a:spcBef>
          <a:spcPts val="882"/>
        </a:spcBef>
        <a:buFont typeface="Arial"/>
        <a:buNone/>
        <a:defRPr sz="1764" b="0" i="0" kern="1200" baseline="0">
          <a:solidFill>
            <a:schemeClr val="tx1"/>
          </a:solidFill>
          <a:latin typeface="Museo Sans 300"/>
          <a:ea typeface="+mn-ea"/>
          <a:cs typeface="Museo Sans 300"/>
        </a:defRPr>
      </a:lvl1pPr>
      <a:lvl2pPr marL="172706" indent="-172706" algn="l" defTabSz="448102" rtl="0" eaLnBrk="1" latinLnBrk="0" hangingPunct="1">
        <a:lnSpc>
          <a:spcPts val="1960"/>
        </a:lnSpc>
        <a:spcBef>
          <a:spcPts val="882"/>
        </a:spcBef>
        <a:buSzPct val="50000"/>
        <a:buFont typeface="Arial"/>
        <a:buChar char="•"/>
        <a:tabLst/>
        <a:defRPr sz="1764" b="0" i="0" kern="1200">
          <a:solidFill>
            <a:schemeClr val="tx1"/>
          </a:solidFill>
          <a:latin typeface="Museo Sans 300"/>
          <a:ea typeface="+mn-ea"/>
          <a:cs typeface="Museo Sans 300"/>
        </a:defRPr>
      </a:lvl2pPr>
      <a:lvl3pPr marL="896203" indent="0" algn="l" defTabSz="448102" rtl="0" eaLnBrk="1" latinLnBrk="0" hangingPunct="1">
        <a:lnSpc>
          <a:spcPts val="2156"/>
        </a:lnSpc>
        <a:spcBef>
          <a:spcPts val="0"/>
        </a:spcBef>
        <a:buFont typeface="Arial"/>
        <a:buNone/>
        <a:defRPr sz="1568" b="0" i="0" kern="1200">
          <a:solidFill>
            <a:schemeClr val="tx1"/>
          </a:solidFill>
          <a:latin typeface="Museo Sans 300"/>
          <a:ea typeface="+mn-ea"/>
          <a:cs typeface="Museo Sans 300"/>
        </a:defRPr>
      </a:lvl3pPr>
      <a:lvl4pPr marL="1344305" indent="0" algn="l" defTabSz="448102" rtl="0" eaLnBrk="1" latinLnBrk="0" hangingPunct="1">
        <a:lnSpc>
          <a:spcPts val="2156"/>
        </a:lnSpc>
        <a:spcBef>
          <a:spcPts val="0"/>
        </a:spcBef>
        <a:buFont typeface="Arial"/>
        <a:buNone/>
        <a:defRPr sz="1372" b="0" i="0" kern="1200">
          <a:solidFill>
            <a:schemeClr val="tx1"/>
          </a:solidFill>
          <a:latin typeface="Museo Sans 300"/>
          <a:ea typeface="+mn-ea"/>
          <a:cs typeface="Museo Sans 300"/>
        </a:defRPr>
      </a:lvl4pPr>
      <a:lvl5pPr marL="1792407" indent="0" algn="l" defTabSz="448102" rtl="0" eaLnBrk="1" latinLnBrk="0" hangingPunct="1">
        <a:lnSpc>
          <a:spcPts val="2156"/>
        </a:lnSpc>
        <a:spcBef>
          <a:spcPts val="0"/>
        </a:spcBef>
        <a:buFont typeface="Arial"/>
        <a:buNone/>
        <a:defRPr sz="1372" b="0" i="0" kern="1200">
          <a:solidFill>
            <a:schemeClr val="tx1"/>
          </a:solidFill>
          <a:latin typeface="Museo Sans 300"/>
          <a:ea typeface="+mn-ea"/>
          <a:cs typeface="Museo Sans 300"/>
        </a:defRPr>
      </a:lvl5pPr>
      <a:lvl6pPr marL="2464559" indent="-224051" algn="l" defTabSz="448102" rtl="0" eaLnBrk="1" latinLnBrk="0" hangingPunct="1">
        <a:spcBef>
          <a:spcPct val="20000"/>
        </a:spcBef>
        <a:buFont typeface="Arial"/>
        <a:buChar char="•"/>
        <a:defRPr sz="1960" kern="1200">
          <a:solidFill>
            <a:schemeClr val="tx1"/>
          </a:solidFill>
          <a:latin typeface="+mn-lt"/>
          <a:ea typeface="+mn-ea"/>
          <a:cs typeface="+mn-cs"/>
        </a:defRPr>
      </a:lvl6pPr>
      <a:lvl7pPr marL="2912661" indent="-224051" algn="l" defTabSz="448102" rtl="0" eaLnBrk="1" latinLnBrk="0" hangingPunct="1">
        <a:spcBef>
          <a:spcPct val="20000"/>
        </a:spcBef>
        <a:buFont typeface="Arial"/>
        <a:buChar char="•"/>
        <a:defRPr sz="1960" kern="1200">
          <a:solidFill>
            <a:schemeClr val="tx1"/>
          </a:solidFill>
          <a:latin typeface="+mn-lt"/>
          <a:ea typeface="+mn-ea"/>
          <a:cs typeface="+mn-cs"/>
        </a:defRPr>
      </a:lvl7pPr>
      <a:lvl8pPr marL="3360763" indent="-224051" algn="l" defTabSz="448102" rtl="0" eaLnBrk="1" latinLnBrk="0" hangingPunct="1">
        <a:spcBef>
          <a:spcPct val="20000"/>
        </a:spcBef>
        <a:buFont typeface="Arial"/>
        <a:buChar char="•"/>
        <a:defRPr sz="1960" kern="1200">
          <a:solidFill>
            <a:schemeClr val="tx1"/>
          </a:solidFill>
          <a:latin typeface="+mn-lt"/>
          <a:ea typeface="+mn-ea"/>
          <a:cs typeface="+mn-cs"/>
        </a:defRPr>
      </a:lvl8pPr>
      <a:lvl9pPr marL="3808865" indent="-224051" algn="l" defTabSz="448102" rtl="0" eaLnBrk="1" latinLnBrk="0" hangingPunct="1">
        <a:spcBef>
          <a:spcPct val="20000"/>
        </a:spcBef>
        <a:buFont typeface="Arial"/>
        <a:buChar char="•"/>
        <a:defRPr sz="196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48102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1pPr>
      <a:lvl2pPr marL="448102" algn="l" defTabSz="448102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2pPr>
      <a:lvl3pPr marL="896203" algn="l" defTabSz="448102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3pPr>
      <a:lvl4pPr marL="1344305" algn="l" defTabSz="448102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4pPr>
      <a:lvl5pPr marL="1792407" algn="l" defTabSz="448102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5pPr>
      <a:lvl6pPr marL="2240509" algn="l" defTabSz="448102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6pPr>
      <a:lvl7pPr marL="2688610" algn="l" defTabSz="448102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7pPr>
      <a:lvl8pPr marL="3136712" algn="l" defTabSz="448102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8pPr>
      <a:lvl9pPr marL="3584814" algn="l" defTabSz="448102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3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18"/>
            </p:custDataLst>
            <p:extLst/>
          </p:nvPr>
        </p:nvGraphicFramePr>
        <p:xfrm>
          <a:off x="2077" y="2076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7294" name="think-cell Slide" r:id="rId19" imgW="470" imgH="469" progId="TCLayout.ActiveDocument.1">
                  <p:embed/>
                </p:oleObj>
              </mc:Choice>
              <mc:Fallback>
                <p:oleObj name="think-cell Slide" r:id="rId19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2077" y="2076"/>
                        <a:ext cx="2074" cy="20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79" y="1854628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3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3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3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3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3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1980" y="358899"/>
            <a:ext cx="10725159" cy="93146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2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7457" y="6371917"/>
            <a:ext cx="10176096" cy="28226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68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4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3552" y="6371917"/>
            <a:ext cx="578105" cy="28226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68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fld id="{74850952-3374-434C-8FC6-DE28F8CD25B0}" type="slidenum">
              <a:rPr lang="pt-BR" smtClean="0">
                <a:solidFill>
                  <a:srgbClr val="5F5F5F"/>
                </a:solidFill>
              </a:rPr>
              <a:pPr defTabSz="597454" fontAlgn="auto">
                <a:spcBef>
                  <a:spcPts val="0"/>
                </a:spcBef>
                <a:spcAft>
                  <a:spcPts val="0"/>
                </a:spcAft>
              </a:pPr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44" name="TextBox 43"/>
          <p:cNvSpPr txBox="1"/>
          <p:nvPr userDrawn="1"/>
        </p:nvSpPr>
        <p:spPr>
          <a:xfrm>
            <a:off x="-281815" y="73630"/>
            <a:ext cx="234102" cy="1781519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7454" fontAlgn="auto">
              <a:spcBef>
                <a:spcPts val="0"/>
              </a:spcBef>
              <a:spcAft>
                <a:spcPts val="0"/>
              </a:spcAft>
            </a:pPr>
            <a:r>
              <a:rPr lang="en-US" sz="1306" dirty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6" dirty="0" err="1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6" dirty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45" name="TextBox 44"/>
          <p:cNvSpPr txBox="1"/>
          <p:nvPr userDrawn="1"/>
        </p:nvSpPr>
        <p:spPr>
          <a:xfrm>
            <a:off x="-281815" y="1855149"/>
            <a:ext cx="234102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7454" fontAlgn="auto">
              <a:spcBef>
                <a:spcPts val="0"/>
              </a:spcBef>
              <a:spcAft>
                <a:spcPts val="0"/>
              </a:spcAft>
            </a:pPr>
            <a:r>
              <a:rPr lang="en-US" sz="1306" dirty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46" name="TextBox 45"/>
          <p:cNvSpPr txBox="1"/>
          <p:nvPr userDrawn="1"/>
        </p:nvSpPr>
        <p:spPr>
          <a:xfrm>
            <a:off x="-281815" y="4207633"/>
            <a:ext cx="234102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r>
              <a:rPr lang="en-US" sz="1306" dirty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47" name="Freeform 5"/>
          <p:cNvSpPr>
            <a:spLocks/>
          </p:cNvSpPr>
          <p:nvPr userDrawn="1"/>
        </p:nvSpPr>
        <p:spPr bwMode="auto">
          <a:xfrm>
            <a:off x="11944819" y="3078502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44" tIns="47044" rIns="47044" bIns="47044" numCol="1" anchor="t" anchorCtr="0" compatLnSpc="1">
            <a:prstTxWarp prst="textNoShape">
              <a:avLst/>
            </a:prstTxWarp>
          </a:bodyPr>
          <a:lstStyle/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r>
              <a:rPr lang="en-US" sz="914" dirty="0">
                <a:solidFill>
                  <a:srgbClr val="FFFFFF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r>
              <a:rPr lang="en-US" sz="914" dirty="0">
                <a:solidFill>
                  <a:srgbClr val="FFFFFF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r>
              <a:rPr lang="en-US" sz="914" dirty="0">
                <a:solidFill>
                  <a:srgbClr val="FFFFFF"/>
                </a:solidFill>
                <a:latin typeface="Simplon BP Regular"/>
                <a:cs typeface="Simplon BP Regular"/>
              </a:rPr>
              <a:t>B 255</a:t>
            </a:r>
          </a:p>
        </p:txBody>
      </p:sp>
      <p:sp>
        <p:nvSpPr>
          <p:cNvPr id="48" name="Freeform 47"/>
          <p:cNvSpPr>
            <a:spLocks/>
          </p:cNvSpPr>
          <p:nvPr userDrawn="1"/>
        </p:nvSpPr>
        <p:spPr bwMode="auto">
          <a:xfrm>
            <a:off x="11944819" y="2513906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44" tIns="47044" rIns="47044" bIns="47044" numCol="1" anchor="t" anchorCtr="0" compatLnSpc="1">
            <a:prstTxWarp prst="textNoShape">
              <a:avLst/>
            </a:prstTxWarp>
          </a:bodyPr>
          <a:lstStyle/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r>
              <a:rPr lang="en-US" sz="914" dirty="0">
                <a:solidFill>
                  <a:srgbClr val="FFFFFF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r>
              <a:rPr lang="en-US" sz="914" dirty="0">
                <a:solidFill>
                  <a:srgbClr val="FFFFFF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r>
              <a:rPr lang="en-US" sz="914" dirty="0">
                <a:solidFill>
                  <a:srgbClr val="FFFFFF"/>
                </a:solidFill>
                <a:latin typeface="Simplon BP Regular"/>
                <a:cs typeface="Simplon BP Regular"/>
              </a:rPr>
              <a:t>B 24</a:t>
            </a:r>
          </a:p>
        </p:txBody>
      </p:sp>
      <p:sp>
        <p:nvSpPr>
          <p:cNvPr id="49" name="Freeform 5"/>
          <p:cNvSpPr>
            <a:spLocks/>
          </p:cNvSpPr>
          <p:nvPr userDrawn="1"/>
        </p:nvSpPr>
        <p:spPr bwMode="auto">
          <a:xfrm>
            <a:off x="11944819" y="1949310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44" tIns="47044" rIns="47044" bIns="47044" numCol="1" anchor="t" anchorCtr="0" compatLnSpc="1">
            <a:prstTxWarp prst="textNoShape">
              <a:avLst/>
            </a:prstTxWarp>
          </a:bodyPr>
          <a:lstStyle/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r>
              <a:rPr lang="en-US" sz="914" dirty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r>
              <a:rPr lang="en-US" sz="914" dirty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r>
              <a:rPr lang="en-US" sz="914" dirty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</a:p>
        </p:txBody>
      </p:sp>
      <p:sp>
        <p:nvSpPr>
          <p:cNvPr id="50" name="Freeform 5"/>
          <p:cNvSpPr>
            <a:spLocks/>
          </p:cNvSpPr>
          <p:nvPr userDrawn="1"/>
        </p:nvSpPr>
        <p:spPr bwMode="auto">
          <a:xfrm>
            <a:off x="11944819" y="1384714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44" tIns="47044" rIns="47044" bIns="47044" numCol="1" anchor="t" anchorCtr="0" compatLnSpc="1">
            <a:prstTxWarp prst="textNoShape">
              <a:avLst/>
            </a:prstTxWarp>
          </a:bodyPr>
          <a:lstStyle/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r>
              <a:rPr lang="en-US" sz="914" dirty="0">
                <a:solidFill>
                  <a:srgbClr val="FFFFFF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r>
              <a:rPr lang="en-US" sz="914" dirty="0">
                <a:solidFill>
                  <a:srgbClr val="FFFFFF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r>
              <a:rPr lang="en-US" sz="914" dirty="0">
                <a:solidFill>
                  <a:srgbClr val="FFFFFF"/>
                </a:solidFill>
                <a:latin typeface="Simplon BP Regular"/>
                <a:cs typeface="Simplon BP Regular"/>
              </a:rPr>
              <a:t>B 0</a:t>
            </a:r>
          </a:p>
        </p:txBody>
      </p:sp>
      <p:sp>
        <p:nvSpPr>
          <p:cNvPr id="51" name="Freeform 50"/>
          <p:cNvSpPr>
            <a:spLocks/>
          </p:cNvSpPr>
          <p:nvPr userDrawn="1"/>
        </p:nvSpPr>
        <p:spPr bwMode="auto">
          <a:xfrm>
            <a:off x="11944819" y="820118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44" tIns="47044" rIns="47044" bIns="47044" numCol="1" anchor="t" anchorCtr="0" compatLnSpc="1">
            <a:prstTxWarp prst="textNoShape">
              <a:avLst/>
            </a:prstTxWarp>
          </a:bodyPr>
          <a:lstStyle/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r>
              <a:rPr lang="en-US" sz="914" dirty="0">
                <a:solidFill>
                  <a:srgbClr val="FFFFFF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r>
              <a:rPr lang="en-US" sz="914" dirty="0">
                <a:solidFill>
                  <a:srgbClr val="FFFFFF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r>
              <a:rPr lang="en-US" sz="914" dirty="0">
                <a:solidFill>
                  <a:srgbClr val="FFFFFF"/>
                </a:solidFill>
                <a:latin typeface="Simplon BP Regular"/>
                <a:cs typeface="Simplon BP Regular"/>
              </a:rPr>
              <a:t>B 140</a:t>
            </a:r>
          </a:p>
        </p:txBody>
      </p:sp>
      <p:sp>
        <p:nvSpPr>
          <p:cNvPr id="52" name="Freeform 5"/>
          <p:cNvSpPr>
            <a:spLocks/>
          </p:cNvSpPr>
          <p:nvPr userDrawn="1"/>
        </p:nvSpPr>
        <p:spPr bwMode="auto">
          <a:xfrm>
            <a:off x="11944819" y="258726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44" tIns="47044" rIns="47044" bIns="47044" numCol="1" anchor="t" anchorCtr="0" compatLnSpc="1">
            <a:prstTxWarp prst="textNoShape">
              <a:avLst/>
            </a:prstTxWarp>
          </a:bodyPr>
          <a:lstStyle/>
          <a:p>
            <a:pPr defTabSz="5974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14" dirty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74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14" dirty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74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14" dirty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</a:p>
        </p:txBody>
      </p:sp>
      <p:sp>
        <p:nvSpPr>
          <p:cNvPr id="53" name="Freeform 5"/>
          <p:cNvSpPr>
            <a:spLocks/>
          </p:cNvSpPr>
          <p:nvPr userDrawn="1"/>
        </p:nvSpPr>
        <p:spPr bwMode="auto">
          <a:xfrm>
            <a:off x="11944819" y="3643098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44" tIns="47044" rIns="47044" bIns="47044" numCol="1" anchor="t" anchorCtr="0" compatLnSpc="1">
            <a:prstTxWarp prst="textNoShape">
              <a:avLst/>
            </a:prstTxWarp>
          </a:bodyPr>
          <a:lstStyle/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r>
              <a:rPr lang="en-US" sz="914" dirty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r>
              <a:rPr lang="en-US" sz="914" dirty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r>
              <a:rPr lang="en-US" sz="914" dirty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</a:p>
        </p:txBody>
      </p:sp>
      <p:sp>
        <p:nvSpPr>
          <p:cNvPr id="54" name="Freeform 5"/>
          <p:cNvSpPr>
            <a:spLocks/>
          </p:cNvSpPr>
          <p:nvPr userDrawn="1"/>
        </p:nvSpPr>
        <p:spPr bwMode="auto">
          <a:xfrm>
            <a:off x="11949114" y="4301731"/>
            <a:ext cx="424104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55" name="Freeform 5"/>
          <p:cNvSpPr>
            <a:spLocks/>
          </p:cNvSpPr>
          <p:nvPr userDrawn="1"/>
        </p:nvSpPr>
        <p:spPr bwMode="auto">
          <a:xfrm>
            <a:off x="11949112" y="4493137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56" name="Freeform 5"/>
          <p:cNvSpPr>
            <a:spLocks/>
          </p:cNvSpPr>
          <p:nvPr userDrawn="1"/>
        </p:nvSpPr>
        <p:spPr bwMode="auto">
          <a:xfrm>
            <a:off x="12102361" y="4493136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57" name="Freeform 5"/>
          <p:cNvSpPr>
            <a:spLocks/>
          </p:cNvSpPr>
          <p:nvPr userDrawn="1"/>
        </p:nvSpPr>
        <p:spPr bwMode="auto">
          <a:xfrm>
            <a:off x="12255608" y="4493134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58" name="Freeform 5"/>
          <p:cNvSpPr>
            <a:spLocks/>
          </p:cNvSpPr>
          <p:nvPr userDrawn="1"/>
        </p:nvSpPr>
        <p:spPr bwMode="auto">
          <a:xfrm>
            <a:off x="11949114" y="4775432"/>
            <a:ext cx="424104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59" name="Freeform 5"/>
          <p:cNvSpPr>
            <a:spLocks/>
          </p:cNvSpPr>
          <p:nvPr userDrawn="1"/>
        </p:nvSpPr>
        <p:spPr bwMode="auto">
          <a:xfrm>
            <a:off x="11949112" y="4982129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60" name="Freeform 5"/>
          <p:cNvSpPr>
            <a:spLocks/>
          </p:cNvSpPr>
          <p:nvPr userDrawn="1"/>
        </p:nvSpPr>
        <p:spPr bwMode="auto">
          <a:xfrm>
            <a:off x="12102361" y="4982128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61" name="Freeform 5"/>
          <p:cNvSpPr>
            <a:spLocks/>
          </p:cNvSpPr>
          <p:nvPr userDrawn="1"/>
        </p:nvSpPr>
        <p:spPr bwMode="auto">
          <a:xfrm>
            <a:off x="12255608" y="4982127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62" name="Freeform 5"/>
          <p:cNvSpPr>
            <a:spLocks/>
          </p:cNvSpPr>
          <p:nvPr userDrawn="1"/>
        </p:nvSpPr>
        <p:spPr bwMode="auto">
          <a:xfrm>
            <a:off x="11949114" y="5245929"/>
            <a:ext cx="424104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63" name="Freeform 5"/>
          <p:cNvSpPr>
            <a:spLocks/>
          </p:cNvSpPr>
          <p:nvPr userDrawn="1"/>
        </p:nvSpPr>
        <p:spPr bwMode="auto">
          <a:xfrm>
            <a:off x="11949112" y="5437334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64" name="Freeform 5"/>
          <p:cNvSpPr>
            <a:spLocks/>
          </p:cNvSpPr>
          <p:nvPr userDrawn="1"/>
        </p:nvSpPr>
        <p:spPr bwMode="auto">
          <a:xfrm>
            <a:off x="12102361" y="5437333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65" name="Freeform 5"/>
          <p:cNvSpPr>
            <a:spLocks/>
          </p:cNvSpPr>
          <p:nvPr userDrawn="1"/>
        </p:nvSpPr>
        <p:spPr bwMode="auto">
          <a:xfrm>
            <a:off x="12255608" y="5437331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66" name="TextBox 39"/>
          <p:cNvSpPr txBox="1"/>
          <p:nvPr userDrawn="1"/>
        </p:nvSpPr>
        <p:spPr>
          <a:xfrm>
            <a:off x="11949112" y="5619125"/>
            <a:ext cx="621766" cy="86593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7454" fontAlgn="auto">
              <a:spcBef>
                <a:spcPts val="1046"/>
              </a:spcBef>
              <a:spcAft>
                <a:spcPts val="0"/>
              </a:spcAft>
            </a:pPr>
            <a:r>
              <a:rPr lang="en-US" sz="914" dirty="0" err="1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914" dirty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914" dirty="0" err="1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914" dirty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914" dirty="0" err="1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914" dirty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914" dirty="0" err="1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914" dirty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914" dirty="0" err="1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914" dirty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</a:p>
        </p:txBody>
      </p:sp>
      <p:sp>
        <p:nvSpPr>
          <p:cNvPr id="68" name="Freeform 5"/>
          <p:cNvSpPr>
            <a:spLocks/>
          </p:cNvSpPr>
          <p:nvPr userDrawn="1"/>
        </p:nvSpPr>
        <p:spPr bwMode="auto">
          <a:xfrm>
            <a:off x="12411752" y="25872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BD78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69" name="Freeform 5"/>
          <p:cNvSpPr>
            <a:spLocks/>
          </p:cNvSpPr>
          <p:nvPr userDrawn="1"/>
        </p:nvSpPr>
        <p:spPr bwMode="auto">
          <a:xfrm>
            <a:off x="12411752" y="537757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7A23C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70" name="Freeform 5"/>
          <p:cNvSpPr>
            <a:spLocks/>
          </p:cNvSpPr>
          <p:nvPr userDrawn="1"/>
        </p:nvSpPr>
        <p:spPr bwMode="auto">
          <a:xfrm>
            <a:off x="12411752" y="86222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86DB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71" name="Freeform 5"/>
          <p:cNvSpPr>
            <a:spLocks/>
          </p:cNvSpPr>
          <p:nvPr userDrawn="1"/>
        </p:nvSpPr>
        <p:spPr bwMode="auto">
          <a:xfrm>
            <a:off x="12411752" y="113250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B51F7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72" name="Freeform 71"/>
          <p:cNvSpPr>
            <a:spLocks/>
          </p:cNvSpPr>
          <p:nvPr userDrawn="1"/>
        </p:nvSpPr>
        <p:spPr bwMode="auto">
          <a:xfrm>
            <a:off x="12411752" y="144158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95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73" name="Freeform 5"/>
          <p:cNvSpPr>
            <a:spLocks/>
          </p:cNvSpPr>
          <p:nvPr userDrawn="1"/>
        </p:nvSpPr>
        <p:spPr bwMode="auto">
          <a:xfrm>
            <a:off x="12411752" y="171186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CC52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74" name="Freeform 5"/>
          <p:cNvSpPr>
            <a:spLocks/>
          </p:cNvSpPr>
          <p:nvPr userDrawn="1"/>
        </p:nvSpPr>
        <p:spPr bwMode="auto">
          <a:xfrm>
            <a:off x="12411752" y="200887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C8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75" name="Freeform 5"/>
          <p:cNvSpPr>
            <a:spLocks/>
          </p:cNvSpPr>
          <p:nvPr userDrawn="1"/>
        </p:nvSpPr>
        <p:spPr bwMode="auto">
          <a:xfrm>
            <a:off x="12411752" y="227915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CCC6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76" name="Freeform 5"/>
          <p:cNvSpPr>
            <a:spLocks/>
          </p:cNvSpPr>
          <p:nvPr userDrawn="1"/>
        </p:nvSpPr>
        <p:spPr bwMode="auto">
          <a:xfrm>
            <a:off x="12411752" y="256409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69D17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77" name="Freeform 5"/>
          <p:cNvSpPr>
            <a:spLocks/>
          </p:cNvSpPr>
          <p:nvPr userDrawn="1"/>
        </p:nvSpPr>
        <p:spPr bwMode="auto">
          <a:xfrm>
            <a:off x="12411752" y="283437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9E0B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78" name="Freeform 5"/>
          <p:cNvSpPr>
            <a:spLocks/>
          </p:cNvSpPr>
          <p:nvPr userDrawn="1"/>
        </p:nvSpPr>
        <p:spPr bwMode="auto">
          <a:xfrm>
            <a:off x="12411752" y="315552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E6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79" name="Freeform 5"/>
          <p:cNvSpPr>
            <a:spLocks/>
          </p:cNvSpPr>
          <p:nvPr userDrawn="1"/>
        </p:nvSpPr>
        <p:spPr bwMode="auto">
          <a:xfrm>
            <a:off x="12411752" y="342580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AFC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80" name="Freeform 5"/>
          <p:cNvSpPr>
            <a:spLocks/>
          </p:cNvSpPr>
          <p:nvPr userDrawn="1"/>
        </p:nvSpPr>
        <p:spPr bwMode="auto">
          <a:xfrm>
            <a:off x="12411752" y="373488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DEDEDE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81" name="Freeform 5"/>
          <p:cNvSpPr>
            <a:spLocks/>
          </p:cNvSpPr>
          <p:nvPr userDrawn="1"/>
        </p:nvSpPr>
        <p:spPr bwMode="auto">
          <a:xfrm>
            <a:off x="12411752" y="400516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9C9C9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0562592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401" r:id="rId1"/>
    <p:sldLayoutId id="2147486402" r:id="rId2"/>
    <p:sldLayoutId id="2147486403" r:id="rId3"/>
    <p:sldLayoutId id="2147486404" r:id="rId4"/>
    <p:sldLayoutId id="2147486405" r:id="rId5"/>
    <p:sldLayoutId id="2147486406" r:id="rId6"/>
    <p:sldLayoutId id="2147486407" r:id="rId7"/>
    <p:sldLayoutId id="2147486408" r:id="rId8"/>
    <p:sldLayoutId id="2147486409" r:id="rId9"/>
    <p:sldLayoutId id="2147486410" r:id="rId10"/>
    <p:sldLayoutId id="2147486411" r:id="rId11"/>
    <p:sldLayoutId id="2147486412" r:id="rId12"/>
    <p:sldLayoutId id="2147486413" r:id="rId13"/>
    <p:sldLayoutId id="2147486414" r:id="rId14"/>
    <p:sldLayoutId id="2147486415" r:id="rId15"/>
  </p:sldLayoutIdLst>
  <p:timing>
    <p:tnLst>
      <p:par>
        <p:cTn id="1" dur="indefinite" restart="never" nodeType="tmRoot"/>
      </p:par>
    </p:tnLst>
  </p:timing>
  <p:hf hdr="0" dt="0"/>
  <p:txStyles>
    <p:titleStyle>
      <a:lvl1pPr algn="l" defTabSz="597454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2744" b="0" i="0" kern="1200" noProof="0">
          <a:solidFill>
            <a:srgbClr val="00D318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40641" indent="-240641" algn="l" defTabSz="5974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3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7133" indent="-230270" algn="l" defTabSz="5974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7133" algn="l"/>
        </a:tabLst>
        <a:defRPr lang="es-ES_tradnl" sz="183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7403" indent="-230270" algn="l" defTabSz="5974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7403" algn="l"/>
        </a:tabLst>
        <a:defRPr lang="es-ES_tradnl" sz="183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7670" indent="-230270" algn="l" defTabSz="5974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7670" algn="l"/>
        </a:tabLst>
        <a:defRPr lang="es-ES_tradnl" sz="183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7940" indent="-230270" algn="l" defTabSz="5974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7940" algn="l"/>
        </a:tabLst>
        <a:defRPr lang="pt-BR" sz="183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85997" indent="-298727" algn="l" defTabSz="597454" rtl="0" eaLnBrk="1" latinLnBrk="0" hangingPunct="1">
        <a:spcBef>
          <a:spcPct val="20000"/>
        </a:spcBef>
        <a:buFont typeface="Arial"/>
        <a:buChar char="•"/>
        <a:defRPr sz="2614" kern="1200">
          <a:solidFill>
            <a:schemeClr val="tx1"/>
          </a:solidFill>
          <a:latin typeface="+mn-lt"/>
          <a:ea typeface="+mn-ea"/>
          <a:cs typeface="+mn-cs"/>
        </a:defRPr>
      </a:lvl6pPr>
      <a:lvl7pPr marL="3883451" indent="-298727" algn="l" defTabSz="597454" rtl="0" eaLnBrk="1" latinLnBrk="0" hangingPunct="1">
        <a:spcBef>
          <a:spcPct val="20000"/>
        </a:spcBef>
        <a:buFont typeface="Arial"/>
        <a:buChar char="•"/>
        <a:defRPr sz="2614" kern="1200">
          <a:solidFill>
            <a:schemeClr val="tx1"/>
          </a:solidFill>
          <a:latin typeface="+mn-lt"/>
          <a:ea typeface="+mn-ea"/>
          <a:cs typeface="+mn-cs"/>
        </a:defRPr>
      </a:lvl7pPr>
      <a:lvl8pPr marL="4480905" indent="-298727" algn="l" defTabSz="597454" rtl="0" eaLnBrk="1" latinLnBrk="0" hangingPunct="1">
        <a:spcBef>
          <a:spcPct val="20000"/>
        </a:spcBef>
        <a:buFont typeface="Arial"/>
        <a:buChar char="•"/>
        <a:defRPr sz="2614" kern="1200">
          <a:solidFill>
            <a:schemeClr val="tx1"/>
          </a:solidFill>
          <a:latin typeface="+mn-lt"/>
          <a:ea typeface="+mn-ea"/>
          <a:cs typeface="+mn-cs"/>
        </a:defRPr>
      </a:lvl8pPr>
      <a:lvl9pPr marL="5078359" indent="-298727" algn="l" defTabSz="597454" rtl="0" eaLnBrk="1" latinLnBrk="0" hangingPunct="1">
        <a:spcBef>
          <a:spcPct val="20000"/>
        </a:spcBef>
        <a:buFont typeface="Arial"/>
        <a:buChar char="•"/>
        <a:defRPr sz="2614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7454" rtl="0" eaLnBrk="1" latinLnBrk="0" hangingPunct="1">
        <a:defRPr sz="2352" kern="1200">
          <a:solidFill>
            <a:schemeClr val="tx1"/>
          </a:solidFill>
          <a:latin typeface="+mn-lt"/>
          <a:ea typeface="+mn-ea"/>
          <a:cs typeface="+mn-cs"/>
        </a:defRPr>
      </a:lvl1pPr>
      <a:lvl2pPr marL="597454" algn="l" defTabSz="597454" rtl="0" eaLnBrk="1" latinLnBrk="0" hangingPunct="1">
        <a:defRPr sz="2352" kern="1200">
          <a:solidFill>
            <a:schemeClr val="tx1"/>
          </a:solidFill>
          <a:latin typeface="+mn-lt"/>
          <a:ea typeface="+mn-ea"/>
          <a:cs typeface="+mn-cs"/>
        </a:defRPr>
      </a:lvl2pPr>
      <a:lvl3pPr marL="1194909" algn="l" defTabSz="597454" rtl="0" eaLnBrk="1" latinLnBrk="0" hangingPunct="1">
        <a:defRPr sz="2352" kern="1200">
          <a:solidFill>
            <a:schemeClr val="tx1"/>
          </a:solidFill>
          <a:latin typeface="+mn-lt"/>
          <a:ea typeface="+mn-ea"/>
          <a:cs typeface="+mn-cs"/>
        </a:defRPr>
      </a:lvl3pPr>
      <a:lvl4pPr marL="1792362" algn="l" defTabSz="597454" rtl="0" eaLnBrk="1" latinLnBrk="0" hangingPunct="1">
        <a:defRPr sz="2352" kern="1200">
          <a:solidFill>
            <a:schemeClr val="tx1"/>
          </a:solidFill>
          <a:latin typeface="+mn-lt"/>
          <a:ea typeface="+mn-ea"/>
          <a:cs typeface="+mn-cs"/>
        </a:defRPr>
      </a:lvl4pPr>
      <a:lvl5pPr marL="2389816" algn="l" defTabSz="597454" rtl="0" eaLnBrk="1" latinLnBrk="0" hangingPunct="1">
        <a:defRPr sz="2352" kern="1200">
          <a:solidFill>
            <a:schemeClr val="tx1"/>
          </a:solidFill>
          <a:latin typeface="+mn-lt"/>
          <a:ea typeface="+mn-ea"/>
          <a:cs typeface="+mn-cs"/>
        </a:defRPr>
      </a:lvl5pPr>
      <a:lvl6pPr marL="2987270" algn="l" defTabSz="597454" rtl="0" eaLnBrk="1" latinLnBrk="0" hangingPunct="1">
        <a:defRPr sz="2352" kern="1200">
          <a:solidFill>
            <a:schemeClr val="tx1"/>
          </a:solidFill>
          <a:latin typeface="+mn-lt"/>
          <a:ea typeface="+mn-ea"/>
          <a:cs typeface="+mn-cs"/>
        </a:defRPr>
      </a:lvl6pPr>
      <a:lvl7pPr marL="3584725" algn="l" defTabSz="597454" rtl="0" eaLnBrk="1" latinLnBrk="0" hangingPunct="1">
        <a:defRPr sz="2352" kern="1200">
          <a:solidFill>
            <a:schemeClr val="tx1"/>
          </a:solidFill>
          <a:latin typeface="+mn-lt"/>
          <a:ea typeface="+mn-ea"/>
          <a:cs typeface="+mn-cs"/>
        </a:defRPr>
      </a:lvl7pPr>
      <a:lvl8pPr marL="4182178" algn="l" defTabSz="597454" rtl="0" eaLnBrk="1" latinLnBrk="0" hangingPunct="1">
        <a:defRPr sz="2352" kern="1200">
          <a:solidFill>
            <a:schemeClr val="tx1"/>
          </a:solidFill>
          <a:latin typeface="+mn-lt"/>
          <a:ea typeface="+mn-ea"/>
          <a:cs typeface="+mn-cs"/>
        </a:defRPr>
      </a:lvl8pPr>
      <a:lvl9pPr marL="4779632" algn="l" defTabSz="597454" rtl="0" eaLnBrk="1" latinLnBrk="0" hangingPunct="1">
        <a:defRPr sz="235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23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17"/>
            </p:custDataLst>
            <p:extLst/>
          </p:nvPr>
        </p:nvGraphicFramePr>
        <p:xfrm>
          <a:off x="2077" y="2076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74462" name="think-cell Slide" r:id="rId18" imgW="470" imgH="469" progId="TCLayout.ActiveDocument.1">
                  <p:embed/>
                </p:oleObj>
              </mc:Choice>
              <mc:Fallback>
                <p:oleObj name="think-cell Slide" r:id="rId18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2077" y="2076"/>
                        <a:ext cx="2074" cy="20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79" y="1854628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3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3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3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3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3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1980" y="358899"/>
            <a:ext cx="10725159" cy="93146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2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7457" y="6371917"/>
            <a:ext cx="10176096" cy="28226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68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4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3552" y="6371917"/>
            <a:ext cx="578105" cy="28226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68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fld id="{74850952-3374-434C-8FC6-DE28F8CD25B0}" type="slidenum">
              <a:rPr lang="pt-BR" smtClean="0">
                <a:solidFill>
                  <a:srgbClr val="5F5F5F"/>
                </a:solidFill>
              </a:rPr>
              <a:pPr defTabSz="597454" fontAlgn="auto">
                <a:spcBef>
                  <a:spcPts val="0"/>
                </a:spcBef>
                <a:spcAft>
                  <a:spcPts val="0"/>
                </a:spcAft>
              </a:pPr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44" name="TextBox 43"/>
          <p:cNvSpPr txBox="1"/>
          <p:nvPr userDrawn="1"/>
        </p:nvSpPr>
        <p:spPr>
          <a:xfrm>
            <a:off x="-281815" y="73630"/>
            <a:ext cx="234102" cy="1781519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7454" fontAlgn="auto">
              <a:spcBef>
                <a:spcPts val="0"/>
              </a:spcBef>
              <a:spcAft>
                <a:spcPts val="0"/>
              </a:spcAft>
            </a:pPr>
            <a:r>
              <a:rPr lang="en-US" sz="1306" dirty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6" dirty="0" err="1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6" dirty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45" name="TextBox 44"/>
          <p:cNvSpPr txBox="1"/>
          <p:nvPr userDrawn="1"/>
        </p:nvSpPr>
        <p:spPr>
          <a:xfrm>
            <a:off x="-281815" y="1855149"/>
            <a:ext cx="234102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7454" fontAlgn="auto">
              <a:spcBef>
                <a:spcPts val="0"/>
              </a:spcBef>
              <a:spcAft>
                <a:spcPts val="0"/>
              </a:spcAft>
            </a:pPr>
            <a:r>
              <a:rPr lang="en-US" sz="1306" dirty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46" name="TextBox 45"/>
          <p:cNvSpPr txBox="1"/>
          <p:nvPr userDrawn="1"/>
        </p:nvSpPr>
        <p:spPr>
          <a:xfrm>
            <a:off x="-281815" y="4207633"/>
            <a:ext cx="234102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r>
              <a:rPr lang="en-US" sz="1306" dirty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47" name="Freeform 5"/>
          <p:cNvSpPr>
            <a:spLocks/>
          </p:cNvSpPr>
          <p:nvPr userDrawn="1"/>
        </p:nvSpPr>
        <p:spPr bwMode="auto">
          <a:xfrm>
            <a:off x="11944819" y="3078502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44" tIns="47044" rIns="47044" bIns="47044" numCol="1" anchor="t" anchorCtr="0" compatLnSpc="1">
            <a:prstTxWarp prst="textNoShape">
              <a:avLst/>
            </a:prstTxWarp>
          </a:bodyPr>
          <a:lstStyle/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r>
              <a:rPr lang="en-US" sz="914" dirty="0">
                <a:solidFill>
                  <a:srgbClr val="FFFFFF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r>
              <a:rPr lang="en-US" sz="914" dirty="0">
                <a:solidFill>
                  <a:srgbClr val="FFFFFF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r>
              <a:rPr lang="en-US" sz="914" dirty="0">
                <a:solidFill>
                  <a:srgbClr val="FFFFFF"/>
                </a:solidFill>
                <a:latin typeface="Simplon BP Regular"/>
                <a:cs typeface="Simplon BP Regular"/>
              </a:rPr>
              <a:t>B 255</a:t>
            </a:r>
          </a:p>
        </p:txBody>
      </p:sp>
      <p:sp>
        <p:nvSpPr>
          <p:cNvPr id="48" name="Freeform 47"/>
          <p:cNvSpPr>
            <a:spLocks/>
          </p:cNvSpPr>
          <p:nvPr userDrawn="1"/>
        </p:nvSpPr>
        <p:spPr bwMode="auto">
          <a:xfrm>
            <a:off x="11944819" y="2513906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44" tIns="47044" rIns="47044" bIns="47044" numCol="1" anchor="t" anchorCtr="0" compatLnSpc="1">
            <a:prstTxWarp prst="textNoShape">
              <a:avLst/>
            </a:prstTxWarp>
          </a:bodyPr>
          <a:lstStyle/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r>
              <a:rPr lang="en-US" sz="914" dirty="0">
                <a:solidFill>
                  <a:srgbClr val="FFFFFF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r>
              <a:rPr lang="en-US" sz="914" dirty="0">
                <a:solidFill>
                  <a:srgbClr val="FFFFFF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r>
              <a:rPr lang="en-US" sz="914" dirty="0">
                <a:solidFill>
                  <a:srgbClr val="FFFFFF"/>
                </a:solidFill>
                <a:latin typeface="Simplon BP Regular"/>
                <a:cs typeface="Simplon BP Regular"/>
              </a:rPr>
              <a:t>B 24</a:t>
            </a:r>
          </a:p>
        </p:txBody>
      </p:sp>
      <p:sp>
        <p:nvSpPr>
          <p:cNvPr id="49" name="Freeform 5"/>
          <p:cNvSpPr>
            <a:spLocks/>
          </p:cNvSpPr>
          <p:nvPr userDrawn="1"/>
        </p:nvSpPr>
        <p:spPr bwMode="auto">
          <a:xfrm>
            <a:off x="11944819" y="1949310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44" tIns="47044" rIns="47044" bIns="47044" numCol="1" anchor="t" anchorCtr="0" compatLnSpc="1">
            <a:prstTxWarp prst="textNoShape">
              <a:avLst/>
            </a:prstTxWarp>
          </a:bodyPr>
          <a:lstStyle/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r>
              <a:rPr lang="en-US" sz="914" dirty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r>
              <a:rPr lang="en-US" sz="914" dirty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r>
              <a:rPr lang="en-US" sz="914" dirty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</a:p>
        </p:txBody>
      </p:sp>
      <p:sp>
        <p:nvSpPr>
          <p:cNvPr id="50" name="Freeform 5"/>
          <p:cNvSpPr>
            <a:spLocks/>
          </p:cNvSpPr>
          <p:nvPr userDrawn="1"/>
        </p:nvSpPr>
        <p:spPr bwMode="auto">
          <a:xfrm>
            <a:off x="11944819" y="1384714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44" tIns="47044" rIns="47044" bIns="47044" numCol="1" anchor="t" anchorCtr="0" compatLnSpc="1">
            <a:prstTxWarp prst="textNoShape">
              <a:avLst/>
            </a:prstTxWarp>
          </a:bodyPr>
          <a:lstStyle/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r>
              <a:rPr lang="en-US" sz="914" dirty="0">
                <a:solidFill>
                  <a:srgbClr val="FFFFFF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r>
              <a:rPr lang="en-US" sz="914" dirty="0">
                <a:solidFill>
                  <a:srgbClr val="FFFFFF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r>
              <a:rPr lang="en-US" sz="914" dirty="0">
                <a:solidFill>
                  <a:srgbClr val="FFFFFF"/>
                </a:solidFill>
                <a:latin typeface="Simplon BP Regular"/>
                <a:cs typeface="Simplon BP Regular"/>
              </a:rPr>
              <a:t>B 0</a:t>
            </a:r>
          </a:p>
        </p:txBody>
      </p:sp>
      <p:sp>
        <p:nvSpPr>
          <p:cNvPr id="51" name="Freeform 50"/>
          <p:cNvSpPr>
            <a:spLocks/>
          </p:cNvSpPr>
          <p:nvPr userDrawn="1"/>
        </p:nvSpPr>
        <p:spPr bwMode="auto">
          <a:xfrm>
            <a:off x="11944819" y="820118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44" tIns="47044" rIns="47044" bIns="47044" numCol="1" anchor="t" anchorCtr="0" compatLnSpc="1">
            <a:prstTxWarp prst="textNoShape">
              <a:avLst/>
            </a:prstTxWarp>
          </a:bodyPr>
          <a:lstStyle/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r>
              <a:rPr lang="en-US" sz="914" dirty="0">
                <a:solidFill>
                  <a:srgbClr val="FFFFFF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r>
              <a:rPr lang="en-US" sz="914" dirty="0">
                <a:solidFill>
                  <a:srgbClr val="FFFFFF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r>
              <a:rPr lang="en-US" sz="914" dirty="0">
                <a:solidFill>
                  <a:srgbClr val="FFFFFF"/>
                </a:solidFill>
                <a:latin typeface="Simplon BP Regular"/>
                <a:cs typeface="Simplon BP Regular"/>
              </a:rPr>
              <a:t>B 140</a:t>
            </a:r>
          </a:p>
        </p:txBody>
      </p:sp>
      <p:sp>
        <p:nvSpPr>
          <p:cNvPr id="52" name="Freeform 5"/>
          <p:cNvSpPr>
            <a:spLocks/>
          </p:cNvSpPr>
          <p:nvPr userDrawn="1"/>
        </p:nvSpPr>
        <p:spPr bwMode="auto">
          <a:xfrm>
            <a:off x="11944819" y="258726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44" tIns="47044" rIns="47044" bIns="47044" numCol="1" anchor="t" anchorCtr="0" compatLnSpc="1">
            <a:prstTxWarp prst="textNoShape">
              <a:avLst/>
            </a:prstTxWarp>
          </a:bodyPr>
          <a:lstStyle/>
          <a:p>
            <a:pPr defTabSz="5974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14" dirty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74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14" dirty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74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14" dirty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</a:p>
        </p:txBody>
      </p:sp>
      <p:sp>
        <p:nvSpPr>
          <p:cNvPr id="53" name="Freeform 5"/>
          <p:cNvSpPr>
            <a:spLocks/>
          </p:cNvSpPr>
          <p:nvPr userDrawn="1"/>
        </p:nvSpPr>
        <p:spPr bwMode="auto">
          <a:xfrm>
            <a:off x="11944819" y="3643098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44" tIns="47044" rIns="47044" bIns="47044" numCol="1" anchor="t" anchorCtr="0" compatLnSpc="1">
            <a:prstTxWarp prst="textNoShape">
              <a:avLst/>
            </a:prstTxWarp>
          </a:bodyPr>
          <a:lstStyle/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r>
              <a:rPr lang="en-US" sz="914" dirty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r>
              <a:rPr lang="en-US" sz="914" dirty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r>
              <a:rPr lang="en-US" sz="914" dirty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</a:p>
        </p:txBody>
      </p:sp>
      <p:sp>
        <p:nvSpPr>
          <p:cNvPr id="54" name="Freeform 5"/>
          <p:cNvSpPr>
            <a:spLocks/>
          </p:cNvSpPr>
          <p:nvPr userDrawn="1"/>
        </p:nvSpPr>
        <p:spPr bwMode="auto">
          <a:xfrm>
            <a:off x="11949114" y="4301731"/>
            <a:ext cx="424104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55" name="Freeform 5"/>
          <p:cNvSpPr>
            <a:spLocks/>
          </p:cNvSpPr>
          <p:nvPr userDrawn="1"/>
        </p:nvSpPr>
        <p:spPr bwMode="auto">
          <a:xfrm>
            <a:off x="11949112" y="4493137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56" name="Freeform 5"/>
          <p:cNvSpPr>
            <a:spLocks/>
          </p:cNvSpPr>
          <p:nvPr userDrawn="1"/>
        </p:nvSpPr>
        <p:spPr bwMode="auto">
          <a:xfrm>
            <a:off x="12102361" y="4493136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57" name="Freeform 5"/>
          <p:cNvSpPr>
            <a:spLocks/>
          </p:cNvSpPr>
          <p:nvPr userDrawn="1"/>
        </p:nvSpPr>
        <p:spPr bwMode="auto">
          <a:xfrm>
            <a:off x="12255608" y="4493134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58" name="Freeform 5"/>
          <p:cNvSpPr>
            <a:spLocks/>
          </p:cNvSpPr>
          <p:nvPr userDrawn="1"/>
        </p:nvSpPr>
        <p:spPr bwMode="auto">
          <a:xfrm>
            <a:off x="11949114" y="4775432"/>
            <a:ext cx="424104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59" name="Freeform 5"/>
          <p:cNvSpPr>
            <a:spLocks/>
          </p:cNvSpPr>
          <p:nvPr userDrawn="1"/>
        </p:nvSpPr>
        <p:spPr bwMode="auto">
          <a:xfrm>
            <a:off x="11949112" y="4982129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60" name="Freeform 5"/>
          <p:cNvSpPr>
            <a:spLocks/>
          </p:cNvSpPr>
          <p:nvPr userDrawn="1"/>
        </p:nvSpPr>
        <p:spPr bwMode="auto">
          <a:xfrm>
            <a:off x="12102361" y="4982128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61" name="Freeform 5"/>
          <p:cNvSpPr>
            <a:spLocks/>
          </p:cNvSpPr>
          <p:nvPr userDrawn="1"/>
        </p:nvSpPr>
        <p:spPr bwMode="auto">
          <a:xfrm>
            <a:off x="12255608" y="4982127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62" name="Freeform 5"/>
          <p:cNvSpPr>
            <a:spLocks/>
          </p:cNvSpPr>
          <p:nvPr userDrawn="1"/>
        </p:nvSpPr>
        <p:spPr bwMode="auto">
          <a:xfrm>
            <a:off x="11949114" y="5245929"/>
            <a:ext cx="424104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63" name="Freeform 5"/>
          <p:cNvSpPr>
            <a:spLocks/>
          </p:cNvSpPr>
          <p:nvPr userDrawn="1"/>
        </p:nvSpPr>
        <p:spPr bwMode="auto">
          <a:xfrm>
            <a:off x="11949112" y="5437334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64" name="Freeform 5"/>
          <p:cNvSpPr>
            <a:spLocks/>
          </p:cNvSpPr>
          <p:nvPr userDrawn="1"/>
        </p:nvSpPr>
        <p:spPr bwMode="auto">
          <a:xfrm>
            <a:off x="12102361" y="5437333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65" name="Freeform 5"/>
          <p:cNvSpPr>
            <a:spLocks/>
          </p:cNvSpPr>
          <p:nvPr userDrawn="1"/>
        </p:nvSpPr>
        <p:spPr bwMode="auto">
          <a:xfrm>
            <a:off x="12255608" y="5437331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66" name="TextBox 39"/>
          <p:cNvSpPr txBox="1"/>
          <p:nvPr userDrawn="1"/>
        </p:nvSpPr>
        <p:spPr>
          <a:xfrm>
            <a:off x="11949112" y="5619125"/>
            <a:ext cx="621766" cy="86593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7454" fontAlgn="auto">
              <a:spcBef>
                <a:spcPts val="1046"/>
              </a:spcBef>
              <a:spcAft>
                <a:spcPts val="0"/>
              </a:spcAft>
            </a:pPr>
            <a:r>
              <a:rPr lang="en-US" sz="914" dirty="0" err="1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914" dirty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914" dirty="0" err="1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914" dirty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914" dirty="0" err="1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914" dirty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914" dirty="0" err="1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914" dirty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914" dirty="0" err="1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914" dirty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</a:p>
        </p:txBody>
      </p:sp>
      <p:sp>
        <p:nvSpPr>
          <p:cNvPr id="68" name="Freeform 5"/>
          <p:cNvSpPr>
            <a:spLocks/>
          </p:cNvSpPr>
          <p:nvPr userDrawn="1"/>
        </p:nvSpPr>
        <p:spPr bwMode="auto">
          <a:xfrm>
            <a:off x="12411752" y="25872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BD78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69" name="Freeform 5"/>
          <p:cNvSpPr>
            <a:spLocks/>
          </p:cNvSpPr>
          <p:nvPr userDrawn="1"/>
        </p:nvSpPr>
        <p:spPr bwMode="auto">
          <a:xfrm>
            <a:off x="12411752" y="537757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7A23C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70" name="Freeform 5"/>
          <p:cNvSpPr>
            <a:spLocks/>
          </p:cNvSpPr>
          <p:nvPr userDrawn="1"/>
        </p:nvSpPr>
        <p:spPr bwMode="auto">
          <a:xfrm>
            <a:off x="12411752" y="86222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86DB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71" name="Freeform 5"/>
          <p:cNvSpPr>
            <a:spLocks/>
          </p:cNvSpPr>
          <p:nvPr userDrawn="1"/>
        </p:nvSpPr>
        <p:spPr bwMode="auto">
          <a:xfrm>
            <a:off x="12411752" y="113250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B51F7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72" name="Freeform 71"/>
          <p:cNvSpPr>
            <a:spLocks/>
          </p:cNvSpPr>
          <p:nvPr userDrawn="1"/>
        </p:nvSpPr>
        <p:spPr bwMode="auto">
          <a:xfrm>
            <a:off x="12411752" y="144158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95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73" name="Freeform 5"/>
          <p:cNvSpPr>
            <a:spLocks/>
          </p:cNvSpPr>
          <p:nvPr userDrawn="1"/>
        </p:nvSpPr>
        <p:spPr bwMode="auto">
          <a:xfrm>
            <a:off x="12411752" y="171186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CC52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74" name="Freeform 5"/>
          <p:cNvSpPr>
            <a:spLocks/>
          </p:cNvSpPr>
          <p:nvPr userDrawn="1"/>
        </p:nvSpPr>
        <p:spPr bwMode="auto">
          <a:xfrm>
            <a:off x="12411752" y="200887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C8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75" name="Freeform 5"/>
          <p:cNvSpPr>
            <a:spLocks/>
          </p:cNvSpPr>
          <p:nvPr userDrawn="1"/>
        </p:nvSpPr>
        <p:spPr bwMode="auto">
          <a:xfrm>
            <a:off x="12411752" y="227915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CCC6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76" name="Freeform 5"/>
          <p:cNvSpPr>
            <a:spLocks/>
          </p:cNvSpPr>
          <p:nvPr userDrawn="1"/>
        </p:nvSpPr>
        <p:spPr bwMode="auto">
          <a:xfrm>
            <a:off x="12411752" y="256409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69D17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77" name="Freeform 5"/>
          <p:cNvSpPr>
            <a:spLocks/>
          </p:cNvSpPr>
          <p:nvPr userDrawn="1"/>
        </p:nvSpPr>
        <p:spPr bwMode="auto">
          <a:xfrm>
            <a:off x="12411752" y="283437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9E0B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78" name="Freeform 5"/>
          <p:cNvSpPr>
            <a:spLocks/>
          </p:cNvSpPr>
          <p:nvPr userDrawn="1"/>
        </p:nvSpPr>
        <p:spPr bwMode="auto">
          <a:xfrm>
            <a:off x="12411752" y="315552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E6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79" name="Freeform 5"/>
          <p:cNvSpPr>
            <a:spLocks/>
          </p:cNvSpPr>
          <p:nvPr userDrawn="1"/>
        </p:nvSpPr>
        <p:spPr bwMode="auto">
          <a:xfrm>
            <a:off x="12411752" y="342580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AFC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80" name="Freeform 5"/>
          <p:cNvSpPr>
            <a:spLocks/>
          </p:cNvSpPr>
          <p:nvPr userDrawn="1"/>
        </p:nvSpPr>
        <p:spPr bwMode="auto">
          <a:xfrm>
            <a:off x="12411752" y="373488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DEDEDE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81" name="Freeform 5"/>
          <p:cNvSpPr>
            <a:spLocks/>
          </p:cNvSpPr>
          <p:nvPr userDrawn="1"/>
        </p:nvSpPr>
        <p:spPr bwMode="auto">
          <a:xfrm>
            <a:off x="12411752" y="400516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9C9C9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5968407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417" r:id="rId1"/>
    <p:sldLayoutId id="2147486418" r:id="rId2"/>
    <p:sldLayoutId id="2147486419" r:id="rId3"/>
    <p:sldLayoutId id="2147486420" r:id="rId4"/>
    <p:sldLayoutId id="2147486421" r:id="rId5"/>
    <p:sldLayoutId id="2147486422" r:id="rId6"/>
    <p:sldLayoutId id="2147486423" r:id="rId7"/>
    <p:sldLayoutId id="2147486424" r:id="rId8"/>
    <p:sldLayoutId id="2147486425" r:id="rId9"/>
    <p:sldLayoutId id="2147486426" r:id="rId10"/>
    <p:sldLayoutId id="2147486427" r:id="rId11"/>
    <p:sldLayoutId id="2147486428" r:id="rId12"/>
    <p:sldLayoutId id="2147486429" r:id="rId13"/>
    <p:sldLayoutId id="2147486430" r:id="rId14"/>
  </p:sldLayoutIdLst>
  <p:timing>
    <p:tnLst>
      <p:par>
        <p:cTn id="1" dur="indefinite" restart="never" nodeType="tmRoot"/>
      </p:par>
    </p:tnLst>
  </p:timing>
  <p:hf hdr="0" dt="0"/>
  <p:txStyles>
    <p:titleStyle>
      <a:lvl1pPr algn="l" defTabSz="597454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2744" b="0" i="0" kern="1200" noProof="0">
          <a:solidFill>
            <a:srgbClr val="00D318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40641" indent="-240641" algn="l" defTabSz="5974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3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7133" indent="-230270" algn="l" defTabSz="5974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7133" algn="l"/>
        </a:tabLst>
        <a:defRPr lang="es-ES_tradnl" sz="183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7403" indent="-230270" algn="l" defTabSz="5974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7403" algn="l"/>
        </a:tabLst>
        <a:defRPr lang="es-ES_tradnl" sz="183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7670" indent="-230270" algn="l" defTabSz="5974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7670" algn="l"/>
        </a:tabLst>
        <a:defRPr lang="es-ES_tradnl" sz="183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7940" indent="-230270" algn="l" defTabSz="5974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7940" algn="l"/>
        </a:tabLst>
        <a:defRPr lang="pt-BR" sz="183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85997" indent="-298727" algn="l" defTabSz="597454" rtl="0" eaLnBrk="1" latinLnBrk="0" hangingPunct="1">
        <a:spcBef>
          <a:spcPct val="20000"/>
        </a:spcBef>
        <a:buFont typeface="Arial"/>
        <a:buChar char="•"/>
        <a:defRPr sz="2614" kern="1200">
          <a:solidFill>
            <a:schemeClr val="tx1"/>
          </a:solidFill>
          <a:latin typeface="+mn-lt"/>
          <a:ea typeface="+mn-ea"/>
          <a:cs typeface="+mn-cs"/>
        </a:defRPr>
      </a:lvl6pPr>
      <a:lvl7pPr marL="3883451" indent="-298727" algn="l" defTabSz="597454" rtl="0" eaLnBrk="1" latinLnBrk="0" hangingPunct="1">
        <a:spcBef>
          <a:spcPct val="20000"/>
        </a:spcBef>
        <a:buFont typeface="Arial"/>
        <a:buChar char="•"/>
        <a:defRPr sz="2614" kern="1200">
          <a:solidFill>
            <a:schemeClr val="tx1"/>
          </a:solidFill>
          <a:latin typeface="+mn-lt"/>
          <a:ea typeface="+mn-ea"/>
          <a:cs typeface="+mn-cs"/>
        </a:defRPr>
      </a:lvl7pPr>
      <a:lvl8pPr marL="4480905" indent="-298727" algn="l" defTabSz="597454" rtl="0" eaLnBrk="1" latinLnBrk="0" hangingPunct="1">
        <a:spcBef>
          <a:spcPct val="20000"/>
        </a:spcBef>
        <a:buFont typeface="Arial"/>
        <a:buChar char="•"/>
        <a:defRPr sz="2614" kern="1200">
          <a:solidFill>
            <a:schemeClr val="tx1"/>
          </a:solidFill>
          <a:latin typeface="+mn-lt"/>
          <a:ea typeface="+mn-ea"/>
          <a:cs typeface="+mn-cs"/>
        </a:defRPr>
      </a:lvl8pPr>
      <a:lvl9pPr marL="5078359" indent="-298727" algn="l" defTabSz="597454" rtl="0" eaLnBrk="1" latinLnBrk="0" hangingPunct="1">
        <a:spcBef>
          <a:spcPct val="20000"/>
        </a:spcBef>
        <a:buFont typeface="Arial"/>
        <a:buChar char="•"/>
        <a:defRPr sz="2614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7454" rtl="0" eaLnBrk="1" latinLnBrk="0" hangingPunct="1">
        <a:defRPr sz="2352" kern="1200">
          <a:solidFill>
            <a:schemeClr val="tx1"/>
          </a:solidFill>
          <a:latin typeface="+mn-lt"/>
          <a:ea typeface="+mn-ea"/>
          <a:cs typeface="+mn-cs"/>
        </a:defRPr>
      </a:lvl1pPr>
      <a:lvl2pPr marL="597454" algn="l" defTabSz="597454" rtl="0" eaLnBrk="1" latinLnBrk="0" hangingPunct="1">
        <a:defRPr sz="2352" kern="1200">
          <a:solidFill>
            <a:schemeClr val="tx1"/>
          </a:solidFill>
          <a:latin typeface="+mn-lt"/>
          <a:ea typeface="+mn-ea"/>
          <a:cs typeface="+mn-cs"/>
        </a:defRPr>
      </a:lvl2pPr>
      <a:lvl3pPr marL="1194909" algn="l" defTabSz="597454" rtl="0" eaLnBrk="1" latinLnBrk="0" hangingPunct="1">
        <a:defRPr sz="2352" kern="1200">
          <a:solidFill>
            <a:schemeClr val="tx1"/>
          </a:solidFill>
          <a:latin typeface="+mn-lt"/>
          <a:ea typeface="+mn-ea"/>
          <a:cs typeface="+mn-cs"/>
        </a:defRPr>
      </a:lvl3pPr>
      <a:lvl4pPr marL="1792362" algn="l" defTabSz="597454" rtl="0" eaLnBrk="1" latinLnBrk="0" hangingPunct="1">
        <a:defRPr sz="2352" kern="1200">
          <a:solidFill>
            <a:schemeClr val="tx1"/>
          </a:solidFill>
          <a:latin typeface="+mn-lt"/>
          <a:ea typeface="+mn-ea"/>
          <a:cs typeface="+mn-cs"/>
        </a:defRPr>
      </a:lvl4pPr>
      <a:lvl5pPr marL="2389816" algn="l" defTabSz="597454" rtl="0" eaLnBrk="1" latinLnBrk="0" hangingPunct="1">
        <a:defRPr sz="2352" kern="1200">
          <a:solidFill>
            <a:schemeClr val="tx1"/>
          </a:solidFill>
          <a:latin typeface="+mn-lt"/>
          <a:ea typeface="+mn-ea"/>
          <a:cs typeface="+mn-cs"/>
        </a:defRPr>
      </a:lvl5pPr>
      <a:lvl6pPr marL="2987270" algn="l" defTabSz="597454" rtl="0" eaLnBrk="1" latinLnBrk="0" hangingPunct="1">
        <a:defRPr sz="2352" kern="1200">
          <a:solidFill>
            <a:schemeClr val="tx1"/>
          </a:solidFill>
          <a:latin typeface="+mn-lt"/>
          <a:ea typeface="+mn-ea"/>
          <a:cs typeface="+mn-cs"/>
        </a:defRPr>
      </a:lvl6pPr>
      <a:lvl7pPr marL="3584725" algn="l" defTabSz="597454" rtl="0" eaLnBrk="1" latinLnBrk="0" hangingPunct="1">
        <a:defRPr sz="2352" kern="1200">
          <a:solidFill>
            <a:schemeClr val="tx1"/>
          </a:solidFill>
          <a:latin typeface="+mn-lt"/>
          <a:ea typeface="+mn-ea"/>
          <a:cs typeface="+mn-cs"/>
        </a:defRPr>
      </a:lvl7pPr>
      <a:lvl8pPr marL="4182178" algn="l" defTabSz="597454" rtl="0" eaLnBrk="1" latinLnBrk="0" hangingPunct="1">
        <a:defRPr sz="2352" kern="1200">
          <a:solidFill>
            <a:schemeClr val="tx1"/>
          </a:solidFill>
          <a:latin typeface="+mn-lt"/>
          <a:ea typeface="+mn-ea"/>
          <a:cs typeface="+mn-cs"/>
        </a:defRPr>
      </a:lvl8pPr>
      <a:lvl9pPr marL="4779632" algn="l" defTabSz="597454" rtl="0" eaLnBrk="1" latinLnBrk="0" hangingPunct="1">
        <a:defRPr sz="235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23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>
            <p:custDataLst>
              <p:tags r:id="rId9"/>
            </p:custDataLst>
            <p:extLst/>
          </p:nvPr>
        </p:nvGraphicFramePr>
        <p:xfrm>
          <a:off x="2080" y="2098"/>
          <a:ext cx="2074" cy="20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81630" name="think-cell Slide" r:id="rId10" imgW="270" imgH="270" progId="TCLayout.ActiveDocument.1">
                  <p:embed/>
                </p:oleObj>
              </mc:Choice>
              <mc:Fallback>
                <p:oleObj name="think-cell Slide" r:id="rId1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2080" y="2098"/>
                        <a:ext cx="2074" cy="207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Box 11"/>
          <p:cNvSpPr txBox="1"/>
          <p:nvPr/>
        </p:nvSpPr>
        <p:spPr>
          <a:xfrm>
            <a:off x="15141258" y="802412"/>
            <a:ext cx="1194911" cy="896197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fontAlgn="auto">
              <a:lnSpc>
                <a:spcPts val="1764"/>
              </a:lnSpc>
              <a:spcBef>
                <a:spcPts val="784"/>
              </a:spcBef>
              <a:spcAft>
                <a:spcPts val="0"/>
              </a:spcAft>
            </a:pPr>
            <a:endParaRPr lang="en-US" sz="1568" i="1" dirty="0">
              <a:solidFill>
                <a:prstClr val="black"/>
              </a:solidFill>
              <a:latin typeface="Georgia" pitchFamily="18" charset="0"/>
            </a:endParaRPr>
          </a:p>
        </p:txBody>
      </p:sp>
      <p:sp>
        <p:nvSpPr>
          <p:cNvPr id="40" name="TextBox 39"/>
          <p:cNvSpPr txBox="1"/>
          <p:nvPr/>
        </p:nvSpPr>
        <p:spPr>
          <a:xfrm>
            <a:off x="-4036922" y="21562"/>
            <a:ext cx="3924429" cy="268745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fontAlgn="auto">
              <a:lnSpc>
                <a:spcPts val="5489"/>
              </a:lnSpc>
              <a:spcBef>
                <a:spcPts val="784"/>
              </a:spcBef>
              <a:spcAft>
                <a:spcPts val="0"/>
              </a:spcAft>
            </a:pPr>
            <a:r>
              <a:rPr lang="en-US" sz="5489" dirty="0" err="1">
                <a:solidFill>
                  <a:srgbClr val="4D4D4D"/>
                </a:solidFill>
                <a:latin typeface="Simplon Oi Headline"/>
                <a:cs typeface="Simplon Oi Headline"/>
              </a:rPr>
              <a:t>Título</a:t>
            </a:r>
            <a:r>
              <a:rPr lang="en-US" sz="5489" dirty="0">
                <a:solidFill>
                  <a:srgbClr val="4D4D4D"/>
                </a:solidFill>
                <a:latin typeface="Simplon Oi Headline"/>
                <a:cs typeface="Simplon Oi Headline"/>
              </a:rPr>
              <a:t> Simplon </a:t>
            </a:r>
            <a:r>
              <a:rPr lang="en-US" sz="5489" dirty="0" err="1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5489" dirty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41" name="TextBox 40"/>
          <p:cNvSpPr txBox="1"/>
          <p:nvPr/>
        </p:nvSpPr>
        <p:spPr>
          <a:xfrm>
            <a:off x="-3988733" y="3046423"/>
            <a:ext cx="3579590" cy="144044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fontAlgn="auto">
              <a:lnSpc>
                <a:spcPts val="2744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2744" dirty="0">
                <a:solidFill>
                  <a:srgbClr val="4D4D4D"/>
                </a:solidFill>
                <a:latin typeface="Simplon BP Regular"/>
                <a:cs typeface="Simplon BP Regular"/>
              </a:rPr>
              <a:t>SUBTÍTULOS</a:t>
            </a:r>
          </a:p>
          <a:p>
            <a:pPr fontAlgn="auto">
              <a:lnSpc>
                <a:spcPts val="2744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2744" dirty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42" name="TextBox 41"/>
          <p:cNvSpPr txBox="1"/>
          <p:nvPr/>
        </p:nvSpPr>
        <p:spPr>
          <a:xfrm>
            <a:off x="-3988733" y="4728476"/>
            <a:ext cx="3579590" cy="38734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fontAlgn="auto">
              <a:lnSpc>
                <a:spcPts val="1372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372" dirty="0" err="1">
                <a:solidFill>
                  <a:srgbClr val="4D4D4D"/>
                </a:solidFill>
                <a:latin typeface="Simplon BP Regular"/>
                <a:cs typeface="Simplon BP Regular"/>
              </a:rPr>
              <a:t>Textos</a:t>
            </a:r>
            <a:r>
              <a:rPr lang="en-US" sz="1372" dirty="0">
                <a:solidFill>
                  <a:srgbClr val="4D4D4D"/>
                </a:solidFill>
                <a:latin typeface="Simplon BP Regular"/>
                <a:cs typeface="Simplon BP Regular"/>
              </a:rPr>
              <a:t> Simplon BP Regular 14pt</a:t>
            </a:r>
          </a:p>
        </p:txBody>
      </p:sp>
      <p:sp>
        <p:nvSpPr>
          <p:cNvPr id="74" name="Rectangle 35"/>
          <p:cNvSpPr/>
          <p:nvPr/>
        </p:nvSpPr>
        <p:spPr>
          <a:xfrm>
            <a:off x="13078579" y="403901"/>
            <a:ext cx="1158625" cy="352930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pt-BR" sz="1176" dirty="0">
                <a:solidFill>
                  <a:srgbClr val="4D4D4D"/>
                </a:solidFill>
                <a:latin typeface="Simplon BP Regular"/>
                <a:cs typeface="Simplon BP Regular"/>
              </a:rPr>
              <a:t>ROXO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1176" dirty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1176" dirty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1176" dirty="0">
                <a:solidFill>
                  <a:srgbClr val="4D4D4D"/>
                </a:solidFill>
                <a:latin typeface="Simplon BP Regular"/>
                <a:cs typeface="Simplon BP Regular"/>
              </a:rPr>
              <a:t>ROSA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1176" dirty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1176" dirty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1176" dirty="0">
                <a:solidFill>
                  <a:srgbClr val="4D4D4D"/>
                </a:solidFill>
                <a:latin typeface="Simplon BP Regular"/>
                <a:cs typeface="Simplon BP Regular"/>
              </a:rPr>
              <a:t>LARANJA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1176" dirty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1176" dirty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1176" dirty="0">
                <a:solidFill>
                  <a:srgbClr val="4D4D4D"/>
                </a:solidFill>
                <a:latin typeface="Simplon BP Regular"/>
                <a:cs typeface="Simplon BP Regular"/>
              </a:rPr>
              <a:t>AMARELO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1176" dirty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1176" dirty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1176" dirty="0">
                <a:solidFill>
                  <a:srgbClr val="4D4D4D"/>
                </a:solidFill>
                <a:latin typeface="Simplon BP Regular"/>
                <a:cs typeface="Simplon BP Regular"/>
              </a:rPr>
              <a:t>VERDE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1176" dirty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1176" dirty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1176" dirty="0">
                <a:solidFill>
                  <a:srgbClr val="4D4D4D"/>
                </a:solidFill>
                <a:latin typeface="Simplon BP Regular"/>
                <a:cs typeface="Simplon BP Regular"/>
              </a:rPr>
              <a:t>AZUL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1176" dirty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1176" dirty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1176" dirty="0">
                <a:solidFill>
                  <a:srgbClr val="4D4D4D"/>
                </a:solidFill>
                <a:latin typeface="Simplon BP Regular"/>
                <a:cs typeface="Simplon BP Regular"/>
              </a:rPr>
              <a:t>CINZA</a:t>
            </a:r>
            <a:endParaRPr lang="hr-HR" sz="1176" dirty="0">
              <a:solidFill>
                <a:srgbClr val="4D4D4D"/>
              </a:solidFill>
              <a:latin typeface="Simplon BP Regular"/>
              <a:cs typeface="Simplon BP Regular"/>
            </a:endParaRPr>
          </a:p>
        </p:txBody>
      </p:sp>
      <p:sp>
        <p:nvSpPr>
          <p:cNvPr id="75" name="Rectangle 36"/>
          <p:cNvSpPr/>
          <p:nvPr/>
        </p:nvSpPr>
        <p:spPr>
          <a:xfrm>
            <a:off x="13089725" y="1418606"/>
            <a:ext cx="1771986" cy="27148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1176" dirty="0">
                <a:solidFill>
                  <a:srgbClr val="4D4E50"/>
                </a:solidFill>
                <a:latin typeface="Simplon BP Regular"/>
                <a:cs typeface="Simplon BP Regular"/>
              </a:rPr>
              <a:t>R 234  G 40  B 140</a:t>
            </a:r>
          </a:p>
        </p:txBody>
      </p:sp>
      <p:sp>
        <p:nvSpPr>
          <p:cNvPr id="76" name="Rectangle 37"/>
          <p:cNvSpPr/>
          <p:nvPr/>
        </p:nvSpPr>
        <p:spPr>
          <a:xfrm>
            <a:off x="13089725" y="704021"/>
            <a:ext cx="1771986" cy="27148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44810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176" dirty="0">
                <a:solidFill>
                  <a:srgbClr val="4D4E50"/>
                </a:solidFill>
                <a:latin typeface="Simplon BP Regular"/>
                <a:cs typeface="Simplon BP Regular"/>
              </a:rPr>
              <a:t>R 160  G 43  B 255 </a:t>
            </a:r>
          </a:p>
        </p:txBody>
      </p:sp>
      <p:sp>
        <p:nvSpPr>
          <p:cNvPr id="77" name="Rectangle 38"/>
          <p:cNvSpPr/>
          <p:nvPr/>
        </p:nvSpPr>
        <p:spPr>
          <a:xfrm>
            <a:off x="13089725" y="2086867"/>
            <a:ext cx="1771986" cy="27148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1176" dirty="0">
                <a:solidFill>
                  <a:srgbClr val="4D4E50"/>
                </a:solidFill>
                <a:latin typeface="Simplon BP Regular"/>
                <a:cs typeface="Simplon BP Regular"/>
              </a:rPr>
              <a:t>R 255  G 109  B 0</a:t>
            </a:r>
          </a:p>
        </p:txBody>
      </p:sp>
      <p:sp>
        <p:nvSpPr>
          <p:cNvPr id="78" name="Rectangle 39"/>
          <p:cNvSpPr/>
          <p:nvPr/>
        </p:nvSpPr>
        <p:spPr>
          <a:xfrm>
            <a:off x="13089725" y="2811654"/>
            <a:ext cx="1771986" cy="27148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1176" dirty="0">
                <a:solidFill>
                  <a:srgbClr val="4D4E50"/>
                </a:solidFill>
                <a:latin typeface="Simplon BP Regular"/>
                <a:cs typeface="Simplon BP Regular"/>
              </a:rPr>
              <a:t>R 255  G 255  B 0</a:t>
            </a:r>
          </a:p>
        </p:txBody>
      </p:sp>
      <p:sp>
        <p:nvSpPr>
          <p:cNvPr id="79" name="Rectangle 39"/>
          <p:cNvSpPr/>
          <p:nvPr/>
        </p:nvSpPr>
        <p:spPr>
          <a:xfrm>
            <a:off x="13089725" y="3539725"/>
            <a:ext cx="1771986" cy="27148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1176" dirty="0">
                <a:solidFill>
                  <a:srgbClr val="4D4E50"/>
                </a:solidFill>
                <a:latin typeface="Simplon BP Regular"/>
                <a:cs typeface="Simplon BP Regular"/>
              </a:rPr>
              <a:t>R 0  G 211  B 24</a:t>
            </a:r>
          </a:p>
        </p:txBody>
      </p:sp>
      <p:sp>
        <p:nvSpPr>
          <p:cNvPr id="80" name="Rectangle 39"/>
          <p:cNvSpPr/>
          <p:nvPr/>
        </p:nvSpPr>
        <p:spPr>
          <a:xfrm>
            <a:off x="13089725" y="4292047"/>
            <a:ext cx="1771986" cy="27148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1176" dirty="0">
                <a:solidFill>
                  <a:srgbClr val="4D4E50"/>
                </a:solidFill>
                <a:latin typeface="Simplon BP Regular"/>
                <a:cs typeface="Simplon BP Regular"/>
              </a:rPr>
              <a:t>R 0  G 206  B 255</a:t>
            </a:r>
          </a:p>
        </p:txBody>
      </p:sp>
      <p:sp>
        <p:nvSpPr>
          <p:cNvPr id="81" name="Freeform 5"/>
          <p:cNvSpPr>
            <a:spLocks/>
          </p:cNvSpPr>
          <p:nvPr/>
        </p:nvSpPr>
        <p:spPr bwMode="auto">
          <a:xfrm>
            <a:off x="12171818" y="3989909"/>
            <a:ext cx="931451" cy="667999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89618" tIns="44809" rIns="89618" bIns="44809" numCol="1" anchor="t" anchorCtr="0" compatLnSpc="1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pt-BR" sz="1764">
              <a:solidFill>
                <a:prstClr val="black"/>
              </a:solidFill>
              <a:latin typeface="Arial"/>
            </a:endParaRPr>
          </a:p>
        </p:txBody>
      </p:sp>
      <p:sp>
        <p:nvSpPr>
          <p:cNvPr id="82" name="Freeform 5"/>
          <p:cNvSpPr>
            <a:spLocks/>
          </p:cNvSpPr>
          <p:nvPr/>
        </p:nvSpPr>
        <p:spPr bwMode="auto">
          <a:xfrm>
            <a:off x="12171818" y="3272700"/>
            <a:ext cx="931451" cy="667999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89618" tIns="44809" rIns="89618" bIns="44809" numCol="1" anchor="t" anchorCtr="0" compatLnSpc="1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pt-BR" sz="1764">
              <a:solidFill>
                <a:prstClr val="black"/>
              </a:solidFill>
              <a:latin typeface="Arial"/>
            </a:endParaRPr>
          </a:p>
        </p:txBody>
      </p:sp>
      <p:sp>
        <p:nvSpPr>
          <p:cNvPr id="83" name="Freeform 5"/>
          <p:cNvSpPr>
            <a:spLocks/>
          </p:cNvSpPr>
          <p:nvPr/>
        </p:nvSpPr>
        <p:spPr bwMode="auto">
          <a:xfrm>
            <a:off x="12171818" y="2555517"/>
            <a:ext cx="931451" cy="667999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89618" tIns="44809" rIns="89618" bIns="44809" numCol="1" anchor="t" anchorCtr="0" compatLnSpc="1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pt-BR" sz="1764">
              <a:solidFill>
                <a:prstClr val="black"/>
              </a:solidFill>
              <a:latin typeface="Arial"/>
            </a:endParaRPr>
          </a:p>
        </p:txBody>
      </p:sp>
      <p:sp>
        <p:nvSpPr>
          <p:cNvPr id="84" name="Freeform 5"/>
          <p:cNvSpPr>
            <a:spLocks/>
          </p:cNvSpPr>
          <p:nvPr/>
        </p:nvSpPr>
        <p:spPr bwMode="auto">
          <a:xfrm>
            <a:off x="12171818" y="1838318"/>
            <a:ext cx="931451" cy="667999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89618" tIns="44809" rIns="89618" bIns="44809" numCol="1" anchor="t" anchorCtr="0" compatLnSpc="1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pt-BR" sz="1764">
              <a:solidFill>
                <a:prstClr val="black"/>
              </a:solidFill>
              <a:latin typeface="Arial"/>
            </a:endParaRPr>
          </a:p>
        </p:txBody>
      </p:sp>
      <p:sp>
        <p:nvSpPr>
          <p:cNvPr id="85" name="Freeform 5"/>
          <p:cNvSpPr>
            <a:spLocks/>
          </p:cNvSpPr>
          <p:nvPr/>
        </p:nvSpPr>
        <p:spPr bwMode="auto">
          <a:xfrm>
            <a:off x="12171818" y="1121118"/>
            <a:ext cx="931451" cy="667999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89618" tIns="44809" rIns="89618" bIns="44809" numCol="1" anchor="t" anchorCtr="0" compatLnSpc="1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pt-BR" sz="1764">
              <a:solidFill>
                <a:prstClr val="black"/>
              </a:solidFill>
              <a:latin typeface="Arial"/>
            </a:endParaRPr>
          </a:p>
        </p:txBody>
      </p:sp>
      <p:sp>
        <p:nvSpPr>
          <p:cNvPr id="86" name="Freeform 5"/>
          <p:cNvSpPr>
            <a:spLocks/>
          </p:cNvSpPr>
          <p:nvPr/>
        </p:nvSpPr>
        <p:spPr bwMode="auto">
          <a:xfrm>
            <a:off x="12171818" y="403922"/>
            <a:ext cx="931451" cy="667999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89618" tIns="44809" rIns="89618" bIns="44809" numCol="1" anchor="t" anchorCtr="0" compatLnSpc="1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pt-BR" sz="1764">
              <a:solidFill>
                <a:prstClr val="black"/>
              </a:solidFill>
              <a:latin typeface="Arial"/>
            </a:endParaRPr>
          </a:p>
        </p:txBody>
      </p:sp>
      <p:sp>
        <p:nvSpPr>
          <p:cNvPr id="87" name="Rectangle 39"/>
          <p:cNvSpPr/>
          <p:nvPr/>
        </p:nvSpPr>
        <p:spPr>
          <a:xfrm>
            <a:off x="13089725" y="5022121"/>
            <a:ext cx="1771986" cy="27148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1176" dirty="0">
                <a:solidFill>
                  <a:srgbClr val="4D4E50"/>
                </a:solidFill>
                <a:latin typeface="Simplon BP Regular"/>
                <a:cs typeface="Simplon BP Regular"/>
              </a:rPr>
              <a:t>R 77  G 77  B 77</a:t>
            </a:r>
          </a:p>
        </p:txBody>
      </p:sp>
      <p:sp>
        <p:nvSpPr>
          <p:cNvPr id="88" name="Freeform 5"/>
          <p:cNvSpPr>
            <a:spLocks/>
          </p:cNvSpPr>
          <p:nvPr/>
        </p:nvSpPr>
        <p:spPr bwMode="auto">
          <a:xfrm>
            <a:off x="12171818" y="4719987"/>
            <a:ext cx="931451" cy="667999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89618" tIns="44809" rIns="89618" bIns="44809" numCol="1" anchor="t" anchorCtr="0" compatLnSpc="1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pt-BR" sz="1764">
              <a:solidFill>
                <a:prstClr val="black"/>
              </a:solidFill>
              <a:latin typeface="Arial"/>
            </a:endParaRPr>
          </a:p>
        </p:txBody>
      </p:sp>
      <p:sp>
        <p:nvSpPr>
          <p:cNvPr id="104" name="TextBox 39"/>
          <p:cNvSpPr txBox="1"/>
          <p:nvPr/>
        </p:nvSpPr>
        <p:spPr>
          <a:xfrm>
            <a:off x="12171833" y="18111"/>
            <a:ext cx="1609760" cy="34286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fontAlgn="auto">
              <a:spcBef>
                <a:spcPts val="784"/>
              </a:spcBef>
              <a:spcAft>
                <a:spcPts val="0"/>
              </a:spcAft>
            </a:pPr>
            <a:r>
              <a:rPr lang="en-US" sz="1568" dirty="0">
                <a:solidFill>
                  <a:srgbClr val="4D4D4D"/>
                </a:solidFill>
                <a:latin typeface="Simplon Oi Headline"/>
                <a:cs typeface="Simplon Oi Headline"/>
              </a:rPr>
              <a:t>Cores </a:t>
            </a:r>
            <a:r>
              <a:rPr lang="en-US" sz="1568" dirty="0" err="1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endParaRPr lang="en-US" sz="1568" dirty="0">
              <a:solidFill>
                <a:srgbClr val="4D4D4D"/>
              </a:solidFill>
              <a:latin typeface="Simplon Oi Headline"/>
              <a:cs typeface="Simplon Oi Headline"/>
            </a:endParaRPr>
          </a:p>
        </p:txBody>
      </p:sp>
      <p:sp>
        <p:nvSpPr>
          <p:cNvPr id="105" name="TextBox 39"/>
          <p:cNvSpPr txBox="1"/>
          <p:nvPr/>
        </p:nvSpPr>
        <p:spPr>
          <a:xfrm>
            <a:off x="-8908" y="6876504"/>
            <a:ext cx="8262305" cy="34286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fontAlgn="auto">
              <a:spcBef>
                <a:spcPts val="784"/>
              </a:spcBef>
              <a:spcAft>
                <a:spcPts val="0"/>
              </a:spcAft>
            </a:pPr>
            <a:r>
              <a:rPr lang="en-US" sz="1568" dirty="0" err="1">
                <a:solidFill>
                  <a:srgbClr val="4D4D4D"/>
                </a:solidFill>
                <a:latin typeface="Simplon Oi Headline"/>
                <a:cs typeface="Simplon Oi Headline"/>
              </a:rPr>
              <a:t>Esquemas</a:t>
            </a:r>
            <a:r>
              <a:rPr lang="en-US" sz="1568" dirty="0">
                <a:solidFill>
                  <a:srgbClr val="4D4D4D"/>
                </a:solidFill>
                <a:latin typeface="Simplon Oi Headline"/>
                <a:cs typeface="Simplon Oi Headline"/>
              </a:rPr>
              <a:t> de cores </a:t>
            </a:r>
            <a:r>
              <a:rPr lang="en-US" sz="1568" dirty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(</a:t>
            </a:r>
            <a:r>
              <a:rPr lang="en-US" sz="1568" dirty="0" err="1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usar</a:t>
            </a:r>
            <a:r>
              <a:rPr lang="en-US" sz="1568" dirty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</a:t>
            </a:r>
            <a:r>
              <a:rPr lang="en-US" sz="1568" dirty="0" err="1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apenas</a:t>
            </a:r>
            <a:r>
              <a:rPr lang="en-US" sz="1568" dirty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2 cores dos </a:t>
            </a:r>
            <a:r>
              <a:rPr lang="en-US" sz="1568" dirty="0" err="1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esquemas</a:t>
            </a:r>
            <a:r>
              <a:rPr lang="en-US" sz="1568" dirty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</a:t>
            </a:r>
            <a:r>
              <a:rPr lang="en-US" sz="1568" dirty="0" err="1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abaixo</a:t>
            </a:r>
            <a:r>
              <a:rPr lang="en-US" sz="1568" dirty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)</a:t>
            </a:r>
          </a:p>
        </p:txBody>
      </p:sp>
      <p:sp>
        <p:nvSpPr>
          <p:cNvPr id="106" name="Freeform 5"/>
          <p:cNvSpPr>
            <a:spLocks/>
          </p:cNvSpPr>
          <p:nvPr/>
        </p:nvSpPr>
        <p:spPr bwMode="auto">
          <a:xfrm>
            <a:off x="0" y="7244272"/>
            <a:ext cx="2893928" cy="667999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89618" tIns="44809" rIns="89618" bIns="44809" numCol="1" anchor="t" anchorCtr="0" compatLnSpc="1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pt-BR" sz="1764">
              <a:solidFill>
                <a:prstClr val="black"/>
              </a:solidFill>
              <a:latin typeface="Arial"/>
            </a:endParaRPr>
          </a:p>
        </p:txBody>
      </p:sp>
      <p:sp>
        <p:nvSpPr>
          <p:cNvPr id="107" name="Freeform 5"/>
          <p:cNvSpPr>
            <a:spLocks/>
          </p:cNvSpPr>
          <p:nvPr/>
        </p:nvSpPr>
        <p:spPr bwMode="auto">
          <a:xfrm>
            <a:off x="-1" y="7978031"/>
            <a:ext cx="931451" cy="667999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89618" tIns="44809" rIns="89618" bIns="44809" numCol="1" anchor="t" anchorCtr="0" compatLnSpc="1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pt-BR" sz="1764">
              <a:solidFill>
                <a:prstClr val="black"/>
              </a:solidFill>
              <a:latin typeface="Arial"/>
            </a:endParaRPr>
          </a:p>
        </p:txBody>
      </p:sp>
      <p:sp>
        <p:nvSpPr>
          <p:cNvPr id="108" name="Freeform 5"/>
          <p:cNvSpPr>
            <a:spLocks/>
          </p:cNvSpPr>
          <p:nvPr/>
        </p:nvSpPr>
        <p:spPr bwMode="auto">
          <a:xfrm>
            <a:off x="981237" y="7978027"/>
            <a:ext cx="931451" cy="667999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89618" tIns="44809" rIns="89618" bIns="44809" numCol="1" anchor="t" anchorCtr="0" compatLnSpc="1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pt-BR" sz="1764">
              <a:solidFill>
                <a:prstClr val="black"/>
              </a:solidFill>
              <a:latin typeface="Arial"/>
            </a:endParaRPr>
          </a:p>
        </p:txBody>
      </p:sp>
      <p:sp>
        <p:nvSpPr>
          <p:cNvPr id="109" name="Freeform 5"/>
          <p:cNvSpPr>
            <a:spLocks/>
          </p:cNvSpPr>
          <p:nvPr/>
        </p:nvSpPr>
        <p:spPr bwMode="auto">
          <a:xfrm>
            <a:off x="1962478" y="7978027"/>
            <a:ext cx="931451" cy="667999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89618" tIns="44809" rIns="89618" bIns="44809" numCol="1" anchor="t" anchorCtr="0" compatLnSpc="1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pt-BR" sz="1764">
              <a:solidFill>
                <a:prstClr val="black"/>
              </a:solidFill>
              <a:latin typeface="Arial"/>
            </a:endParaRPr>
          </a:p>
        </p:txBody>
      </p:sp>
      <p:sp>
        <p:nvSpPr>
          <p:cNvPr id="110" name="Freeform 5"/>
          <p:cNvSpPr>
            <a:spLocks/>
          </p:cNvSpPr>
          <p:nvPr/>
        </p:nvSpPr>
        <p:spPr bwMode="auto">
          <a:xfrm>
            <a:off x="3160500" y="7244272"/>
            <a:ext cx="2893928" cy="667999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89618" tIns="44809" rIns="89618" bIns="44809" numCol="1" anchor="t" anchorCtr="0" compatLnSpc="1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pt-BR" sz="1764">
              <a:solidFill>
                <a:prstClr val="black"/>
              </a:solidFill>
              <a:latin typeface="Arial"/>
            </a:endParaRPr>
          </a:p>
        </p:txBody>
      </p:sp>
      <p:sp>
        <p:nvSpPr>
          <p:cNvPr id="111" name="Freeform 5"/>
          <p:cNvSpPr>
            <a:spLocks/>
          </p:cNvSpPr>
          <p:nvPr/>
        </p:nvSpPr>
        <p:spPr bwMode="auto">
          <a:xfrm>
            <a:off x="3160501" y="7978031"/>
            <a:ext cx="931451" cy="667999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89618" tIns="44809" rIns="89618" bIns="44809" numCol="1" anchor="t" anchorCtr="0" compatLnSpc="1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pt-BR" sz="1764">
              <a:solidFill>
                <a:prstClr val="black"/>
              </a:solidFill>
              <a:latin typeface="Arial"/>
            </a:endParaRPr>
          </a:p>
        </p:txBody>
      </p:sp>
      <p:sp>
        <p:nvSpPr>
          <p:cNvPr id="112" name="Freeform 5"/>
          <p:cNvSpPr>
            <a:spLocks/>
          </p:cNvSpPr>
          <p:nvPr/>
        </p:nvSpPr>
        <p:spPr bwMode="auto">
          <a:xfrm>
            <a:off x="4141737" y="7978027"/>
            <a:ext cx="931451" cy="667999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89618" tIns="44809" rIns="89618" bIns="44809" numCol="1" anchor="t" anchorCtr="0" compatLnSpc="1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pt-BR" sz="1764">
              <a:solidFill>
                <a:prstClr val="black"/>
              </a:solidFill>
              <a:latin typeface="Arial"/>
            </a:endParaRPr>
          </a:p>
        </p:txBody>
      </p:sp>
      <p:sp>
        <p:nvSpPr>
          <p:cNvPr id="113" name="Freeform 5"/>
          <p:cNvSpPr>
            <a:spLocks/>
          </p:cNvSpPr>
          <p:nvPr/>
        </p:nvSpPr>
        <p:spPr bwMode="auto">
          <a:xfrm>
            <a:off x="5122978" y="7978027"/>
            <a:ext cx="931451" cy="667999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89618" tIns="44809" rIns="89618" bIns="44809" numCol="1" anchor="t" anchorCtr="0" compatLnSpc="1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pt-BR" sz="1764">
              <a:solidFill>
                <a:prstClr val="black"/>
              </a:solidFill>
              <a:latin typeface="Arial"/>
            </a:endParaRPr>
          </a:p>
        </p:txBody>
      </p:sp>
      <p:sp>
        <p:nvSpPr>
          <p:cNvPr id="114" name="Freeform 5"/>
          <p:cNvSpPr>
            <a:spLocks/>
          </p:cNvSpPr>
          <p:nvPr/>
        </p:nvSpPr>
        <p:spPr bwMode="auto">
          <a:xfrm>
            <a:off x="6290919" y="7244272"/>
            <a:ext cx="2893928" cy="667999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89618" tIns="44809" rIns="89618" bIns="44809" numCol="1" anchor="t" anchorCtr="0" compatLnSpc="1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pt-BR" sz="1764">
              <a:solidFill>
                <a:prstClr val="black"/>
              </a:solidFill>
              <a:latin typeface="Arial"/>
            </a:endParaRPr>
          </a:p>
        </p:txBody>
      </p:sp>
      <p:sp>
        <p:nvSpPr>
          <p:cNvPr id="115" name="Freeform 5"/>
          <p:cNvSpPr>
            <a:spLocks/>
          </p:cNvSpPr>
          <p:nvPr/>
        </p:nvSpPr>
        <p:spPr bwMode="auto">
          <a:xfrm>
            <a:off x="6290921" y="7978027"/>
            <a:ext cx="931451" cy="667999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89618" tIns="44809" rIns="89618" bIns="44809" numCol="1" anchor="t" anchorCtr="0" compatLnSpc="1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pt-BR" sz="1764">
              <a:solidFill>
                <a:prstClr val="black"/>
              </a:solidFill>
              <a:latin typeface="Arial"/>
            </a:endParaRPr>
          </a:p>
        </p:txBody>
      </p:sp>
      <p:sp>
        <p:nvSpPr>
          <p:cNvPr id="116" name="Freeform 5"/>
          <p:cNvSpPr>
            <a:spLocks/>
          </p:cNvSpPr>
          <p:nvPr/>
        </p:nvSpPr>
        <p:spPr bwMode="auto">
          <a:xfrm>
            <a:off x="7272159" y="7978027"/>
            <a:ext cx="931451" cy="667999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89618" tIns="44809" rIns="89618" bIns="44809" numCol="1" anchor="t" anchorCtr="0" compatLnSpc="1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pt-BR" sz="1764">
              <a:solidFill>
                <a:prstClr val="black"/>
              </a:solidFill>
              <a:latin typeface="Arial"/>
            </a:endParaRPr>
          </a:p>
        </p:txBody>
      </p:sp>
      <p:sp>
        <p:nvSpPr>
          <p:cNvPr id="117" name="Freeform 5"/>
          <p:cNvSpPr>
            <a:spLocks/>
          </p:cNvSpPr>
          <p:nvPr/>
        </p:nvSpPr>
        <p:spPr bwMode="auto">
          <a:xfrm>
            <a:off x="8253396" y="7978031"/>
            <a:ext cx="931451" cy="667999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89618" tIns="44809" rIns="89618" bIns="44809" numCol="1" anchor="t" anchorCtr="0" compatLnSpc="1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pt-BR" sz="1764">
              <a:solidFill>
                <a:prstClr val="black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80333239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433" r:id="rId1"/>
    <p:sldLayoutId id="2147486434" r:id="rId2"/>
    <p:sldLayoutId id="2147486435" r:id="rId3"/>
    <p:sldLayoutId id="2147486436" r:id="rId4"/>
    <p:sldLayoutId id="2147486437" r:id="rId5"/>
    <p:sldLayoutId id="2147486439" r:id="rId6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448102" rtl="0" eaLnBrk="1" latinLnBrk="0" hangingPunct="1">
        <a:lnSpc>
          <a:spcPts val="2352"/>
        </a:lnSpc>
        <a:spcBef>
          <a:spcPts val="1078"/>
        </a:spcBef>
        <a:buNone/>
        <a:defRPr sz="2156" i="1" kern="1200">
          <a:solidFill>
            <a:schemeClr val="tx1"/>
          </a:solidFill>
          <a:latin typeface="+mn-lt"/>
          <a:ea typeface="+mj-ea"/>
          <a:cs typeface="Arial"/>
        </a:defRPr>
      </a:lvl1pPr>
    </p:titleStyle>
    <p:bodyStyle>
      <a:lvl1pPr marL="0" indent="0" algn="l" defTabSz="448102" rtl="0" eaLnBrk="1" latinLnBrk="0" hangingPunct="1">
        <a:lnSpc>
          <a:spcPts val="1960"/>
        </a:lnSpc>
        <a:spcBef>
          <a:spcPts val="882"/>
        </a:spcBef>
        <a:buFont typeface="Arial"/>
        <a:buNone/>
        <a:defRPr sz="1764" b="0" i="0" kern="1200" baseline="0">
          <a:solidFill>
            <a:schemeClr val="tx1"/>
          </a:solidFill>
          <a:latin typeface="Museo Sans 300"/>
          <a:ea typeface="+mn-ea"/>
          <a:cs typeface="Museo Sans 300"/>
        </a:defRPr>
      </a:lvl1pPr>
      <a:lvl2pPr marL="172706" indent="-172706" algn="l" defTabSz="448102" rtl="0" eaLnBrk="1" latinLnBrk="0" hangingPunct="1">
        <a:lnSpc>
          <a:spcPts val="1960"/>
        </a:lnSpc>
        <a:spcBef>
          <a:spcPts val="882"/>
        </a:spcBef>
        <a:buSzPct val="50000"/>
        <a:buFont typeface="Arial"/>
        <a:buChar char="•"/>
        <a:tabLst/>
        <a:defRPr sz="1764" b="0" i="0" kern="1200">
          <a:solidFill>
            <a:schemeClr val="tx1"/>
          </a:solidFill>
          <a:latin typeface="Museo Sans 300"/>
          <a:ea typeface="+mn-ea"/>
          <a:cs typeface="Museo Sans 300"/>
        </a:defRPr>
      </a:lvl2pPr>
      <a:lvl3pPr marL="896203" indent="0" algn="l" defTabSz="448102" rtl="0" eaLnBrk="1" latinLnBrk="0" hangingPunct="1">
        <a:lnSpc>
          <a:spcPts val="2156"/>
        </a:lnSpc>
        <a:spcBef>
          <a:spcPts val="0"/>
        </a:spcBef>
        <a:buFont typeface="Arial"/>
        <a:buNone/>
        <a:defRPr sz="1568" b="0" i="0" kern="1200">
          <a:solidFill>
            <a:schemeClr val="tx1"/>
          </a:solidFill>
          <a:latin typeface="Museo Sans 300"/>
          <a:ea typeface="+mn-ea"/>
          <a:cs typeface="Museo Sans 300"/>
        </a:defRPr>
      </a:lvl3pPr>
      <a:lvl4pPr marL="1344305" indent="0" algn="l" defTabSz="448102" rtl="0" eaLnBrk="1" latinLnBrk="0" hangingPunct="1">
        <a:lnSpc>
          <a:spcPts val="2156"/>
        </a:lnSpc>
        <a:spcBef>
          <a:spcPts val="0"/>
        </a:spcBef>
        <a:buFont typeface="Arial"/>
        <a:buNone/>
        <a:defRPr sz="1372" b="0" i="0" kern="1200">
          <a:solidFill>
            <a:schemeClr val="tx1"/>
          </a:solidFill>
          <a:latin typeface="Museo Sans 300"/>
          <a:ea typeface="+mn-ea"/>
          <a:cs typeface="Museo Sans 300"/>
        </a:defRPr>
      </a:lvl4pPr>
      <a:lvl5pPr marL="1792407" indent="0" algn="l" defTabSz="448102" rtl="0" eaLnBrk="1" latinLnBrk="0" hangingPunct="1">
        <a:lnSpc>
          <a:spcPts val="2156"/>
        </a:lnSpc>
        <a:spcBef>
          <a:spcPts val="0"/>
        </a:spcBef>
        <a:buFont typeface="Arial"/>
        <a:buNone/>
        <a:defRPr sz="1372" b="0" i="0" kern="1200">
          <a:solidFill>
            <a:schemeClr val="tx1"/>
          </a:solidFill>
          <a:latin typeface="Museo Sans 300"/>
          <a:ea typeface="+mn-ea"/>
          <a:cs typeface="Museo Sans 300"/>
        </a:defRPr>
      </a:lvl5pPr>
      <a:lvl6pPr marL="2464559" indent="-224051" algn="l" defTabSz="448102" rtl="0" eaLnBrk="1" latinLnBrk="0" hangingPunct="1">
        <a:spcBef>
          <a:spcPct val="20000"/>
        </a:spcBef>
        <a:buFont typeface="Arial"/>
        <a:buChar char="•"/>
        <a:defRPr sz="1960" kern="1200">
          <a:solidFill>
            <a:schemeClr val="tx1"/>
          </a:solidFill>
          <a:latin typeface="+mn-lt"/>
          <a:ea typeface="+mn-ea"/>
          <a:cs typeface="+mn-cs"/>
        </a:defRPr>
      </a:lvl6pPr>
      <a:lvl7pPr marL="2912661" indent="-224051" algn="l" defTabSz="448102" rtl="0" eaLnBrk="1" latinLnBrk="0" hangingPunct="1">
        <a:spcBef>
          <a:spcPct val="20000"/>
        </a:spcBef>
        <a:buFont typeface="Arial"/>
        <a:buChar char="•"/>
        <a:defRPr sz="1960" kern="1200">
          <a:solidFill>
            <a:schemeClr val="tx1"/>
          </a:solidFill>
          <a:latin typeface="+mn-lt"/>
          <a:ea typeface="+mn-ea"/>
          <a:cs typeface="+mn-cs"/>
        </a:defRPr>
      </a:lvl7pPr>
      <a:lvl8pPr marL="3360763" indent="-224051" algn="l" defTabSz="448102" rtl="0" eaLnBrk="1" latinLnBrk="0" hangingPunct="1">
        <a:spcBef>
          <a:spcPct val="20000"/>
        </a:spcBef>
        <a:buFont typeface="Arial"/>
        <a:buChar char="•"/>
        <a:defRPr sz="1960" kern="1200">
          <a:solidFill>
            <a:schemeClr val="tx1"/>
          </a:solidFill>
          <a:latin typeface="+mn-lt"/>
          <a:ea typeface="+mn-ea"/>
          <a:cs typeface="+mn-cs"/>
        </a:defRPr>
      </a:lvl8pPr>
      <a:lvl9pPr marL="3808865" indent="-224051" algn="l" defTabSz="448102" rtl="0" eaLnBrk="1" latinLnBrk="0" hangingPunct="1">
        <a:spcBef>
          <a:spcPct val="20000"/>
        </a:spcBef>
        <a:buFont typeface="Arial"/>
        <a:buChar char="•"/>
        <a:defRPr sz="196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48102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1pPr>
      <a:lvl2pPr marL="448102" algn="l" defTabSz="448102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2pPr>
      <a:lvl3pPr marL="896203" algn="l" defTabSz="448102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3pPr>
      <a:lvl4pPr marL="1344305" algn="l" defTabSz="448102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4pPr>
      <a:lvl5pPr marL="1792407" algn="l" defTabSz="448102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5pPr>
      <a:lvl6pPr marL="2240509" algn="l" defTabSz="448102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6pPr>
      <a:lvl7pPr marL="2688610" algn="l" defTabSz="448102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7pPr>
      <a:lvl8pPr marL="3136712" algn="l" defTabSz="448102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8pPr>
      <a:lvl9pPr marL="3584814" algn="l" defTabSz="448102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3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12"/>
            </p:custDataLst>
            <p:extLst/>
          </p:nvPr>
        </p:nvGraphicFramePr>
        <p:xfrm>
          <a:off x="2077" y="2076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82654" name="Slide do think-cell" r:id="rId13" imgW="270" imgH="270" progId="TCLayout.ActiveDocument.1">
                  <p:embed/>
                </p:oleObj>
              </mc:Choice>
              <mc:Fallback>
                <p:oleObj name="Slide do think-cell" r:id="rId1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2077" y="2076"/>
                        <a:ext cx="2074" cy="20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1980" y="358897"/>
            <a:ext cx="7338636" cy="102481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/>
              <a:t>Click</a:t>
            </a:r>
            <a:r>
              <a:rPr lang="pt-PT" dirty="0"/>
              <a:t> to </a:t>
            </a:r>
            <a:r>
              <a:rPr lang="pt-PT" dirty="0" err="1"/>
              <a:t>edit</a:t>
            </a:r>
            <a:r>
              <a:rPr lang="pt-PT" dirty="0"/>
              <a:t> </a:t>
            </a:r>
            <a:r>
              <a:rPr lang="pt-PT" dirty="0" err="1"/>
              <a:t>title</a:t>
            </a:r>
            <a:r>
              <a:rPr lang="pt-PT" dirty="0"/>
              <a:t> </a:t>
            </a:r>
            <a:r>
              <a:rPr lang="pt-PT" dirty="0" err="1"/>
              <a:t>style</a:t>
            </a:r>
            <a:endParaRPr lang="en-US" dirty="0"/>
          </a:p>
        </p:txBody>
      </p:sp>
      <p:sp>
        <p:nvSpPr>
          <p:cNvPr id="13" name="TextBox 12"/>
          <p:cNvSpPr txBox="1"/>
          <p:nvPr/>
        </p:nvSpPr>
        <p:spPr>
          <a:xfrm>
            <a:off x="-281815" y="2"/>
            <a:ext cx="234102" cy="1781519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7454" fontAlgn="auto">
              <a:spcBef>
                <a:spcPts val="0"/>
              </a:spcBef>
              <a:spcAft>
                <a:spcPts val="0"/>
              </a:spcAft>
            </a:pPr>
            <a:r>
              <a:rPr lang="en-US" sz="1306" dirty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6" dirty="0" err="1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6" dirty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-281815" y="1855149"/>
            <a:ext cx="234102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7454" fontAlgn="auto">
              <a:spcBef>
                <a:spcPts val="0"/>
              </a:spcBef>
              <a:spcAft>
                <a:spcPts val="0"/>
              </a:spcAft>
            </a:pPr>
            <a:r>
              <a:rPr lang="en-US" sz="1306" dirty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-281815" y="4207633"/>
            <a:ext cx="234102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r>
              <a:rPr lang="en-US" sz="1306" dirty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/>
        </p:nvSpPr>
        <p:spPr bwMode="auto">
          <a:xfrm>
            <a:off x="11944819" y="3989892"/>
            <a:ext cx="428400" cy="667999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44" tIns="47044" rIns="47044" bIns="47044" numCol="1" anchor="t" anchorCtr="0" compatLnSpc="1">
            <a:prstTxWarp prst="textNoShape">
              <a:avLst/>
            </a:prstTxWarp>
          </a:bodyPr>
          <a:lstStyle/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r>
              <a:rPr lang="en-US" sz="1046" dirty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r>
              <a:rPr lang="en-US" sz="1046" dirty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r>
              <a:rPr lang="en-US" sz="1046" dirty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</a:p>
        </p:txBody>
      </p:sp>
      <p:sp>
        <p:nvSpPr>
          <p:cNvPr id="17" name="Freeform 16"/>
          <p:cNvSpPr>
            <a:spLocks/>
          </p:cNvSpPr>
          <p:nvPr/>
        </p:nvSpPr>
        <p:spPr bwMode="auto">
          <a:xfrm>
            <a:off x="11944819" y="3272694"/>
            <a:ext cx="428400" cy="667999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44" tIns="47044" rIns="47044" bIns="47044" numCol="1" anchor="t" anchorCtr="0" compatLnSpc="1">
            <a:prstTxWarp prst="textNoShape">
              <a:avLst/>
            </a:prstTxWarp>
          </a:bodyPr>
          <a:lstStyle/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r>
              <a:rPr lang="en-US" sz="1046" dirty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r>
              <a:rPr lang="en-US" sz="1046" dirty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r>
              <a:rPr lang="en-US" sz="1046" dirty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</a:p>
        </p:txBody>
      </p:sp>
      <p:sp>
        <p:nvSpPr>
          <p:cNvPr id="18" name="Freeform 5"/>
          <p:cNvSpPr>
            <a:spLocks/>
          </p:cNvSpPr>
          <p:nvPr/>
        </p:nvSpPr>
        <p:spPr bwMode="auto">
          <a:xfrm>
            <a:off x="11944819" y="2555497"/>
            <a:ext cx="428400" cy="667999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44" tIns="47044" rIns="47044" bIns="47044" numCol="1" anchor="t" anchorCtr="0" compatLnSpc="1">
            <a:prstTxWarp prst="textNoShape">
              <a:avLst/>
            </a:prstTxWarp>
          </a:bodyPr>
          <a:lstStyle/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r>
              <a:rPr lang="en-US" sz="1046" dirty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r>
              <a:rPr lang="en-US" sz="1046" dirty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r>
              <a:rPr lang="en-US" sz="1046" dirty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</a:p>
        </p:txBody>
      </p:sp>
      <p:sp>
        <p:nvSpPr>
          <p:cNvPr id="19" name="Freeform 5"/>
          <p:cNvSpPr>
            <a:spLocks/>
          </p:cNvSpPr>
          <p:nvPr/>
        </p:nvSpPr>
        <p:spPr bwMode="auto">
          <a:xfrm>
            <a:off x="11944819" y="1838298"/>
            <a:ext cx="428400" cy="667999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44" tIns="47044" rIns="47044" bIns="47044" numCol="1" anchor="t" anchorCtr="0" compatLnSpc="1">
            <a:prstTxWarp prst="textNoShape">
              <a:avLst/>
            </a:prstTxWarp>
          </a:bodyPr>
          <a:lstStyle/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r>
              <a:rPr lang="en-US" sz="1046" dirty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r>
              <a:rPr lang="en-US" sz="1046" dirty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r>
              <a:rPr lang="en-US" sz="1046" dirty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</a:p>
        </p:txBody>
      </p:sp>
      <p:sp>
        <p:nvSpPr>
          <p:cNvPr id="29" name="Freeform 28"/>
          <p:cNvSpPr>
            <a:spLocks/>
          </p:cNvSpPr>
          <p:nvPr/>
        </p:nvSpPr>
        <p:spPr bwMode="auto">
          <a:xfrm>
            <a:off x="11944819" y="1121101"/>
            <a:ext cx="428400" cy="667999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44" tIns="47044" rIns="47044" bIns="47044" numCol="1" anchor="t" anchorCtr="0" compatLnSpc="1">
            <a:prstTxWarp prst="textNoShape">
              <a:avLst/>
            </a:prstTxWarp>
          </a:bodyPr>
          <a:lstStyle/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r>
              <a:rPr lang="en-US" sz="1046" dirty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r>
              <a:rPr lang="en-US" sz="1046" dirty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r>
              <a:rPr lang="en-US" sz="1046" dirty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</a:p>
        </p:txBody>
      </p:sp>
      <p:sp>
        <p:nvSpPr>
          <p:cNvPr id="30" name="Freeform 5"/>
          <p:cNvSpPr>
            <a:spLocks/>
          </p:cNvSpPr>
          <p:nvPr/>
        </p:nvSpPr>
        <p:spPr bwMode="auto">
          <a:xfrm>
            <a:off x="11944819" y="403903"/>
            <a:ext cx="428400" cy="667999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44" tIns="47044" rIns="47044" bIns="47044" numCol="1" anchor="t" anchorCtr="0" compatLnSpc="1">
            <a:prstTxWarp prst="textNoShape">
              <a:avLst/>
            </a:prstTxWarp>
          </a:bodyPr>
          <a:lstStyle/>
          <a:p>
            <a:pPr defTabSz="5974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46" dirty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74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46" dirty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74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46" dirty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</a:p>
        </p:txBody>
      </p:sp>
      <p:sp>
        <p:nvSpPr>
          <p:cNvPr id="31" name="Freeform 5"/>
          <p:cNvSpPr>
            <a:spLocks/>
          </p:cNvSpPr>
          <p:nvPr/>
        </p:nvSpPr>
        <p:spPr bwMode="auto">
          <a:xfrm>
            <a:off x="11944819" y="4719966"/>
            <a:ext cx="428400" cy="667999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44" tIns="47044" rIns="47044" bIns="47044" numCol="1" anchor="t" anchorCtr="0" compatLnSpc="1">
            <a:prstTxWarp prst="textNoShape">
              <a:avLst/>
            </a:prstTxWarp>
          </a:bodyPr>
          <a:lstStyle/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r>
              <a:rPr lang="en-US" sz="1046" dirty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r>
              <a:rPr lang="en-US" sz="1046" dirty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r>
              <a:rPr lang="en-US" sz="1046" dirty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</a:p>
        </p:txBody>
      </p:sp>
      <p:sp>
        <p:nvSpPr>
          <p:cNvPr id="32" name="TextBox 39"/>
          <p:cNvSpPr txBox="1"/>
          <p:nvPr/>
        </p:nvSpPr>
        <p:spPr>
          <a:xfrm>
            <a:off x="9223675" y="6781853"/>
            <a:ext cx="2679054" cy="43695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7454" fontAlgn="auto">
              <a:spcBef>
                <a:spcPts val="1046"/>
              </a:spcBef>
              <a:spcAft>
                <a:spcPts val="0"/>
              </a:spcAft>
            </a:pPr>
            <a:r>
              <a:rPr lang="en-US" sz="1438" dirty="0" err="1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38" dirty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38" dirty="0" err="1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38" dirty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38" dirty="0" err="1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38" dirty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38" dirty="0" err="1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38" dirty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38" dirty="0" err="1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38" dirty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091" dirty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3" name="Freeform 5"/>
          <p:cNvSpPr>
            <a:spLocks/>
          </p:cNvSpPr>
          <p:nvPr/>
        </p:nvSpPr>
        <p:spPr bwMode="auto">
          <a:xfrm>
            <a:off x="-10960" y="6748318"/>
            <a:ext cx="2893928" cy="207242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/>
        </p:nvSpPr>
        <p:spPr bwMode="auto">
          <a:xfrm>
            <a:off x="-10961" y="7011569"/>
            <a:ext cx="931451" cy="207242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/>
        </p:nvSpPr>
        <p:spPr bwMode="auto">
          <a:xfrm>
            <a:off x="970277" y="7011568"/>
            <a:ext cx="931451" cy="207242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/>
        </p:nvSpPr>
        <p:spPr bwMode="auto">
          <a:xfrm>
            <a:off x="1951516" y="7011568"/>
            <a:ext cx="931451" cy="207242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/>
        </p:nvSpPr>
        <p:spPr bwMode="auto">
          <a:xfrm>
            <a:off x="3149540" y="6748318"/>
            <a:ext cx="2893928" cy="207242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/>
        </p:nvSpPr>
        <p:spPr bwMode="auto">
          <a:xfrm>
            <a:off x="3149539" y="7011569"/>
            <a:ext cx="931451" cy="207242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/>
        </p:nvSpPr>
        <p:spPr bwMode="auto">
          <a:xfrm>
            <a:off x="4130777" y="7011568"/>
            <a:ext cx="931451" cy="207242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/>
        </p:nvSpPr>
        <p:spPr bwMode="auto">
          <a:xfrm>
            <a:off x="5112016" y="7011568"/>
            <a:ext cx="931451" cy="207242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/>
        </p:nvSpPr>
        <p:spPr bwMode="auto">
          <a:xfrm>
            <a:off x="6279960" y="6748317"/>
            <a:ext cx="2893928" cy="207242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/>
        </p:nvSpPr>
        <p:spPr bwMode="auto">
          <a:xfrm>
            <a:off x="6279957" y="7011568"/>
            <a:ext cx="931451" cy="207242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43" name="Freeform 5"/>
          <p:cNvSpPr>
            <a:spLocks/>
          </p:cNvSpPr>
          <p:nvPr/>
        </p:nvSpPr>
        <p:spPr bwMode="auto">
          <a:xfrm>
            <a:off x="7261196" y="7011568"/>
            <a:ext cx="931451" cy="207242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" name="Freeform 5"/>
          <p:cNvSpPr>
            <a:spLocks/>
          </p:cNvSpPr>
          <p:nvPr/>
        </p:nvSpPr>
        <p:spPr bwMode="auto">
          <a:xfrm>
            <a:off x="8242437" y="7011569"/>
            <a:ext cx="931451" cy="207242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54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0994291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441" r:id="rId1"/>
    <p:sldLayoutId id="2147486442" r:id="rId2"/>
    <p:sldLayoutId id="2147486443" r:id="rId3"/>
    <p:sldLayoutId id="2147486444" r:id="rId4"/>
    <p:sldLayoutId id="2147486445" r:id="rId5"/>
    <p:sldLayoutId id="2147486446" r:id="rId6"/>
    <p:sldLayoutId id="2147486447" r:id="rId7"/>
    <p:sldLayoutId id="2147486448" r:id="rId8"/>
    <p:sldLayoutId id="2147486449" r:id="rId9"/>
  </p:sldLayoutIdLst>
  <p:hf hdr="0" dt="0"/>
  <p:txStyles>
    <p:titleStyle>
      <a:lvl1pPr algn="l" defTabSz="597454" rtl="0" eaLnBrk="1" latinLnBrk="0" hangingPunct="1">
        <a:lnSpc>
          <a:spcPts val="5489"/>
        </a:lnSpc>
        <a:spcBef>
          <a:spcPct val="0"/>
        </a:spcBef>
        <a:spcAft>
          <a:spcPts val="0"/>
        </a:spcAft>
        <a:buNone/>
        <a:defRPr lang="pt-BR" sz="5489" b="0" i="0" kern="1200" noProof="0">
          <a:solidFill>
            <a:srgbClr val="A037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40641" indent="-240641" algn="l" defTabSz="5974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3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7133" indent="-230270" algn="l" defTabSz="5974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7133" algn="l"/>
        </a:tabLst>
        <a:defRPr lang="es-ES_tradnl" sz="183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7403" indent="-230270" algn="l" defTabSz="5974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7403" algn="l"/>
        </a:tabLst>
        <a:defRPr lang="es-ES_tradnl" sz="183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7670" indent="-230270" algn="l" defTabSz="5974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7670" algn="l"/>
        </a:tabLst>
        <a:defRPr lang="es-ES_tradnl" sz="183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7940" indent="-230270" algn="l" defTabSz="5974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7940" algn="l"/>
        </a:tabLst>
        <a:defRPr lang="pt-BR" sz="183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85997" indent="-298727" algn="l" defTabSz="597454" rtl="0" eaLnBrk="1" latinLnBrk="0" hangingPunct="1">
        <a:spcBef>
          <a:spcPct val="20000"/>
        </a:spcBef>
        <a:buFont typeface="Arial"/>
        <a:buChar char="•"/>
        <a:defRPr sz="2614" kern="1200">
          <a:solidFill>
            <a:schemeClr val="tx1"/>
          </a:solidFill>
          <a:latin typeface="+mn-lt"/>
          <a:ea typeface="+mn-ea"/>
          <a:cs typeface="+mn-cs"/>
        </a:defRPr>
      </a:lvl6pPr>
      <a:lvl7pPr marL="3883451" indent="-298727" algn="l" defTabSz="597454" rtl="0" eaLnBrk="1" latinLnBrk="0" hangingPunct="1">
        <a:spcBef>
          <a:spcPct val="20000"/>
        </a:spcBef>
        <a:buFont typeface="Arial"/>
        <a:buChar char="•"/>
        <a:defRPr sz="2614" kern="1200">
          <a:solidFill>
            <a:schemeClr val="tx1"/>
          </a:solidFill>
          <a:latin typeface="+mn-lt"/>
          <a:ea typeface="+mn-ea"/>
          <a:cs typeface="+mn-cs"/>
        </a:defRPr>
      </a:lvl7pPr>
      <a:lvl8pPr marL="4480905" indent="-298727" algn="l" defTabSz="597454" rtl="0" eaLnBrk="1" latinLnBrk="0" hangingPunct="1">
        <a:spcBef>
          <a:spcPct val="20000"/>
        </a:spcBef>
        <a:buFont typeface="Arial"/>
        <a:buChar char="•"/>
        <a:defRPr sz="2614" kern="1200">
          <a:solidFill>
            <a:schemeClr val="tx1"/>
          </a:solidFill>
          <a:latin typeface="+mn-lt"/>
          <a:ea typeface="+mn-ea"/>
          <a:cs typeface="+mn-cs"/>
        </a:defRPr>
      </a:lvl8pPr>
      <a:lvl9pPr marL="5078359" indent="-298727" algn="l" defTabSz="597454" rtl="0" eaLnBrk="1" latinLnBrk="0" hangingPunct="1">
        <a:spcBef>
          <a:spcPct val="20000"/>
        </a:spcBef>
        <a:buFont typeface="Arial"/>
        <a:buChar char="•"/>
        <a:defRPr sz="2614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7454" rtl="0" eaLnBrk="1" latinLnBrk="0" hangingPunct="1">
        <a:defRPr sz="2352" kern="1200">
          <a:solidFill>
            <a:schemeClr val="tx1"/>
          </a:solidFill>
          <a:latin typeface="+mn-lt"/>
          <a:ea typeface="+mn-ea"/>
          <a:cs typeface="+mn-cs"/>
        </a:defRPr>
      </a:lvl1pPr>
      <a:lvl2pPr marL="597454" algn="l" defTabSz="597454" rtl="0" eaLnBrk="1" latinLnBrk="0" hangingPunct="1">
        <a:defRPr sz="2352" kern="1200">
          <a:solidFill>
            <a:schemeClr val="tx1"/>
          </a:solidFill>
          <a:latin typeface="+mn-lt"/>
          <a:ea typeface="+mn-ea"/>
          <a:cs typeface="+mn-cs"/>
        </a:defRPr>
      </a:lvl2pPr>
      <a:lvl3pPr marL="1194909" algn="l" defTabSz="597454" rtl="0" eaLnBrk="1" latinLnBrk="0" hangingPunct="1">
        <a:defRPr sz="2352" kern="1200">
          <a:solidFill>
            <a:schemeClr val="tx1"/>
          </a:solidFill>
          <a:latin typeface="+mn-lt"/>
          <a:ea typeface="+mn-ea"/>
          <a:cs typeface="+mn-cs"/>
        </a:defRPr>
      </a:lvl3pPr>
      <a:lvl4pPr marL="1792362" algn="l" defTabSz="597454" rtl="0" eaLnBrk="1" latinLnBrk="0" hangingPunct="1">
        <a:defRPr sz="2352" kern="1200">
          <a:solidFill>
            <a:schemeClr val="tx1"/>
          </a:solidFill>
          <a:latin typeface="+mn-lt"/>
          <a:ea typeface="+mn-ea"/>
          <a:cs typeface="+mn-cs"/>
        </a:defRPr>
      </a:lvl4pPr>
      <a:lvl5pPr marL="2389816" algn="l" defTabSz="597454" rtl="0" eaLnBrk="1" latinLnBrk="0" hangingPunct="1">
        <a:defRPr sz="2352" kern="1200">
          <a:solidFill>
            <a:schemeClr val="tx1"/>
          </a:solidFill>
          <a:latin typeface="+mn-lt"/>
          <a:ea typeface="+mn-ea"/>
          <a:cs typeface="+mn-cs"/>
        </a:defRPr>
      </a:lvl5pPr>
      <a:lvl6pPr marL="2987270" algn="l" defTabSz="597454" rtl="0" eaLnBrk="1" latinLnBrk="0" hangingPunct="1">
        <a:defRPr sz="2352" kern="1200">
          <a:solidFill>
            <a:schemeClr val="tx1"/>
          </a:solidFill>
          <a:latin typeface="+mn-lt"/>
          <a:ea typeface="+mn-ea"/>
          <a:cs typeface="+mn-cs"/>
        </a:defRPr>
      </a:lvl6pPr>
      <a:lvl7pPr marL="3584725" algn="l" defTabSz="597454" rtl="0" eaLnBrk="1" latinLnBrk="0" hangingPunct="1">
        <a:defRPr sz="2352" kern="1200">
          <a:solidFill>
            <a:schemeClr val="tx1"/>
          </a:solidFill>
          <a:latin typeface="+mn-lt"/>
          <a:ea typeface="+mn-ea"/>
          <a:cs typeface="+mn-cs"/>
        </a:defRPr>
      </a:lvl7pPr>
      <a:lvl8pPr marL="4182178" algn="l" defTabSz="597454" rtl="0" eaLnBrk="1" latinLnBrk="0" hangingPunct="1">
        <a:defRPr sz="2352" kern="1200">
          <a:solidFill>
            <a:schemeClr val="tx1"/>
          </a:solidFill>
          <a:latin typeface="+mn-lt"/>
          <a:ea typeface="+mn-ea"/>
          <a:cs typeface="+mn-cs"/>
        </a:defRPr>
      </a:lvl8pPr>
      <a:lvl9pPr marL="4779632" algn="l" defTabSz="597454" rtl="0" eaLnBrk="1" latinLnBrk="0" hangingPunct="1">
        <a:defRPr sz="235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23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17"/>
            </p:custDataLst>
            <p:extLst/>
          </p:nvPr>
        </p:nvGraphicFramePr>
        <p:xfrm>
          <a:off x="2077" y="2076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83678" name="think-cell Slide" r:id="rId18" imgW="270" imgH="270" progId="TCLayout.ActiveDocument.1">
                  <p:embed/>
                </p:oleObj>
              </mc:Choice>
              <mc:Fallback>
                <p:oleObj name="think-cell Slide" r:id="rId1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2077" y="2076"/>
                        <a:ext cx="2074" cy="20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Box 11"/>
          <p:cNvSpPr txBox="1"/>
          <p:nvPr/>
        </p:nvSpPr>
        <p:spPr>
          <a:xfrm>
            <a:off x="15141258" y="802410"/>
            <a:ext cx="1194911" cy="896197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fontAlgn="auto">
              <a:lnSpc>
                <a:spcPts val="2352"/>
              </a:lnSpc>
              <a:spcBef>
                <a:spcPts val="1046"/>
              </a:spcBef>
              <a:spcAft>
                <a:spcPts val="0"/>
              </a:spcAft>
            </a:pPr>
            <a:endParaRPr lang="en-US" sz="2091" i="1" dirty="0" smtClean="0">
              <a:solidFill>
                <a:prstClr val="black"/>
              </a:solidFill>
              <a:latin typeface="Georgia"/>
            </a:endParaRPr>
          </a:p>
        </p:txBody>
      </p:sp>
      <p:sp>
        <p:nvSpPr>
          <p:cNvPr id="40" name="TextBox 39"/>
          <p:cNvSpPr txBox="1"/>
          <p:nvPr/>
        </p:nvSpPr>
        <p:spPr>
          <a:xfrm>
            <a:off x="-4036923" y="21562"/>
            <a:ext cx="3924429" cy="268746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fontAlgn="auto">
              <a:lnSpc>
                <a:spcPts val="7317"/>
              </a:lnSpc>
              <a:spcBef>
                <a:spcPts val="1046"/>
              </a:spcBef>
              <a:spcAft>
                <a:spcPts val="0"/>
              </a:spcAft>
            </a:pPr>
            <a:r>
              <a:rPr lang="en-US" sz="7317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Título</a:t>
            </a:r>
            <a:r>
              <a:rPr lang="en-US" sz="7317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Simplon </a:t>
            </a:r>
            <a:r>
              <a:rPr lang="en-US" sz="7317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7317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41" name="TextBox 40"/>
          <p:cNvSpPr txBox="1"/>
          <p:nvPr/>
        </p:nvSpPr>
        <p:spPr>
          <a:xfrm>
            <a:off x="-3988733" y="3046421"/>
            <a:ext cx="3579590" cy="144044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fontAlgn="auto">
              <a:lnSpc>
                <a:spcPts val="3659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3659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UBTÍTULOS</a:t>
            </a:r>
          </a:p>
          <a:p>
            <a:pPr fontAlgn="auto">
              <a:lnSpc>
                <a:spcPts val="3659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3659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42" name="TextBox 41"/>
          <p:cNvSpPr txBox="1"/>
          <p:nvPr/>
        </p:nvSpPr>
        <p:spPr>
          <a:xfrm>
            <a:off x="-3988733" y="4728448"/>
            <a:ext cx="3579590" cy="38734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fontAlgn="auto">
              <a:lnSpc>
                <a:spcPts val="183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30" dirty="0" err="1" smtClean="0">
                <a:solidFill>
                  <a:srgbClr val="4D4D4D"/>
                </a:solidFill>
                <a:latin typeface="Simplon BP Regular"/>
                <a:cs typeface="Simplon BP Regular"/>
              </a:rPr>
              <a:t>Textos</a:t>
            </a:r>
            <a:r>
              <a:rPr lang="en-US" sz="183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 Simplon BP Regular 14pt</a:t>
            </a:r>
          </a:p>
        </p:txBody>
      </p:sp>
      <p:sp>
        <p:nvSpPr>
          <p:cNvPr id="74" name="Rectangle 35"/>
          <p:cNvSpPr/>
          <p:nvPr/>
        </p:nvSpPr>
        <p:spPr>
          <a:xfrm>
            <a:off x="13078579" y="403903"/>
            <a:ext cx="1158625" cy="467556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pt-BR" sz="1568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ROXO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1568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1568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1568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ROSA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1568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1568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1568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LARANJA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1568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1568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1568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AMARELO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1568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1568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1568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VERDE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1568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1568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1568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AZUL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1568" dirty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1568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1568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CINZA</a:t>
            </a:r>
            <a:endParaRPr lang="hr-HR" sz="1568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</p:txBody>
      </p:sp>
      <p:sp>
        <p:nvSpPr>
          <p:cNvPr id="75" name="Rectangle 36"/>
          <p:cNvSpPr/>
          <p:nvPr/>
        </p:nvSpPr>
        <p:spPr>
          <a:xfrm>
            <a:off x="13089725" y="1418580"/>
            <a:ext cx="1771986" cy="33181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1568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G 40  B 140</a:t>
            </a:r>
            <a:endParaRPr lang="en-US" sz="1568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6" name="Rectangle 37"/>
          <p:cNvSpPr/>
          <p:nvPr/>
        </p:nvSpPr>
        <p:spPr>
          <a:xfrm>
            <a:off x="13089725" y="704000"/>
            <a:ext cx="1771986" cy="33181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5974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568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160  G 43  B 255 </a:t>
            </a:r>
            <a:endParaRPr lang="en-US" sz="1568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7" name="Rectangle 38"/>
          <p:cNvSpPr/>
          <p:nvPr/>
        </p:nvSpPr>
        <p:spPr>
          <a:xfrm>
            <a:off x="13089725" y="2086847"/>
            <a:ext cx="1771986" cy="33181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1568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G 109  B 0</a:t>
            </a:r>
            <a:endParaRPr lang="en-US" sz="1568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8" name="Rectangle 39"/>
          <p:cNvSpPr/>
          <p:nvPr/>
        </p:nvSpPr>
        <p:spPr>
          <a:xfrm>
            <a:off x="13089725" y="2811633"/>
            <a:ext cx="1771986" cy="33181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1568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G 255  B 0</a:t>
            </a:r>
            <a:endParaRPr lang="en-US" sz="1568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9" name="Rectangle 39"/>
          <p:cNvSpPr/>
          <p:nvPr/>
        </p:nvSpPr>
        <p:spPr>
          <a:xfrm>
            <a:off x="13089725" y="3539716"/>
            <a:ext cx="1771986" cy="33181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1568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G 211  B 24</a:t>
            </a:r>
            <a:endParaRPr lang="en-US" sz="1568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0" name="Rectangle 39"/>
          <p:cNvSpPr/>
          <p:nvPr/>
        </p:nvSpPr>
        <p:spPr>
          <a:xfrm>
            <a:off x="13089725" y="4292026"/>
            <a:ext cx="1771986" cy="33181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1568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G 206  B 255</a:t>
            </a:r>
            <a:endParaRPr lang="en-US" sz="1568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1" name="Freeform 5"/>
          <p:cNvSpPr>
            <a:spLocks/>
          </p:cNvSpPr>
          <p:nvPr/>
        </p:nvSpPr>
        <p:spPr bwMode="auto">
          <a:xfrm>
            <a:off x="12171818" y="3989894"/>
            <a:ext cx="931451" cy="667999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prstClr val="black"/>
              </a:solidFill>
              <a:latin typeface="Georgia"/>
            </a:endParaRPr>
          </a:p>
        </p:txBody>
      </p:sp>
      <p:sp>
        <p:nvSpPr>
          <p:cNvPr id="82" name="Freeform 5"/>
          <p:cNvSpPr>
            <a:spLocks/>
          </p:cNvSpPr>
          <p:nvPr/>
        </p:nvSpPr>
        <p:spPr bwMode="auto">
          <a:xfrm>
            <a:off x="12171818" y="3272695"/>
            <a:ext cx="931451" cy="667999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prstClr val="black"/>
              </a:solidFill>
              <a:latin typeface="Georgia"/>
            </a:endParaRPr>
          </a:p>
        </p:txBody>
      </p:sp>
      <p:sp>
        <p:nvSpPr>
          <p:cNvPr id="83" name="Freeform 5"/>
          <p:cNvSpPr>
            <a:spLocks/>
          </p:cNvSpPr>
          <p:nvPr/>
        </p:nvSpPr>
        <p:spPr bwMode="auto">
          <a:xfrm>
            <a:off x="12171818" y="2555498"/>
            <a:ext cx="931451" cy="667999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prstClr val="black"/>
              </a:solidFill>
              <a:latin typeface="Georgia"/>
            </a:endParaRPr>
          </a:p>
        </p:txBody>
      </p:sp>
      <p:sp>
        <p:nvSpPr>
          <p:cNvPr id="84" name="Freeform 5"/>
          <p:cNvSpPr>
            <a:spLocks/>
          </p:cNvSpPr>
          <p:nvPr/>
        </p:nvSpPr>
        <p:spPr bwMode="auto">
          <a:xfrm>
            <a:off x="12171818" y="1838300"/>
            <a:ext cx="931451" cy="667999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prstClr val="black"/>
              </a:solidFill>
              <a:latin typeface="Georgia"/>
            </a:endParaRPr>
          </a:p>
        </p:txBody>
      </p:sp>
      <p:sp>
        <p:nvSpPr>
          <p:cNvPr id="85" name="Freeform 5"/>
          <p:cNvSpPr>
            <a:spLocks/>
          </p:cNvSpPr>
          <p:nvPr/>
        </p:nvSpPr>
        <p:spPr bwMode="auto">
          <a:xfrm>
            <a:off x="12171818" y="1121102"/>
            <a:ext cx="931451" cy="667999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prstClr val="black"/>
              </a:solidFill>
              <a:latin typeface="Georgia"/>
            </a:endParaRPr>
          </a:p>
        </p:txBody>
      </p:sp>
      <p:sp>
        <p:nvSpPr>
          <p:cNvPr id="86" name="Freeform 5"/>
          <p:cNvSpPr>
            <a:spLocks/>
          </p:cNvSpPr>
          <p:nvPr/>
        </p:nvSpPr>
        <p:spPr bwMode="auto">
          <a:xfrm>
            <a:off x="12171818" y="403904"/>
            <a:ext cx="931451" cy="667999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prstClr val="black"/>
              </a:solidFill>
              <a:latin typeface="Georgia"/>
            </a:endParaRPr>
          </a:p>
        </p:txBody>
      </p:sp>
      <p:sp>
        <p:nvSpPr>
          <p:cNvPr id="87" name="Rectangle 39"/>
          <p:cNvSpPr/>
          <p:nvPr/>
        </p:nvSpPr>
        <p:spPr>
          <a:xfrm>
            <a:off x="13089725" y="5022099"/>
            <a:ext cx="1771986" cy="33181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1568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77  G 77  B 77</a:t>
            </a:r>
            <a:endParaRPr lang="en-US" sz="1568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8" name="Freeform 5"/>
          <p:cNvSpPr>
            <a:spLocks/>
          </p:cNvSpPr>
          <p:nvPr/>
        </p:nvSpPr>
        <p:spPr bwMode="auto">
          <a:xfrm>
            <a:off x="12171818" y="4719967"/>
            <a:ext cx="931451" cy="667999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prstClr val="black"/>
              </a:solidFill>
              <a:latin typeface="Georgia"/>
            </a:endParaRPr>
          </a:p>
        </p:txBody>
      </p:sp>
      <p:sp>
        <p:nvSpPr>
          <p:cNvPr id="104" name="TextBox 39"/>
          <p:cNvSpPr txBox="1"/>
          <p:nvPr/>
        </p:nvSpPr>
        <p:spPr>
          <a:xfrm>
            <a:off x="12171823" y="18109"/>
            <a:ext cx="1609760" cy="34286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fontAlgn="auto">
              <a:spcBef>
                <a:spcPts val="1046"/>
              </a:spcBef>
              <a:spcAft>
                <a:spcPts val="0"/>
              </a:spcAft>
            </a:pPr>
            <a:r>
              <a:rPr lang="en-US" sz="2091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Cores </a:t>
            </a:r>
            <a:r>
              <a:rPr lang="en-US" sz="2091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endParaRPr lang="en-US" sz="2091" dirty="0" smtClean="0">
              <a:solidFill>
                <a:srgbClr val="4D4D4D"/>
              </a:solidFill>
              <a:latin typeface="Simplon Oi Headline"/>
              <a:cs typeface="Simplon Oi Headline"/>
            </a:endParaRPr>
          </a:p>
        </p:txBody>
      </p:sp>
      <p:sp>
        <p:nvSpPr>
          <p:cNvPr id="105" name="TextBox 39"/>
          <p:cNvSpPr txBox="1"/>
          <p:nvPr/>
        </p:nvSpPr>
        <p:spPr>
          <a:xfrm>
            <a:off x="-8908" y="6876503"/>
            <a:ext cx="8262305" cy="34286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fontAlgn="auto">
              <a:spcBef>
                <a:spcPts val="1046"/>
              </a:spcBef>
              <a:spcAft>
                <a:spcPts val="0"/>
              </a:spcAft>
            </a:pPr>
            <a:r>
              <a:rPr lang="en-US" sz="2091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Esquemas</a:t>
            </a:r>
            <a:r>
              <a:rPr lang="en-US" sz="2091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de cores </a:t>
            </a:r>
            <a:r>
              <a:rPr lang="en-US" sz="2091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(</a:t>
            </a:r>
            <a:r>
              <a:rPr lang="en-US" sz="2091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usar</a:t>
            </a:r>
            <a:r>
              <a:rPr lang="en-US" sz="2091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</a:t>
            </a:r>
            <a:r>
              <a:rPr lang="en-US" sz="2091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apenas</a:t>
            </a:r>
            <a:r>
              <a:rPr lang="en-US" sz="2091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2 cores dos </a:t>
            </a:r>
            <a:r>
              <a:rPr lang="en-US" sz="2091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esquemas</a:t>
            </a:r>
            <a:r>
              <a:rPr lang="en-US" sz="2091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</a:t>
            </a:r>
            <a:r>
              <a:rPr lang="en-US" sz="2091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abaixo</a:t>
            </a:r>
            <a:r>
              <a:rPr lang="en-US" sz="2091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)</a:t>
            </a:r>
          </a:p>
        </p:txBody>
      </p:sp>
      <p:sp>
        <p:nvSpPr>
          <p:cNvPr id="106" name="Freeform 5"/>
          <p:cNvSpPr>
            <a:spLocks/>
          </p:cNvSpPr>
          <p:nvPr/>
        </p:nvSpPr>
        <p:spPr bwMode="auto">
          <a:xfrm>
            <a:off x="0" y="7244262"/>
            <a:ext cx="2893928" cy="667999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prstClr val="black"/>
              </a:solidFill>
              <a:latin typeface="Georgia"/>
            </a:endParaRPr>
          </a:p>
        </p:txBody>
      </p:sp>
      <p:sp>
        <p:nvSpPr>
          <p:cNvPr id="107" name="Freeform 5"/>
          <p:cNvSpPr>
            <a:spLocks/>
          </p:cNvSpPr>
          <p:nvPr/>
        </p:nvSpPr>
        <p:spPr bwMode="auto">
          <a:xfrm>
            <a:off x="-1" y="7978012"/>
            <a:ext cx="931451" cy="667999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prstClr val="black"/>
              </a:solidFill>
              <a:latin typeface="Georgia"/>
            </a:endParaRPr>
          </a:p>
        </p:txBody>
      </p:sp>
      <p:sp>
        <p:nvSpPr>
          <p:cNvPr id="108" name="Freeform 5"/>
          <p:cNvSpPr>
            <a:spLocks/>
          </p:cNvSpPr>
          <p:nvPr/>
        </p:nvSpPr>
        <p:spPr bwMode="auto">
          <a:xfrm>
            <a:off x="981237" y="7978010"/>
            <a:ext cx="931451" cy="667999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prstClr val="black"/>
              </a:solidFill>
              <a:latin typeface="Georgia"/>
            </a:endParaRPr>
          </a:p>
        </p:txBody>
      </p:sp>
      <p:sp>
        <p:nvSpPr>
          <p:cNvPr id="109" name="Freeform 5"/>
          <p:cNvSpPr>
            <a:spLocks/>
          </p:cNvSpPr>
          <p:nvPr/>
        </p:nvSpPr>
        <p:spPr bwMode="auto">
          <a:xfrm>
            <a:off x="1962476" y="7978009"/>
            <a:ext cx="931451" cy="667999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prstClr val="black"/>
              </a:solidFill>
              <a:latin typeface="Georgia"/>
            </a:endParaRPr>
          </a:p>
        </p:txBody>
      </p:sp>
      <p:sp>
        <p:nvSpPr>
          <p:cNvPr id="110" name="Freeform 5"/>
          <p:cNvSpPr>
            <a:spLocks/>
          </p:cNvSpPr>
          <p:nvPr/>
        </p:nvSpPr>
        <p:spPr bwMode="auto">
          <a:xfrm>
            <a:off x="3160500" y="7244262"/>
            <a:ext cx="2893928" cy="667999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prstClr val="black"/>
              </a:solidFill>
              <a:latin typeface="Georgia"/>
            </a:endParaRPr>
          </a:p>
        </p:txBody>
      </p:sp>
      <p:sp>
        <p:nvSpPr>
          <p:cNvPr id="111" name="Freeform 5"/>
          <p:cNvSpPr>
            <a:spLocks/>
          </p:cNvSpPr>
          <p:nvPr/>
        </p:nvSpPr>
        <p:spPr bwMode="auto">
          <a:xfrm>
            <a:off x="3160498" y="7978012"/>
            <a:ext cx="931451" cy="667999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prstClr val="black"/>
              </a:solidFill>
              <a:latin typeface="Georgia"/>
            </a:endParaRPr>
          </a:p>
        </p:txBody>
      </p:sp>
      <p:sp>
        <p:nvSpPr>
          <p:cNvPr id="112" name="Freeform 5"/>
          <p:cNvSpPr>
            <a:spLocks/>
          </p:cNvSpPr>
          <p:nvPr/>
        </p:nvSpPr>
        <p:spPr bwMode="auto">
          <a:xfrm>
            <a:off x="4141737" y="7978010"/>
            <a:ext cx="931451" cy="667999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prstClr val="black"/>
              </a:solidFill>
              <a:latin typeface="Georgia"/>
            </a:endParaRPr>
          </a:p>
        </p:txBody>
      </p:sp>
      <p:sp>
        <p:nvSpPr>
          <p:cNvPr id="113" name="Freeform 5"/>
          <p:cNvSpPr>
            <a:spLocks/>
          </p:cNvSpPr>
          <p:nvPr/>
        </p:nvSpPr>
        <p:spPr bwMode="auto">
          <a:xfrm>
            <a:off x="5122975" y="7978009"/>
            <a:ext cx="931451" cy="667999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prstClr val="black"/>
              </a:solidFill>
              <a:latin typeface="Georgia"/>
            </a:endParaRPr>
          </a:p>
        </p:txBody>
      </p:sp>
      <p:sp>
        <p:nvSpPr>
          <p:cNvPr id="114" name="Freeform 5"/>
          <p:cNvSpPr>
            <a:spLocks/>
          </p:cNvSpPr>
          <p:nvPr/>
        </p:nvSpPr>
        <p:spPr bwMode="auto">
          <a:xfrm>
            <a:off x="6290919" y="7244260"/>
            <a:ext cx="2893928" cy="667999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prstClr val="black"/>
              </a:solidFill>
              <a:latin typeface="Georgia"/>
            </a:endParaRPr>
          </a:p>
        </p:txBody>
      </p:sp>
      <p:sp>
        <p:nvSpPr>
          <p:cNvPr id="115" name="Freeform 5"/>
          <p:cNvSpPr>
            <a:spLocks/>
          </p:cNvSpPr>
          <p:nvPr/>
        </p:nvSpPr>
        <p:spPr bwMode="auto">
          <a:xfrm>
            <a:off x="6290918" y="7978009"/>
            <a:ext cx="931451" cy="667999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prstClr val="black"/>
              </a:solidFill>
              <a:latin typeface="Georgia"/>
            </a:endParaRPr>
          </a:p>
        </p:txBody>
      </p:sp>
      <p:sp>
        <p:nvSpPr>
          <p:cNvPr id="116" name="Freeform 5"/>
          <p:cNvSpPr>
            <a:spLocks/>
          </p:cNvSpPr>
          <p:nvPr/>
        </p:nvSpPr>
        <p:spPr bwMode="auto">
          <a:xfrm>
            <a:off x="7272156" y="7978008"/>
            <a:ext cx="931451" cy="667999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prstClr val="black"/>
              </a:solidFill>
              <a:latin typeface="Georgia"/>
            </a:endParaRPr>
          </a:p>
        </p:txBody>
      </p:sp>
      <p:sp>
        <p:nvSpPr>
          <p:cNvPr id="117" name="Freeform 5"/>
          <p:cNvSpPr>
            <a:spLocks/>
          </p:cNvSpPr>
          <p:nvPr/>
        </p:nvSpPr>
        <p:spPr bwMode="auto">
          <a:xfrm>
            <a:off x="8253396" y="7978012"/>
            <a:ext cx="931451" cy="667999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prstClr val="black"/>
              </a:solidFill>
              <a:latin typeface="Georgia"/>
            </a:endParaRPr>
          </a:p>
        </p:txBody>
      </p:sp>
    </p:spTree>
    <p:extLst>
      <p:ext uri="{BB962C8B-B14F-4D97-AF65-F5344CB8AC3E}">
        <p14:creationId xmlns:p14="http://schemas.microsoft.com/office/powerpoint/2010/main" val="128329063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452" r:id="rId1"/>
    <p:sldLayoutId id="2147486453" r:id="rId2"/>
    <p:sldLayoutId id="2147486454" r:id="rId3"/>
    <p:sldLayoutId id="2147486455" r:id="rId4"/>
    <p:sldLayoutId id="2147486456" r:id="rId5"/>
    <p:sldLayoutId id="2147486457" r:id="rId6"/>
    <p:sldLayoutId id="2147486458" r:id="rId7"/>
    <p:sldLayoutId id="2147486459" r:id="rId8"/>
    <p:sldLayoutId id="2147486460" r:id="rId9"/>
    <p:sldLayoutId id="2147486461" r:id="rId10"/>
    <p:sldLayoutId id="2147486462" r:id="rId11"/>
    <p:sldLayoutId id="2147486463" r:id="rId12"/>
    <p:sldLayoutId id="2147486464" r:id="rId13"/>
    <p:sldLayoutId id="2147486465" r:id="rId14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597454" rtl="0" eaLnBrk="1" latinLnBrk="0" hangingPunct="1">
        <a:lnSpc>
          <a:spcPts val="3136"/>
        </a:lnSpc>
        <a:spcBef>
          <a:spcPts val="1438"/>
        </a:spcBef>
        <a:buNone/>
        <a:defRPr sz="2875" i="1" kern="1200">
          <a:solidFill>
            <a:schemeClr val="tx1"/>
          </a:solidFill>
          <a:latin typeface="+mn-lt"/>
          <a:ea typeface="+mj-ea"/>
          <a:cs typeface="Arial"/>
        </a:defRPr>
      </a:lvl1pPr>
    </p:titleStyle>
    <p:bodyStyle>
      <a:lvl1pPr marL="0" indent="0" algn="l" defTabSz="597454" rtl="0" eaLnBrk="1" latinLnBrk="0" hangingPunct="1">
        <a:lnSpc>
          <a:spcPts val="2614"/>
        </a:lnSpc>
        <a:spcBef>
          <a:spcPts val="1176"/>
        </a:spcBef>
        <a:buFont typeface="Arial"/>
        <a:buNone/>
        <a:defRPr sz="2352" b="0" i="0" kern="1200" baseline="0">
          <a:solidFill>
            <a:schemeClr val="tx1"/>
          </a:solidFill>
          <a:latin typeface="Museo Sans 300"/>
          <a:ea typeface="+mn-ea"/>
          <a:cs typeface="Museo Sans 300"/>
        </a:defRPr>
      </a:lvl1pPr>
      <a:lvl2pPr marL="230270" indent="-230270" algn="l" defTabSz="597454" rtl="0" eaLnBrk="1" latinLnBrk="0" hangingPunct="1">
        <a:lnSpc>
          <a:spcPts val="2614"/>
        </a:lnSpc>
        <a:spcBef>
          <a:spcPts val="1176"/>
        </a:spcBef>
        <a:buSzPct val="50000"/>
        <a:buFont typeface="Arial"/>
        <a:buChar char="•"/>
        <a:tabLst/>
        <a:defRPr sz="2352" b="0" i="0" kern="1200">
          <a:solidFill>
            <a:schemeClr val="tx1"/>
          </a:solidFill>
          <a:latin typeface="Museo Sans 300"/>
          <a:ea typeface="+mn-ea"/>
          <a:cs typeface="Museo Sans 300"/>
        </a:defRPr>
      </a:lvl2pPr>
      <a:lvl3pPr marL="1194909" indent="0" algn="l" defTabSz="597454" rtl="0" eaLnBrk="1" latinLnBrk="0" hangingPunct="1">
        <a:lnSpc>
          <a:spcPts val="2875"/>
        </a:lnSpc>
        <a:spcBef>
          <a:spcPts val="0"/>
        </a:spcBef>
        <a:buFont typeface="Arial"/>
        <a:buNone/>
        <a:defRPr sz="2091" b="0" i="0" kern="1200">
          <a:solidFill>
            <a:schemeClr val="tx1"/>
          </a:solidFill>
          <a:latin typeface="Museo Sans 300"/>
          <a:ea typeface="+mn-ea"/>
          <a:cs typeface="Museo Sans 300"/>
        </a:defRPr>
      </a:lvl3pPr>
      <a:lvl4pPr marL="1792362" indent="0" algn="l" defTabSz="597454" rtl="0" eaLnBrk="1" latinLnBrk="0" hangingPunct="1">
        <a:lnSpc>
          <a:spcPts val="2875"/>
        </a:lnSpc>
        <a:spcBef>
          <a:spcPts val="0"/>
        </a:spcBef>
        <a:buFont typeface="Arial"/>
        <a:buNone/>
        <a:defRPr sz="1830" b="0" i="0" kern="1200">
          <a:solidFill>
            <a:schemeClr val="tx1"/>
          </a:solidFill>
          <a:latin typeface="Museo Sans 300"/>
          <a:ea typeface="+mn-ea"/>
          <a:cs typeface="Museo Sans 300"/>
        </a:defRPr>
      </a:lvl4pPr>
      <a:lvl5pPr marL="2389816" indent="0" algn="l" defTabSz="597454" rtl="0" eaLnBrk="1" latinLnBrk="0" hangingPunct="1">
        <a:lnSpc>
          <a:spcPts val="2875"/>
        </a:lnSpc>
        <a:spcBef>
          <a:spcPts val="0"/>
        </a:spcBef>
        <a:buFont typeface="Arial"/>
        <a:buNone/>
        <a:defRPr sz="1830" b="0" i="0" kern="1200">
          <a:solidFill>
            <a:schemeClr val="tx1"/>
          </a:solidFill>
          <a:latin typeface="Museo Sans 300"/>
          <a:ea typeface="+mn-ea"/>
          <a:cs typeface="Museo Sans 300"/>
        </a:defRPr>
      </a:lvl5pPr>
      <a:lvl6pPr marL="3285997" indent="-298727" algn="l" defTabSz="597454" rtl="0" eaLnBrk="1" latinLnBrk="0" hangingPunct="1">
        <a:spcBef>
          <a:spcPct val="20000"/>
        </a:spcBef>
        <a:buFont typeface="Arial"/>
        <a:buChar char="•"/>
        <a:defRPr sz="2614" kern="1200">
          <a:solidFill>
            <a:schemeClr val="tx1"/>
          </a:solidFill>
          <a:latin typeface="+mn-lt"/>
          <a:ea typeface="+mn-ea"/>
          <a:cs typeface="+mn-cs"/>
        </a:defRPr>
      </a:lvl6pPr>
      <a:lvl7pPr marL="3883451" indent="-298727" algn="l" defTabSz="597454" rtl="0" eaLnBrk="1" latinLnBrk="0" hangingPunct="1">
        <a:spcBef>
          <a:spcPct val="20000"/>
        </a:spcBef>
        <a:buFont typeface="Arial"/>
        <a:buChar char="•"/>
        <a:defRPr sz="2614" kern="1200">
          <a:solidFill>
            <a:schemeClr val="tx1"/>
          </a:solidFill>
          <a:latin typeface="+mn-lt"/>
          <a:ea typeface="+mn-ea"/>
          <a:cs typeface="+mn-cs"/>
        </a:defRPr>
      </a:lvl7pPr>
      <a:lvl8pPr marL="4480905" indent="-298727" algn="l" defTabSz="597454" rtl="0" eaLnBrk="1" latinLnBrk="0" hangingPunct="1">
        <a:spcBef>
          <a:spcPct val="20000"/>
        </a:spcBef>
        <a:buFont typeface="Arial"/>
        <a:buChar char="•"/>
        <a:defRPr sz="2614" kern="1200">
          <a:solidFill>
            <a:schemeClr val="tx1"/>
          </a:solidFill>
          <a:latin typeface="+mn-lt"/>
          <a:ea typeface="+mn-ea"/>
          <a:cs typeface="+mn-cs"/>
        </a:defRPr>
      </a:lvl8pPr>
      <a:lvl9pPr marL="5078359" indent="-298727" algn="l" defTabSz="597454" rtl="0" eaLnBrk="1" latinLnBrk="0" hangingPunct="1">
        <a:spcBef>
          <a:spcPct val="20000"/>
        </a:spcBef>
        <a:buFont typeface="Arial"/>
        <a:buChar char="•"/>
        <a:defRPr sz="2614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7454" rtl="0" eaLnBrk="1" latinLnBrk="0" hangingPunct="1">
        <a:defRPr sz="2352" kern="1200">
          <a:solidFill>
            <a:schemeClr val="tx1"/>
          </a:solidFill>
          <a:latin typeface="+mn-lt"/>
          <a:ea typeface="+mn-ea"/>
          <a:cs typeface="+mn-cs"/>
        </a:defRPr>
      </a:lvl1pPr>
      <a:lvl2pPr marL="597454" algn="l" defTabSz="597454" rtl="0" eaLnBrk="1" latinLnBrk="0" hangingPunct="1">
        <a:defRPr sz="2352" kern="1200">
          <a:solidFill>
            <a:schemeClr val="tx1"/>
          </a:solidFill>
          <a:latin typeface="+mn-lt"/>
          <a:ea typeface="+mn-ea"/>
          <a:cs typeface="+mn-cs"/>
        </a:defRPr>
      </a:lvl2pPr>
      <a:lvl3pPr marL="1194909" algn="l" defTabSz="597454" rtl="0" eaLnBrk="1" latinLnBrk="0" hangingPunct="1">
        <a:defRPr sz="2352" kern="1200">
          <a:solidFill>
            <a:schemeClr val="tx1"/>
          </a:solidFill>
          <a:latin typeface="+mn-lt"/>
          <a:ea typeface="+mn-ea"/>
          <a:cs typeface="+mn-cs"/>
        </a:defRPr>
      </a:lvl3pPr>
      <a:lvl4pPr marL="1792362" algn="l" defTabSz="597454" rtl="0" eaLnBrk="1" latinLnBrk="0" hangingPunct="1">
        <a:defRPr sz="2352" kern="1200">
          <a:solidFill>
            <a:schemeClr val="tx1"/>
          </a:solidFill>
          <a:latin typeface="+mn-lt"/>
          <a:ea typeface="+mn-ea"/>
          <a:cs typeface="+mn-cs"/>
        </a:defRPr>
      </a:lvl4pPr>
      <a:lvl5pPr marL="2389816" algn="l" defTabSz="597454" rtl="0" eaLnBrk="1" latinLnBrk="0" hangingPunct="1">
        <a:defRPr sz="2352" kern="1200">
          <a:solidFill>
            <a:schemeClr val="tx1"/>
          </a:solidFill>
          <a:latin typeface="+mn-lt"/>
          <a:ea typeface="+mn-ea"/>
          <a:cs typeface="+mn-cs"/>
        </a:defRPr>
      </a:lvl5pPr>
      <a:lvl6pPr marL="2987270" algn="l" defTabSz="597454" rtl="0" eaLnBrk="1" latinLnBrk="0" hangingPunct="1">
        <a:defRPr sz="2352" kern="1200">
          <a:solidFill>
            <a:schemeClr val="tx1"/>
          </a:solidFill>
          <a:latin typeface="+mn-lt"/>
          <a:ea typeface="+mn-ea"/>
          <a:cs typeface="+mn-cs"/>
        </a:defRPr>
      </a:lvl6pPr>
      <a:lvl7pPr marL="3584725" algn="l" defTabSz="597454" rtl="0" eaLnBrk="1" latinLnBrk="0" hangingPunct="1">
        <a:defRPr sz="2352" kern="1200">
          <a:solidFill>
            <a:schemeClr val="tx1"/>
          </a:solidFill>
          <a:latin typeface="+mn-lt"/>
          <a:ea typeface="+mn-ea"/>
          <a:cs typeface="+mn-cs"/>
        </a:defRPr>
      </a:lvl7pPr>
      <a:lvl8pPr marL="4182178" algn="l" defTabSz="597454" rtl="0" eaLnBrk="1" latinLnBrk="0" hangingPunct="1">
        <a:defRPr sz="2352" kern="1200">
          <a:solidFill>
            <a:schemeClr val="tx1"/>
          </a:solidFill>
          <a:latin typeface="+mn-lt"/>
          <a:ea typeface="+mn-ea"/>
          <a:cs typeface="+mn-cs"/>
        </a:defRPr>
      </a:lvl8pPr>
      <a:lvl9pPr marL="4779632" algn="l" defTabSz="597454" rtl="0" eaLnBrk="1" latinLnBrk="0" hangingPunct="1">
        <a:defRPr sz="235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3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13"/>
            </p:custDataLst>
            <p:extLst/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42006" name="Slide do think-cell" r:id="rId14" imgW="270" imgH="270" progId="TCLayout.ActiveDocument.1">
                  <p:embed/>
                </p:oleObj>
              </mc:Choice>
              <mc:Fallback>
                <p:oleObj name="Slide do think-cell" r:id="rId1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83" y="1854705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2055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2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349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81812" y="1855223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349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81812" y="4207635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349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37" tIns="46737" rIns="46737" bIns="46737" numCol="1" anchor="t" anchorCtr="0" compatLnSpc="1">
            <a:prstTxWarp prst="textNoShape">
              <a:avLst/>
            </a:prstTxWarp>
          </a:bodyPr>
          <a:lstStyle/>
          <a:p>
            <a:pPr defTabSz="59349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49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349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37" tIns="46737" rIns="46737" bIns="46737" numCol="1" anchor="t" anchorCtr="0" compatLnSpc="1">
            <a:prstTxWarp prst="textNoShape">
              <a:avLst/>
            </a:prstTxWarp>
          </a:bodyPr>
          <a:lstStyle/>
          <a:p>
            <a:pPr defTabSz="59349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49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349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37" tIns="46737" rIns="46737" bIns="46737" numCol="1" anchor="t" anchorCtr="0" compatLnSpc="1">
            <a:prstTxWarp prst="textNoShape">
              <a:avLst/>
            </a:prstTxWarp>
          </a:bodyPr>
          <a:lstStyle/>
          <a:p>
            <a:pPr defTabSz="59349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49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349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37" tIns="46737" rIns="46737" bIns="46737" numCol="1" anchor="t" anchorCtr="0" compatLnSpc="1">
            <a:prstTxWarp prst="textNoShape">
              <a:avLst/>
            </a:prstTxWarp>
          </a:bodyPr>
          <a:lstStyle/>
          <a:p>
            <a:pPr defTabSz="59349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49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349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37" tIns="46737" rIns="46737" bIns="46737" numCol="1" anchor="t" anchorCtr="0" compatLnSpc="1">
            <a:prstTxWarp prst="textNoShape">
              <a:avLst/>
            </a:prstTxWarp>
          </a:bodyPr>
          <a:lstStyle/>
          <a:p>
            <a:pPr defTabSz="59349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349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349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37" tIns="46737" rIns="46737" bIns="46737" numCol="1" anchor="t" anchorCtr="0" compatLnSpc="1">
            <a:prstTxWarp prst="textNoShape">
              <a:avLst/>
            </a:prstTxWarp>
          </a:bodyPr>
          <a:lstStyle/>
          <a:p>
            <a:pPr defTabSz="59349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349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349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37" tIns="46737" rIns="46737" bIns="46737" numCol="1" anchor="t" anchorCtr="0" compatLnSpc="1">
            <a:prstTxWarp prst="textNoShape">
              <a:avLst/>
            </a:prstTxWarp>
          </a:bodyPr>
          <a:lstStyle/>
          <a:p>
            <a:pPr defTabSz="59349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349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349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</a:p>
        </p:txBody>
      </p:sp>
      <p:sp>
        <p:nvSpPr>
          <p:cNvPr id="30" name="TextBox 39"/>
          <p:cNvSpPr txBox="1"/>
          <p:nvPr userDrawn="1"/>
        </p:nvSpPr>
        <p:spPr>
          <a:xfrm>
            <a:off x="9223673" y="6781926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3497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10960" y="6748320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717" tIns="59360" rIns="118717" bIns="59360" numCol="1" anchor="t" anchorCtr="0" compatLnSpc="1">
            <a:prstTxWarp prst="textNoShape">
              <a:avLst/>
            </a:prstTxWarp>
          </a:bodyPr>
          <a:lstStyle/>
          <a:p>
            <a:pPr defTabSz="59349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10958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17" tIns="59360" rIns="118717" bIns="59360" numCol="1" anchor="t" anchorCtr="0" compatLnSpc="1">
            <a:prstTxWarp prst="textNoShape">
              <a:avLst/>
            </a:prstTxWarp>
          </a:bodyPr>
          <a:lstStyle/>
          <a:p>
            <a:pPr defTabSz="59349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17" tIns="59360" rIns="118717" bIns="59360" numCol="1" anchor="t" anchorCtr="0" compatLnSpc="1">
            <a:prstTxWarp prst="textNoShape">
              <a:avLst/>
            </a:prstTxWarp>
          </a:bodyPr>
          <a:lstStyle/>
          <a:p>
            <a:pPr defTabSz="59349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95151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17" tIns="59360" rIns="118717" bIns="59360" numCol="1" anchor="t" anchorCtr="0" compatLnSpc="1">
            <a:prstTxWarp prst="textNoShape">
              <a:avLst/>
            </a:prstTxWarp>
          </a:bodyPr>
          <a:lstStyle/>
          <a:p>
            <a:pPr defTabSz="59349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3149540" y="6748320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717" tIns="59360" rIns="118717" bIns="59360" numCol="1" anchor="t" anchorCtr="0" compatLnSpc="1">
            <a:prstTxWarp prst="textNoShape">
              <a:avLst/>
            </a:prstTxWarp>
          </a:bodyPr>
          <a:lstStyle/>
          <a:p>
            <a:pPr defTabSz="59349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3149542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17" tIns="59360" rIns="118717" bIns="59360" numCol="1" anchor="t" anchorCtr="0" compatLnSpc="1">
            <a:prstTxWarp prst="textNoShape">
              <a:avLst/>
            </a:prstTxWarp>
          </a:bodyPr>
          <a:lstStyle/>
          <a:p>
            <a:pPr defTabSz="59349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17" tIns="59360" rIns="118717" bIns="59360" numCol="1" anchor="t" anchorCtr="0" compatLnSpc="1">
            <a:prstTxWarp prst="textNoShape">
              <a:avLst/>
            </a:prstTxWarp>
          </a:bodyPr>
          <a:lstStyle/>
          <a:p>
            <a:pPr defTabSz="59349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511201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17" tIns="59360" rIns="118717" bIns="59360" numCol="1" anchor="t" anchorCtr="0" compatLnSpc="1">
            <a:prstTxWarp prst="textNoShape">
              <a:avLst/>
            </a:prstTxWarp>
          </a:bodyPr>
          <a:lstStyle/>
          <a:p>
            <a:pPr defTabSz="59349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6279959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717" tIns="59360" rIns="118717" bIns="59360" numCol="1" anchor="t" anchorCtr="0" compatLnSpc="1">
            <a:prstTxWarp prst="textNoShape">
              <a:avLst/>
            </a:prstTxWarp>
          </a:bodyPr>
          <a:lstStyle/>
          <a:p>
            <a:pPr defTabSz="59349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17" tIns="59360" rIns="118717" bIns="59360" numCol="1" anchor="t" anchorCtr="0" compatLnSpc="1">
            <a:prstTxWarp prst="textNoShape">
              <a:avLst/>
            </a:prstTxWarp>
          </a:bodyPr>
          <a:lstStyle/>
          <a:p>
            <a:pPr defTabSz="59349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17" tIns="59360" rIns="118717" bIns="59360" numCol="1" anchor="t" anchorCtr="0" compatLnSpc="1">
            <a:prstTxWarp prst="textNoShape">
              <a:avLst/>
            </a:prstTxWarp>
          </a:bodyPr>
          <a:lstStyle/>
          <a:p>
            <a:pPr defTabSz="59349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8242440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17" tIns="59360" rIns="118717" bIns="59360" numCol="1" anchor="t" anchorCtr="0" compatLnSpc="1">
            <a:prstTxWarp prst="textNoShape">
              <a:avLst/>
            </a:prstTxWarp>
          </a:bodyPr>
          <a:lstStyle/>
          <a:p>
            <a:pPr defTabSz="59349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502824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472" r:id="rId1"/>
    <p:sldLayoutId id="2147486473" r:id="rId2"/>
    <p:sldLayoutId id="2147486474" r:id="rId3"/>
    <p:sldLayoutId id="2147486475" r:id="rId4"/>
    <p:sldLayoutId id="2147486476" r:id="rId5"/>
    <p:sldLayoutId id="2147486477" r:id="rId6"/>
    <p:sldLayoutId id="2147486478" r:id="rId7"/>
    <p:sldLayoutId id="2147486479" r:id="rId8"/>
    <p:sldLayoutId id="2147486480" r:id="rId9"/>
    <p:sldLayoutId id="2147486481" r:id="rId10"/>
  </p:sldLayoutIdLst>
  <p:hf sldNum="0" hdr="0" ftr="0" dt="0"/>
  <p:txStyles>
    <p:titleStyle>
      <a:lvl1pPr algn="l" defTabSz="593497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058" indent="-239058" algn="l" defTabSz="59349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3986" indent="-228747" algn="l" defTabSz="59349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3986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2737" indent="-228747" algn="l" defTabSz="59349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2737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1491" indent="-228747" algn="l" defTabSz="59349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1491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0233" indent="-228747" algn="l" defTabSz="59349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0233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64344" indent="-296744" algn="l" defTabSz="59349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57856" indent="-296744" algn="l" defTabSz="59349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51367" indent="-296744" algn="l" defTabSz="59349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44889" indent="-296744" algn="l" defTabSz="59349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349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3497" algn="l" defTabSz="59349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7035" algn="l" defTabSz="59349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0553" algn="l" defTabSz="59349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4069" algn="l" defTabSz="59349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67587" algn="l" defTabSz="59349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61098" algn="l" defTabSz="59349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54614" algn="l" defTabSz="59349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48132" algn="l" defTabSz="59349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2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1978" y="358945"/>
            <a:ext cx="7338636" cy="102481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4854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1855198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4854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43" tIns="46843" rIns="46843" bIns="46843" numCol="1" anchor="t" anchorCtr="0" compatLnSpc="1">
            <a:prstTxWarp prst="textNoShape">
              <a:avLst/>
            </a:prstTxWarp>
          </a:bodyPr>
          <a:lstStyle/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16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43" tIns="46843" rIns="46843" bIns="46843" numCol="1" anchor="t" anchorCtr="0" compatLnSpc="1">
            <a:prstTxWarp prst="textNoShape">
              <a:avLst/>
            </a:prstTxWarp>
          </a:bodyPr>
          <a:lstStyle/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43" tIns="46843" rIns="46843" bIns="46843" numCol="1" anchor="t" anchorCtr="0" compatLnSpc="1">
            <a:prstTxWarp prst="textNoShape">
              <a:avLst/>
            </a:prstTxWarp>
          </a:bodyPr>
          <a:lstStyle/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9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43" tIns="46843" rIns="46843" bIns="46843" numCol="1" anchor="t" anchorCtr="0" compatLnSpc="1">
            <a:prstTxWarp prst="textNoShape">
              <a:avLst/>
            </a:prstTxWarp>
          </a:bodyPr>
          <a:lstStyle/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Freeform 28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43" tIns="46843" rIns="46843" bIns="46843" numCol="1" anchor="t" anchorCtr="0" compatLnSpc="1">
            <a:prstTxWarp prst="textNoShape">
              <a:avLst/>
            </a:prstTxWarp>
          </a:bodyPr>
          <a:lstStyle/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43" tIns="46843" rIns="46843" bIns="46843" numCol="1" anchor="t" anchorCtr="0" compatLnSpc="1">
            <a:prstTxWarp prst="textNoShape">
              <a:avLst/>
            </a:prstTxWarp>
          </a:bodyPr>
          <a:lstStyle/>
          <a:p>
            <a:pPr defTabSz="5948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48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48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43" tIns="46843" rIns="46843" bIns="46843" numCol="1" anchor="t" anchorCtr="0" compatLnSpc="1">
            <a:prstTxWarp prst="textNoShape">
              <a:avLst/>
            </a:prstTxWarp>
          </a:bodyPr>
          <a:lstStyle/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2" name="TextBox 39"/>
          <p:cNvSpPr txBox="1"/>
          <p:nvPr userDrawn="1"/>
        </p:nvSpPr>
        <p:spPr>
          <a:xfrm>
            <a:off x="9223673" y="6781899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4854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983" tIns="59491" rIns="118983" bIns="59491" numCol="1" anchor="t" anchorCtr="0" compatLnSpc="1">
            <a:prstTxWarp prst="textNoShape">
              <a:avLst/>
            </a:prstTxWarp>
          </a:bodyPr>
          <a:lstStyle/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83" tIns="59491" rIns="118983" bIns="59491" numCol="1" anchor="t" anchorCtr="0" compatLnSpc="1">
            <a:prstTxWarp prst="textNoShape">
              <a:avLst/>
            </a:prstTxWarp>
          </a:bodyPr>
          <a:lstStyle/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83" tIns="59491" rIns="118983" bIns="59491" numCol="1" anchor="t" anchorCtr="0" compatLnSpc="1">
            <a:prstTxWarp prst="textNoShape">
              <a:avLst/>
            </a:prstTxWarp>
          </a:bodyPr>
          <a:lstStyle/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83" tIns="59491" rIns="118983" bIns="59491" numCol="1" anchor="t" anchorCtr="0" compatLnSpc="1">
            <a:prstTxWarp prst="textNoShape">
              <a:avLst/>
            </a:prstTxWarp>
          </a:bodyPr>
          <a:lstStyle/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983" tIns="59491" rIns="118983" bIns="59491" numCol="1" anchor="t" anchorCtr="0" compatLnSpc="1">
            <a:prstTxWarp prst="textNoShape">
              <a:avLst/>
            </a:prstTxWarp>
          </a:bodyPr>
          <a:lstStyle/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83" tIns="59491" rIns="118983" bIns="59491" numCol="1" anchor="t" anchorCtr="0" compatLnSpc="1">
            <a:prstTxWarp prst="textNoShape">
              <a:avLst/>
            </a:prstTxWarp>
          </a:bodyPr>
          <a:lstStyle/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83" tIns="59491" rIns="118983" bIns="59491" numCol="1" anchor="t" anchorCtr="0" compatLnSpc="1">
            <a:prstTxWarp prst="textNoShape">
              <a:avLst/>
            </a:prstTxWarp>
          </a:bodyPr>
          <a:lstStyle/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83" tIns="59491" rIns="118983" bIns="59491" numCol="1" anchor="t" anchorCtr="0" compatLnSpc="1">
            <a:prstTxWarp prst="textNoShape">
              <a:avLst/>
            </a:prstTxWarp>
          </a:bodyPr>
          <a:lstStyle/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983" tIns="59491" rIns="118983" bIns="59491" numCol="1" anchor="t" anchorCtr="0" compatLnSpc="1">
            <a:prstTxWarp prst="textNoShape">
              <a:avLst/>
            </a:prstTxWarp>
          </a:bodyPr>
          <a:lstStyle/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83" tIns="59491" rIns="118983" bIns="59491" numCol="1" anchor="t" anchorCtr="0" compatLnSpc="1">
            <a:prstTxWarp prst="textNoShape">
              <a:avLst/>
            </a:prstTxWarp>
          </a:bodyPr>
          <a:lstStyle/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3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83" tIns="59491" rIns="118983" bIns="59491" numCol="1" anchor="t" anchorCtr="0" compatLnSpc="1">
            <a:prstTxWarp prst="textNoShape">
              <a:avLst/>
            </a:prstTxWarp>
          </a:bodyPr>
          <a:lstStyle/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83" tIns="59491" rIns="118983" bIns="59491" numCol="1" anchor="t" anchorCtr="0" compatLnSpc="1">
            <a:prstTxWarp prst="textNoShape">
              <a:avLst/>
            </a:prstTxWarp>
          </a:bodyPr>
          <a:lstStyle/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1216516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14" r:id="rId1"/>
    <p:sldLayoutId id="2147483915" r:id="rId2"/>
    <p:sldLayoutId id="2147483916" r:id="rId3"/>
    <p:sldLayoutId id="2147483917" r:id="rId4"/>
    <p:sldLayoutId id="2147483918" r:id="rId5"/>
    <p:sldLayoutId id="2147483919" r:id="rId6"/>
    <p:sldLayoutId id="2147483920" r:id="rId7"/>
    <p:sldLayoutId id="2147483921" r:id="rId8"/>
  </p:sldLayoutIdLst>
  <p:hf sldNum="0" hdr="0" ftr="0" dt="0"/>
  <p:txStyles>
    <p:titleStyle>
      <a:lvl1pPr algn="l" defTabSz="594854" rtl="0" eaLnBrk="1" latinLnBrk="0" hangingPunct="1">
        <a:lnSpc>
          <a:spcPts val="5486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A037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598" indent="-239598" algn="l" defTabSz="5948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5061" indent="-229267" algn="l" defTabSz="5948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5061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4332" indent="-229267" algn="l" defTabSz="5948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4332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3607" indent="-229267" algn="l" defTabSz="5948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3607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2874" indent="-229267" algn="l" defTabSz="5948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2874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71756" indent="-297422" algn="l" defTabSz="594854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66612" indent="-297422" algn="l" defTabSz="594854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61470" indent="-297422" algn="l" defTabSz="594854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56334" indent="-297422" algn="l" defTabSz="594854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48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4854" algn="l" defTabSz="5948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9729" algn="l" defTabSz="5948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4592" algn="l" defTabSz="5948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9452" algn="l" defTabSz="5948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74325" algn="l" defTabSz="5948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69183" algn="l" defTabSz="5948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64043" algn="l" defTabSz="5948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58906" algn="l" defTabSz="5948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24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77" y="1854628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3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3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3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3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3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1978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2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7455" y="6371917"/>
            <a:ext cx="10176095" cy="28226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68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4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3552" y="6371917"/>
            <a:ext cx="578105" cy="28226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68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fld id="{74850952-3374-434C-8FC6-DE28F8CD25B0}" type="slidenum">
              <a:rPr lang="pt-BR" smtClean="0">
                <a:solidFill>
                  <a:srgbClr val="5F5F5F"/>
                </a:solidFill>
              </a:rPr>
              <a:pPr defTabSz="597469" fontAlgn="auto">
                <a:spcBef>
                  <a:spcPts val="0"/>
                </a:spcBef>
                <a:spcAft>
                  <a:spcPts val="0"/>
                </a:spcAft>
              </a:pPr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44" name="TextBox 43"/>
          <p:cNvSpPr txBox="1"/>
          <p:nvPr userDrawn="1"/>
        </p:nvSpPr>
        <p:spPr>
          <a:xfrm>
            <a:off x="-281816" y="73629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7469" fontAlgn="auto">
              <a:spcBef>
                <a:spcPts val="0"/>
              </a:spcBef>
              <a:spcAft>
                <a:spcPts val="0"/>
              </a:spcAft>
            </a:pPr>
            <a:r>
              <a:rPr lang="en-US" sz="1307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7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7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45" name="TextBox 44"/>
          <p:cNvSpPr txBox="1"/>
          <p:nvPr userDrawn="1"/>
        </p:nvSpPr>
        <p:spPr>
          <a:xfrm>
            <a:off x="-281816" y="1855149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7469" fontAlgn="auto">
              <a:spcBef>
                <a:spcPts val="0"/>
              </a:spcBef>
              <a:spcAft>
                <a:spcPts val="0"/>
              </a:spcAft>
            </a:pPr>
            <a:r>
              <a:rPr lang="en-US" sz="1307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46" name="TextBox 45"/>
          <p:cNvSpPr txBox="1"/>
          <p:nvPr userDrawn="1"/>
        </p:nvSpPr>
        <p:spPr>
          <a:xfrm>
            <a:off x="-281816" y="4207633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r>
              <a:rPr lang="en-US" sz="1307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47" name="Freeform 5"/>
          <p:cNvSpPr>
            <a:spLocks/>
          </p:cNvSpPr>
          <p:nvPr userDrawn="1"/>
        </p:nvSpPr>
        <p:spPr bwMode="auto">
          <a:xfrm>
            <a:off x="11944818" y="3078502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44" tIns="47044" rIns="47044" bIns="47044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r>
              <a:rPr lang="en-US" sz="915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r>
              <a:rPr lang="en-US" sz="915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r>
              <a:rPr lang="en-US" sz="915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</a:t>
            </a:r>
            <a:endParaRPr lang="en-US" sz="915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48" name="Freeform 47"/>
          <p:cNvSpPr>
            <a:spLocks/>
          </p:cNvSpPr>
          <p:nvPr userDrawn="1"/>
        </p:nvSpPr>
        <p:spPr bwMode="auto">
          <a:xfrm>
            <a:off x="11944818" y="2513906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44" tIns="47044" rIns="47044" bIns="47044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r>
              <a:rPr lang="en-US" sz="915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r>
              <a:rPr lang="en-US" sz="915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r>
              <a:rPr lang="en-US" sz="915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4</a:t>
            </a:r>
            <a:endParaRPr lang="en-US" sz="915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49" name="Freeform 5"/>
          <p:cNvSpPr>
            <a:spLocks/>
          </p:cNvSpPr>
          <p:nvPr userDrawn="1"/>
        </p:nvSpPr>
        <p:spPr bwMode="auto">
          <a:xfrm>
            <a:off x="11944818" y="1949310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44" tIns="47044" rIns="47044" bIns="47044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r>
              <a:rPr lang="en-US" sz="915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r>
              <a:rPr lang="en-US" sz="915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r>
              <a:rPr lang="en-US" sz="915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915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50" name="Freeform 5"/>
          <p:cNvSpPr>
            <a:spLocks/>
          </p:cNvSpPr>
          <p:nvPr userDrawn="1"/>
        </p:nvSpPr>
        <p:spPr bwMode="auto">
          <a:xfrm>
            <a:off x="11944818" y="1384714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44" tIns="47044" rIns="47044" bIns="47044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r>
              <a:rPr lang="en-US" sz="915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r>
              <a:rPr lang="en-US" sz="915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r>
              <a:rPr lang="en-US" sz="915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0</a:t>
            </a:r>
            <a:endParaRPr lang="en-US" sz="915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51" name="Freeform 50"/>
          <p:cNvSpPr>
            <a:spLocks/>
          </p:cNvSpPr>
          <p:nvPr userDrawn="1"/>
        </p:nvSpPr>
        <p:spPr bwMode="auto">
          <a:xfrm>
            <a:off x="11944818" y="820118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44" tIns="47044" rIns="47044" bIns="47044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r>
              <a:rPr lang="en-US" sz="915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r>
              <a:rPr lang="en-US" sz="915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r>
              <a:rPr lang="en-US" sz="915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140</a:t>
            </a:r>
            <a:endParaRPr lang="en-US" sz="915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52" name="Freeform 5"/>
          <p:cNvSpPr>
            <a:spLocks/>
          </p:cNvSpPr>
          <p:nvPr userDrawn="1"/>
        </p:nvSpPr>
        <p:spPr bwMode="auto">
          <a:xfrm>
            <a:off x="11944818" y="258726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44" tIns="47044" rIns="47044" bIns="47044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15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746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15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746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15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915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53" name="Freeform 5"/>
          <p:cNvSpPr>
            <a:spLocks/>
          </p:cNvSpPr>
          <p:nvPr userDrawn="1"/>
        </p:nvSpPr>
        <p:spPr bwMode="auto">
          <a:xfrm>
            <a:off x="11944818" y="3643098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44" tIns="47044" rIns="47044" bIns="47044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r>
              <a:rPr lang="en-US" sz="915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r>
              <a:rPr lang="en-US" sz="915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r>
              <a:rPr lang="en-US" sz="915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915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54" name="Freeform 5"/>
          <p:cNvSpPr>
            <a:spLocks/>
          </p:cNvSpPr>
          <p:nvPr userDrawn="1"/>
        </p:nvSpPr>
        <p:spPr bwMode="auto">
          <a:xfrm>
            <a:off x="11949113" y="4301731"/>
            <a:ext cx="424105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55" name="Freeform 5"/>
          <p:cNvSpPr>
            <a:spLocks/>
          </p:cNvSpPr>
          <p:nvPr userDrawn="1"/>
        </p:nvSpPr>
        <p:spPr bwMode="auto">
          <a:xfrm>
            <a:off x="11949112" y="4493137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56" name="Freeform 5"/>
          <p:cNvSpPr>
            <a:spLocks/>
          </p:cNvSpPr>
          <p:nvPr userDrawn="1"/>
        </p:nvSpPr>
        <p:spPr bwMode="auto">
          <a:xfrm>
            <a:off x="12102361" y="4493135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57" name="Freeform 5"/>
          <p:cNvSpPr>
            <a:spLocks/>
          </p:cNvSpPr>
          <p:nvPr userDrawn="1"/>
        </p:nvSpPr>
        <p:spPr bwMode="auto">
          <a:xfrm>
            <a:off x="12255608" y="4493134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58" name="Freeform 5"/>
          <p:cNvSpPr>
            <a:spLocks/>
          </p:cNvSpPr>
          <p:nvPr userDrawn="1"/>
        </p:nvSpPr>
        <p:spPr bwMode="auto">
          <a:xfrm>
            <a:off x="11949113" y="4775432"/>
            <a:ext cx="424105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59" name="Freeform 5"/>
          <p:cNvSpPr>
            <a:spLocks/>
          </p:cNvSpPr>
          <p:nvPr userDrawn="1"/>
        </p:nvSpPr>
        <p:spPr bwMode="auto">
          <a:xfrm>
            <a:off x="11949112" y="4982130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60" name="Freeform 5"/>
          <p:cNvSpPr>
            <a:spLocks/>
          </p:cNvSpPr>
          <p:nvPr userDrawn="1"/>
        </p:nvSpPr>
        <p:spPr bwMode="auto">
          <a:xfrm>
            <a:off x="12102361" y="4982128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61" name="Freeform 5"/>
          <p:cNvSpPr>
            <a:spLocks/>
          </p:cNvSpPr>
          <p:nvPr userDrawn="1"/>
        </p:nvSpPr>
        <p:spPr bwMode="auto">
          <a:xfrm>
            <a:off x="12255608" y="4982127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62" name="Freeform 5"/>
          <p:cNvSpPr>
            <a:spLocks/>
          </p:cNvSpPr>
          <p:nvPr userDrawn="1"/>
        </p:nvSpPr>
        <p:spPr bwMode="auto">
          <a:xfrm>
            <a:off x="11949113" y="5245929"/>
            <a:ext cx="424105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63" name="Freeform 5"/>
          <p:cNvSpPr>
            <a:spLocks/>
          </p:cNvSpPr>
          <p:nvPr userDrawn="1"/>
        </p:nvSpPr>
        <p:spPr bwMode="auto">
          <a:xfrm>
            <a:off x="11949112" y="5437334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64" name="Freeform 5"/>
          <p:cNvSpPr>
            <a:spLocks/>
          </p:cNvSpPr>
          <p:nvPr userDrawn="1"/>
        </p:nvSpPr>
        <p:spPr bwMode="auto">
          <a:xfrm>
            <a:off x="12102361" y="5437333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65" name="Freeform 5"/>
          <p:cNvSpPr>
            <a:spLocks/>
          </p:cNvSpPr>
          <p:nvPr userDrawn="1"/>
        </p:nvSpPr>
        <p:spPr bwMode="auto">
          <a:xfrm>
            <a:off x="12255608" y="5437332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66" name="TextBox 39"/>
          <p:cNvSpPr txBox="1"/>
          <p:nvPr userDrawn="1"/>
        </p:nvSpPr>
        <p:spPr>
          <a:xfrm>
            <a:off x="11949112" y="5619122"/>
            <a:ext cx="621766" cy="86593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7469" fontAlgn="auto">
              <a:spcBef>
                <a:spcPts val="1045"/>
              </a:spcBef>
              <a:spcAft>
                <a:spcPts val="0"/>
              </a:spcAft>
            </a:pPr>
            <a:r>
              <a:rPr lang="en-US" sz="915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915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915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915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915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915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915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915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915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915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</a:p>
        </p:txBody>
      </p:sp>
      <p:sp>
        <p:nvSpPr>
          <p:cNvPr id="68" name="Freeform 5"/>
          <p:cNvSpPr>
            <a:spLocks/>
          </p:cNvSpPr>
          <p:nvPr userDrawn="1"/>
        </p:nvSpPr>
        <p:spPr bwMode="auto">
          <a:xfrm>
            <a:off x="12411752" y="25872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BD78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69" name="Freeform 5"/>
          <p:cNvSpPr>
            <a:spLocks/>
          </p:cNvSpPr>
          <p:nvPr userDrawn="1"/>
        </p:nvSpPr>
        <p:spPr bwMode="auto">
          <a:xfrm>
            <a:off x="12411752" y="537757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7A23C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70" name="Freeform 5"/>
          <p:cNvSpPr>
            <a:spLocks/>
          </p:cNvSpPr>
          <p:nvPr userDrawn="1"/>
        </p:nvSpPr>
        <p:spPr bwMode="auto">
          <a:xfrm>
            <a:off x="12411752" y="86222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86DB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71" name="Freeform 5"/>
          <p:cNvSpPr>
            <a:spLocks/>
          </p:cNvSpPr>
          <p:nvPr userDrawn="1"/>
        </p:nvSpPr>
        <p:spPr bwMode="auto">
          <a:xfrm>
            <a:off x="12411752" y="113250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B51F7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72" name="Freeform 71"/>
          <p:cNvSpPr>
            <a:spLocks/>
          </p:cNvSpPr>
          <p:nvPr userDrawn="1"/>
        </p:nvSpPr>
        <p:spPr bwMode="auto">
          <a:xfrm>
            <a:off x="12411752" y="144158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95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73" name="Freeform 5"/>
          <p:cNvSpPr>
            <a:spLocks/>
          </p:cNvSpPr>
          <p:nvPr userDrawn="1"/>
        </p:nvSpPr>
        <p:spPr bwMode="auto">
          <a:xfrm>
            <a:off x="12411752" y="171186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CC52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74" name="Freeform 5"/>
          <p:cNvSpPr>
            <a:spLocks/>
          </p:cNvSpPr>
          <p:nvPr userDrawn="1"/>
        </p:nvSpPr>
        <p:spPr bwMode="auto">
          <a:xfrm>
            <a:off x="12411752" y="200887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C8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75" name="Freeform 5"/>
          <p:cNvSpPr>
            <a:spLocks/>
          </p:cNvSpPr>
          <p:nvPr userDrawn="1"/>
        </p:nvSpPr>
        <p:spPr bwMode="auto">
          <a:xfrm>
            <a:off x="12411752" y="227915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CCC6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76" name="Freeform 5"/>
          <p:cNvSpPr>
            <a:spLocks/>
          </p:cNvSpPr>
          <p:nvPr userDrawn="1"/>
        </p:nvSpPr>
        <p:spPr bwMode="auto">
          <a:xfrm>
            <a:off x="12411752" y="256409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69D17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77" name="Freeform 5"/>
          <p:cNvSpPr>
            <a:spLocks/>
          </p:cNvSpPr>
          <p:nvPr userDrawn="1"/>
        </p:nvSpPr>
        <p:spPr bwMode="auto">
          <a:xfrm>
            <a:off x="12411752" y="283437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9E0B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78" name="Freeform 5"/>
          <p:cNvSpPr>
            <a:spLocks/>
          </p:cNvSpPr>
          <p:nvPr userDrawn="1"/>
        </p:nvSpPr>
        <p:spPr bwMode="auto">
          <a:xfrm>
            <a:off x="12411752" y="3155524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E6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79" name="Freeform 5"/>
          <p:cNvSpPr>
            <a:spLocks/>
          </p:cNvSpPr>
          <p:nvPr userDrawn="1"/>
        </p:nvSpPr>
        <p:spPr bwMode="auto">
          <a:xfrm>
            <a:off x="12411752" y="342580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AFC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80" name="Freeform 5"/>
          <p:cNvSpPr>
            <a:spLocks/>
          </p:cNvSpPr>
          <p:nvPr userDrawn="1"/>
        </p:nvSpPr>
        <p:spPr bwMode="auto">
          <a:xfrm>
            <a:off x="12411752" y="3734884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DEDEDE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81" name="Freeform 5"/>
          <p:cNvSpPr>
            <a:spLocks/>
          </p:cNvSpPr>
          <p:nvPr userDrawn="1"/>
        </p:nvSpPr>
        <p:spPr bwMode="auto">
          <a:xfrm>
            <a:off x="12411752" y="400516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9C9C9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9707684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501" r:id="rId1"/>
    <p:sldLayoutId id="2147486502" r:id="rId2"/>
    <p:sldLayoutId id="2147486503" r:id="rId3"/>
    <p:sldLayoutId id="2147486504" r:id="rId4"/>
    <p:sldLayoutId id="2147486505" r:id="rId5"/>
    <p:sldLayoutId id="2147486506" r:id="rId6"/>
  </p:sldLayoutIdLst>
  <p:hf hdr="0" dt="0"/>
  <p:txStyles>
    <p:titleStyle>
      <a:lvl1pPr algn="l" defTabSz="597469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2744" b="0" i="0" kern="1200" noProof="0">
          <a:solidFill>
            <a:srgbClr val="A037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40647" indent="-240647" algn="l" defTabSz="59746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3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7145" indent="-230275" algn="l" defTabSz="59746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7145" algn="l"/>
        </a:tabLst>
        <a:defRPr lang="es-ES_tradnl" sz="183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7420" indent="-230275" algn="l" defTabSz="59746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7420" algn="l"/>
        </a:tabLst>
        <a:defRPr lang="es-ES_tradnl" sz="183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7694" indent="-230275" algn="l" defTabSz="59746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7694" algn="l"/>
        </a:tabLst>
        <a:defRPr lang="es-ES_tradnl" sz="183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7969" indent="-230275" algn="l" defTabSz="59746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7969" algn="l"/>
        </a:tabLst>
        <a:defRPr lang="pt-BR" sz="183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86079" indent="-298734" algn="l" defTabSz="597469" rtl="0" eaLnBrk="1" latinLnBrk="0" hangingPunct="1">
        <a:spcBef>
          <a:spcPct val="20000"/>
        </a:spcBef>
        <a:buFont typeface="Arial"/>
        <a:buChar char="•"/>
        <a:defRPr sz="2614" kern="1200">
          <a:solidFill>
            <a:schemeClr val="tx1"/>
          </a:solidFill>
          <a:latin typeface="+mn-lt"/>
          <a:ea typeface="+mn-ea"/>
          <a:cs typeface="+mn-cs"/>
        </a:defRPr>
      </a:lvl6pPr>
      <a:lvl7pPr marL="3883548" indent="-298734" algn="l" defTabSz="597469" rtl="0" eaLnBrk="1" latinLnBrk="0" hangingPunct="1">
        <a:spcBef>
          <a:spcPct val="20000"/>
        </a:spcBef>
        <a:buFont typeface="Arial"/>
        <a:buChar char="•"/>
        <a:defRPr sz="2614" kern="1200">
          <a:solidFill>
            <a:schemeClr val="tx1"/>
          </a:solidFill>
          <a:latin typeface="+mn-lt"/>
          <a:ea typeface="+mn-ea"/>
          <a:cs typeface="+mn-cs"/>
        </a:defRPr>
      </a:lvl7pPr>
      <a:lvl8pPr marL="4481017" indent="-298734" algn="l" defTabSz="597469" rtl="0" eaLnBrk="1" latinLnBrk="0" hangingPunct="1">
        <a:spcBef>
          <a:spcPct val="20000"/>
        </a:spcBef>
        <a:buFont typeface="Arial"/>
        <a:buChar char="•"/>
        <a:defRPr sz="2614" kern="1200">
          <a:solidFill>
            <a:schemeClr val="tx1"/>
          </a:solidFill>
          <a:latin typeface="+mn-lt"/>
          <a:ea typeface="+mn-ea"/>
          <a:cs typeface="+mn-cs"/>
        </a:defRPr>
      </a:lvl8pPr>
      <a:lvl9pPr marL="5078486" indent="-298734" algn="l" defTabSz="597469" rtl="0" eaLnBrk="1" latinLnBrk="0" hangingPunct="1">
        <a:spcBef>
          <a:spcPct val="20000"/>
        </a:spcBef>
        <a:buFont typeface="Arial"/>
        <a:buChar char="•"/>
        <a:defRPr sz="2614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7469" rtl="0" eaLnBrk="1" latinLnBrk="0" hangingPunct="1">
        <a:defRPr sz="2352" kern="1200">
          <a:solidFill>
            <a:schemeClr val="tx1"/>
          </a:solidFill>
          <a:latin typeface="+mn-lt"/>
          <a:ea typeface="+mn-ea"/>
          <a:cs typeface="+mn-cs"/>
        </a:defRPr>
      </a:lvl1pPr>
      <a:lvl2pPr marL="597469" algn="l" defTabSz="597469" rtl="0" eaLnBrk="1" latinLnBrk="0" hangingPunct="1">
        <a:defRPr sz="2352" kern="1200">
          <a:solidFill>
            <a:schemeClr val="tx1"/>
          </a:solidFill>
          <a:latin typeface="+mn-lt"/>
          <a:ea typeface="+mn-ea"/>
          <a:cs typeface="+mn-cs"/>
        </a:defRPr>
      </a:lvl2pPr>
      <a:lvl3pPr marL="1194938" algn="l" defTabSz="597469" rtl="0" eaLnBrk="1" latinLnBrk="0" hangingPunct="1">
        <a:defRPr sz="2352" kern="1200">
          <a:solidFill>
            <a:schemeClr val="tx1"/>
          </a:solidFill>
          <a:latin typeface="+mn-lt"/>
          <a:ea typeface="+mn-ea"/>
          <a:cs typeface="+mn-cs"/>
        </a:defRPr>
      </a:lvl3pPr>
      <a:lvl4pPr marL="1792407" algn="l" defTabSz="597469" rtl="0" eaLnBrk="1" latinLnBrk="0" hangingPunct="1">
        <a:defRPr sz="2352" kern="1200">
          <a:solidFill>
            <a:schemeClr val="tx1"/>
          </a:solidFill>
          <a:latin typeface="+mn-lt"/>
          <a:ea typeface="+mn-ea"/>
          <a:cs typeface="+mn-cs"/>
        </a:defRPr>
      </a:lvl4pPr>
      <a:lvl5pPr marL="2389876" algn="l" defTabSz="597469" rtl="0" eaLnBrk="1" latinLnBrk="0" hangingPunct="1">
        <a:defRPr sz="2352" kern="1200">
          <a:solidFill>
            <a:schemeClr val="tx1"/>
          </a:solidFill>
          <a:latin typeface="+mn-lt"/>
          <a:ea typeface="+mn-ea"/>
          <a:cs typeface="+mn-cs"/>
        </a:defRPr>
      </a:lvl5pPr>
      <a:lvl6pPr marL="2987345" algn="l" defTabSz="597469" rtl="0" eaLnBrk="1" latinLnBrk="0" hangingPunct="1">
        <a:defRPr sz="2352" kern="1200">
          <a:solidFill>
            <a:schemeClr val="tx1"/>
          </a:solidFill>
          <a:latin typeface="+mn-lt"/>
          <a:ea typeface="+mn-ea"/>
          <a:cs typeface="+mn-cs"/>
        </a:defRPr>
      </a:lvl6pPr>
      <a:lvl7pPr marL="3584814" algn="l" defTabSz="597469" rtl="0" eaLnBrk="1" latinLnBrk="0" hangingPunct="1">
        <a:defRPr sz="2352" kern="1200">
          <a:solidFill>
            <a:schemeClr val="tx1"/>
          </a:solidFill>
          <a:latin typeface="+mn-lt"/>
          <a:ea typeface="+mn-ea"/>
          <a:cs typeface="+mn-cs"/>
        </a:defRPr>
      </a:lvl7pPr>
      <a:lvl8pPr marL="4182283" algn="l" defTabSz="597469" rtl="0" eaLnBrk="1" latinLnBrk="0" hangingPunct="1">
        <a:defRPr sz="2352" kern="1200">
          <a:solidFill>
            <a:schemeClr val="tx1"/>
          </a:solidFill>
          <a:latin typeface="+mn-lt"/>
          <a:ea typeface="+mn-ea"/>
          <a:cs typeface="+mn-cs"/>
        </a:defRPr>
      </a:lvl8pPr>
      <a:lvl9pPr marL="4779752" algn="l" defTabSz="597469" rtl="0" eaLnBrk="1" latinLnBrk="0" hangingPunct="1">
        <a:defRPr sz="235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24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18"/>
            </p:custDataLst>
            <p:extLst/>
          </p:nvPr>
        </p:nvGraphicFramePr>
        <p:xfrm>
          <a:off x="2076" y="2076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5505" name="Slide do think-cell" r:id="rId19" imgW="270" imgH="270" progId="TCLayout.ActiveDocument.1">
                  <p:embed/>
                </p:oleObj>
              </mc:Choice>
              <mc:Fallback>
                <p:oleObj name="Slide do think-cell" r:id="rId1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2076" y="2076"/>
                        <a:ext cx="2074" cy="20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77" y="1290358"/>
            <a:ext cx="10739680" cy="5082596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3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/>
              <a:t>Click</a:t>
            </a:r>
            <a:r>
              <a:rPr lang="pt-PT" dirty="0"/>
              <a:t> to </a:t>
            </a:r>
            <a:r>
              <a:rPr lang="pt-PT" dirty="0" err="1"/>
              <a:t>edit</a:t>
            </a:r>
            <a:r>
              <a:rPr lang="pt-PT" dirty="0"/>
              <a:t> </a:t>
            </a:r>
            <a:r>
              <a:rPr lang="pt-PT" dirty="0" err="1"/>
              <a:t>Master</a:t>
            </a:r>
            <a:r>
              <a:rPr lang="pt-PT" dirty="0"/>
              <a:t> </a:t>
            </a:r>
            <a:r>
              <a:rPr lang="pt-PT" dirty="0" err="1"/>
              <a:t>text</a:t>
            </a:r>
            <a:r>
              <a:rPr lang="pt-PT" dirty="0"/>
              <a:t> </a:t>
            </a:r>
            <a:r>
              <a:rPr lang="pt-PT" dirty="0" err="1"/>
              <a:t>styles</a:t>
            </a:r>
            <a:endParaRPr lang="pt-PT" dirty="0"/>
          </a:p>
          <a:p>
            <a:pPr lvl="1" fontAlgn="base">
              <a:lnSpc>
                <a:spcPts val="183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/>
              <a:t>Second</a:t>
            </a:r>
            <a:r>
              <a:rPr lang="pt-PT" dirty="0"/>
              <a:t> </a:t>
            </a:r>
            <a:r>
              <a:rPr lang="pt-PT" dirty="0" err="1"/>
              <a:t>level</a:t>
            </a:r>
            <a:endParaRPr lang="pt-PT" dirty="0"/>
          </a:p>
          <a:p>
            <a:pPr lvl="2" fontAlgn="base">
              <a:lnSpc>
                <a:spcPts val="183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/>
              <a:t>Third</a:t>
            </a:r>
            <a:r>
              <a:rPr lang="pt-PT" dirty="0"/>
              <a:t> </a:t>
            </a:r>
            <a:r>
              <a:rPr lang="pt-PT" dirty="0" err="1"/>
              <a:t>level</a:t>
            </a:r>
            <a:endParaRPr lang="pt-PT" dirty="0"/>
          </a:p>
          <a:p>
            <a:pPr lvl="3" fontAlgn="base">
              <a:lnSpc>
                <a:spcPts val="183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/>
              <a:t>Fourth</a:t>
            </a:r>
            <a:r>
              <a:rPr lang="pt-PT" dirty="0"/>
              <a:t> </a:t>
            </a:r>
            <a:r>
              <a:rPr lang="pt-PT" dirty="0" err="1"/>
              <a:t>level</a:t>
            </a:r>
            <a:endParaRPr lang="pt-PT" dirty="0"/>
          </a:p>
          <a:p>
            <a:pPr lvl="4" fontAlgn="base">
              <a:lnSpc>
                <a:spcPts val="183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/>
              <a:t>Fifth</a:t>
            </a:r>
            <a:r>
              <a:rPr lang="pt-PT" dirty="0"/>
              <a:t> </a:t>
            </a:r>
            <a:r>
              <a:rPr lang="pt-PT" dirty="0" err="1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1978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/>
              <a:t>Click</a:t>
            </a:r>
            <a:r>
              <a:rPr lang="pt-PT" dirty="0"/>
              <a:t> to </a:t>
            </a:r>
            <a:r>
              <a:rPr lang="pt-PT" dirty="0" err="1"/>
              <a:t>edit</a:t>
            </a:r>
            <a:r>
              <a:rPr lang="pt-PT" dirty="0"/>
              <a:t> </a:t>
            </a:r>
            <a:r>
              <a:rPr lang="pt-PT" dirty="0" err="1"/>
              <a:t>title</a:t>
            </a:r>
            <a:r>
              <a:rPr lang="pt-PT" dirty="0"/>
              <a:t> </a:t>
            </a:r>
            <a:r>
              <a:rPr lang="pt-PT" dirty="0" err="1"/>
              <a:t>style</a:t>
            </a:r>
            <a:endParaRPr lang="en-US" dirty="0"/>
          </a:p>
        </p:txBody>
      </p:sp>
      <p:sp>
        <p:nvSpPr>
          <p:cNvPr id="2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7455" y="6371917"/>
            <a:ext cx="10176095" cy="28226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68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4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3552" y="6371917"/>
            <a:ext cx="578105" cy="28226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68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fld id="{74850952-3374-434C-8FC6-DE28F8CD25B0}" type="slidenum">
              <a:rPr lang="pt-BR" smtClean="0">
                <a:solidFill>
                  <a:srgbClr val="5F5F5F"/>
                </a:solidFill>
              </a:rPr>
              <a:pPr defTabSz="597469" fontAlgn="auto">
                <a:spcBef>
                  <a:spcPts val="0"/>
                </a:spcBef>
                <a:spcAft>
                  <a:spcPts val="0"/>
                </a:spcAft>
              </a:pPr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44" name="TextBox 43"/>
          <p:cNvSpPr txBox="1"/>
          <p:nvPr userDrawn="1"/>
        </p:nvSpPr>
        <p:spPr>
          <a:xfrm>
            <a:off x="-281816" y="73629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7469" fontAlgn="auto">
              <a:spcBef>
                <a:spcPts val="0"/>
              </a:spcBef>
              <a:spcAft>
                <a:spcPts val="0"/>
              </a:spcAft>
            </a:pPr>
            <a:r>
              <a:rPr lang="en-US" sz="1307" dirty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7" dirty="0" err="1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7" dirty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45" name="TextBox 44"/>
          <p:cNvSpPr txBox="1"/>
          <p:nvPr userDrawn="1"/>
        </p:nvSpPr>
        <p:spPr>
          <a:xfrm>
            <a:off x="-281816" y="1855149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7469" fontAlgn="auto">
              <a:spcBef>
                <a:spcPts val="0"/>
              </a:spcBef>
              <a:spcAft>
                <a:spcPts val="0"/>
              </a:spcAft>
            </a:pPr>
            <a:r>
              <a:rPr lang="en-US" sz="1307" dirty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46" name="TextBox 45"/>
          <p:cNvSpPr txBox="1"/>
          <p:nvPr userDrawn="1"/>
        </p:nvSpPr>
        <p:spPr>
          <a:xfrm>
            <a:off x="-281816" y="4207633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r>
              <a:rPr lang="en-US" sz="1307" dirty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47" name="Freeform 5"/>
          <p:cNvSpPr>
            <a:spLocks/>
          </p:cNvSpPr>
          <p:nvPr userDrawn="1"/>
        </p:nvSpPr>
        <p:spPr bwMode="auto">
          <a:xfrm>
            <a:off x="11944818" y="3078502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44" tIns="47044" rIns="47044" bIns="47044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r>
              <a:rPr lang="en-US" sz="915" dirty="0">
                <a:solidFill>
                  <a:srgbClr val="FFFFFF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r>
              <a:rPr lang="en-US" sz="915" dirty="0">
                <a:solidFill>
                  <a:srgbClr val="FFFFFF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r>
              <a:rPr lang="en-US" sz="915" dirty="0">
                <a:solidFill>
                  <a:srgbClr val="FFFFFF"/>
                </a:solidFill>
                <a:latin typeface="Simplon BP Regular"/>
                <a:cs typeface="Simplon BP Regular"/>
              </a:rPr>
              <a:t>B 255</a:t>
            </a:r>
          </a:p>
        </p:txBody>
      </p:sp>
      <p:sp>
        <p:nvSpPr>
          <p:cNvPr id="48" name="Freeform 47"/>
          <p:cNvSpPr>
            <a:spLocks/>
          </p:cNvSpPr>
          <p:nvPr userDrawn="1"/>
        </p:nvSpPr>
        <p:spPr bwMode="auto">
          <a:xfrm>
            <a:off x="11944818" y="2513906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44" tIns="47044" rIns="47044" bIns="47044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r>
              <a:rPr lang="en-US" sz="915" dirty="0">
                <a:solidFill>
                  <a:srgbClr val="FFFFFF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r>
              <a:rPr lang="en-US" sz="915" dirty="0">
                <a:solidFill>
                  <a:srgbClr val="FFFFFF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r>
              <a:rPr lang="en-US" sz="915" dirty="0">
                <a:solidFill>
                  <a:srgbClr val="FFFFFF"/>
                </a:solidFill>
                <a:latin typeface="Simplon BP Regular"/>
                <a:cs typeface="Simplon BP Regular"/>
              </a:rPr>
              <a:t>B 24</a:t>
            </a:r>
          </a:p>
        </p:txBody>
      </p:sp>
      <p:sp>
        <p:nvSpPr>
          <p:cNvPr id="49" name="Freeform 5"/>
          <p:cNvSpPr>
            <a:spLocks/>
          </p:cNvSpPr>
          <p:nvPr userDrawn="1"/>
        </p:nvSpPr>
        <p:spPr bwMode="auto">
          <a:xfrm>
            <a:off x="11944818" y="1949310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44" tIns="47044" rIns="47044" bIns="47044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r>
              <a:rPr lang="en-US" sz="915" dirty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r>
              <a:rPr lang="en-US" sz="915" dirty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r>
              <a:rPr lang="en-US" sz="915" dirty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</a:p>
        </p:txBody>
      </p:sp>
      <p:sp>
        <p:nvSpPr>
          <p:cNvPr id="50" name="Freeform 5"/>
          <p:cNvSpPr>
            <a:spLocks/>
          </p:cNvSpPr>
          <p:nvPr userDrawn="1"/>
        </p:nvSpPr>
        <p:spPr bwMode="auto">
          <a:xfrm>
            <a:off x="11944818" y="1384714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44" tIns="47044" rIns="47044" bIns="47044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r>
              <a:rPr lang="en-US" sz="915" dirty="0">
                <a:solidFill>
                  <a:srgbClr val="FFFFFF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r>
              <a:rPr lang="en-US" sz="915" dirty="0">
                <a:solidFill>
                  <a:srgbClr val="FFFFFF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r>
              <a:rPr lang="en-US" sz="915" dirty="0">
                <a:solidFill>
                  <a:srgbClr val="FFFFFF"/>
                </a:solidFill>
                <a:latin typeface="Simplon BP Regular"/>
                <a:cs typeface="Simplon BP Regular"/>
              </a:rPr>
              <a:t>B 0</a:t>
            </a:r>
          </a:p>
        </p:txBody>
      </p:sp>
      <p:sp>
        <p:nvSpPr>
          <p:cNvPr id="51" name="Freeform 50"/>
          <p:cNvSpPr>
            <a:spLocks/>
          </p:cNvSpPr>
          <p:nvPr userDrawn="1"/>
        </p:nvSpPr>
        <p:spPr bwMode="auto">
          <a:xfrm>
            <a:off x="11944818" y="820118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44" tIns="47044" rIns="47044" bIns="47044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r>
              <a:rPr lang="en-US" sz="915" dirty="0">
                <a:solidFill>
                  <a:srgbClr val="FFFFFF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r>
              <a:rPr lang="en-US" sz="915" dirty="0">
                <a:solidFill>
                  <a:srgbClr val="FFFFFF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r>
              <a:rPr lang="en-US" sz="915" dirty="0">
                <a:solidFill>
                  <a:srgbClr val="FFFFFF"/>
                </a:solidFill>
                <a:latin typeface="Simplon BP Regular"/>
                <a:cs typeface="Simplon BP Regular"/>
              </a:rPr>
              <a:t>B 140</a:t>
            </a:r>
          </a:p>
        </p:txBody>
      </p:sp>
      <p:sp>
        <p:nvSpPr>
          <p:cNvPr id="52" name="Freeform 5"/>
          <p:cNvSpPr>
            <a:spLocks/>
          </p:cNvSpPr>
          <p:nvPr userDrawn="1"/>
        </p:nvSpPr>
        <p:spPr bwMode="auto">
          <a:xfrm>
            <a:off x="11944818" y="258726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44" tIns="47044" rIns="47044" bIns="47044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15" dirty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746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15" dirty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746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15" dirty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</a:p>
        </p:txBody>
      </p:sp>
      <p:sp>
        <p:nvSpPr>
          <p:cNvPr id="53" name="Freeform 5"/>
          <p:cNvSpPr>
            <a:spLocks/>
          </p:cNvSpPr>
          <p:nvPr userDrawn="1"/>
        </p:nvSpPr>
        <p:spPr bwMode="auto">
          <a:xfrm>
            <a:off x="11944818" y="3643098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44" tIns="47044" rIns="47044" bIns="47044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r>
              <a:rPr lang="en-US" sz="915" dirty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r>
              <a:rPr lang="en-US" sz="915" dirty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r>
              <a:rPr lang="en-US" sz="915" dirty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</a:p>
        </p:txBody>
      </p:sp>
      <p:sp>
        <p:nvSpPr>
          <p:cNvPr id="54" name="Freeform 5"/>
          <p:cNvSpPr>
            <a:spLocks/>
          </p:cNvSpPr>
          <p:nvPr userDrawn="1"/>
        </p:nvSpPr>
        <p:spPr bwMode="auto">
          <a:xfrm>
            <a:off x="11949113" y="4301731"/>
            <a:ext cx="424105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55" name="Freeform 5"/>
          <p:cNvSpPr>
            <a:spLocks/>
          </p:cNvSpPr>
          <p:nvPr userDrawn="1"/>
        </p:nvSpPr>
        <p:spPr bwMode="auto">
          <a:xfrm>
            <a:off x="11949112" y="4493137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56" name="Freeform 5"/>
          <p:cNvSpPr>
            <a:spLocks/>
          </p:cNvSpPr>
          <p:nvPr userDrawn="1"/>
        </p:nvSpPr>
        <p:spPr bwMode="auto">
          <a:xfrm>
            <a:off x="12102361" y="4493135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57" name="Freeform 5"/>
          <p:cNvSpPr>
            <a:spLocks/>
          </p:cNvSpPr>
          <p:nvPr userDrawn="1"/>
        </p:nvSpPr>
        <p:spPr bwMode="auto">
          <a:xfrm>
            <a:off x="12255608" y="4493134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58" name="Freeform 5"/>
          <p:cNvSpPr>
            <a:spLocks/>
          </p:cNvSpPr>
          <p:nvPr userDrawn="1"/>
        </p:nvSpPr>
        <p:spPr bwMode="auto">
          <a:xfrm>
            <a:off x="11949113" y="4775432"/>
            <a:ext cx="424105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59" name="Freeform 5"/>
          <p:cNvSpPr>
            <a:spLocks/>
          </p:cNvSpPr>
          <p:nvPr userDrawn="1"/>
        </p:nvSpPr>
        <p:spPr bwMode="auto">
          <a:xfrm>
            <a:off x="11949112" y="4982130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60" name="Freeform 5"/>
          <p:cNvSpPr>
            <a:spLocks/>
          </p:cNvSpPr>
          <p:nvPr userDrawn="1"/>
        </p:nvSpPr>
        <p:spPr bwMode="auto">
          <a:xfrm>
            <a:off x="12102361" y="4982128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61" name="Freeform 5"/>
          <p:cNvSpPr>
            <a:spLocks/>
          </p:cNvSpPr>
          <p:nvPr userDrawn="1"/>
        </p:nvSpPr>
        <p:spPr bwMode="auto">
          <a:xfrm>
            <a:off x="12255608" y="4982127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62" name="Freeform 5"/>
          <p:cNvSpPr>
            <a:spLocks/>
          </p:cNvSpPr>
          <p:nvPr userDrawn="1"/>
        </p:nvSpPr>
        <p:spPr bwMode="auto">
          <a:xfrm>
            <a:off x="11949113" y="5245929"/>
            <a:ext cx="424105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63" name="Freeform 5"/>
          <p:cNvSpPr>
            <a:spLocks/>
          </p:cNvSpPr>
          <p:nvPr userDrawn="1"/>
        </p:nvSpPr>
        <p:spPr bwMode="auto">
          <a:xfrm>
            <a:off x="11949112" y="5437334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64" name="Freeform 5"/>
          <p:cNvSpPr>
            <a:spLocks/>
          </p:cNvSpPr>
          <p:nvPr userDrawn="1"/>
        </p:nvSpPr>
        <p:spPr bwMode="auto">
          <a:xfrm>
            <a:off x="12102361" y="5437333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65" name="Freeform 5"/>
          <p:cNvSpPr>
            <a:spLocks/>
          </p:cNvSpPr>
          <p:nvPr userDrawn="1"/>
        </p:nvSpPr>
        <p:spPr bwMode="auto">
          <a:xfrm>
            <a:off x="12255608" y="5437332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66" name="TextBox 39"/>
          <p:cNvSpPr txBox="1"/>
          <p:nvPr userDrawn="1"/>
        </p:nvSpPr>
        <p:spPr>
          <a:xfrm>
            <a:off x="11949112" y="5619122"/>
            <a:ext cx="621766" cy="86593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7469" fontAlgn="auto">
              <a:spcBef>
                <a:spcPts val="1045"/>
              </a:spcBef>
              <a:spcAft>
                <a:spcPts val="0"/>
              </a:spcAft>
            </a:pPr>
            <a:r>
              <a:rPr lang="en-US" sz="915" dirty="0" err="1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915" dirty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915" dirty="0" err="1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915" dirty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915" dirty="0" err="1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915" dirty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915" dirty="0" err="1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915" dirty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915" dirty="0" err="1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915" dirty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</a:p>
        </p:txBody>
      </p:sp>
      <p:sp>
        <p:nvSpPr>
          <p:cNvPr id="68" name="Freeform 5"/>
          <p:cNvSpPr>
            <a:spLocks/>
          </p:cNvSpPr>
          <p:nvPr userDrawn="1"/>
        </p:nvSpPr>
        <p:spPr bwMode="auto">
          <a:xfrm>
            <a:off x="12411752" y="25872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BD78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69" name="Freeform 5"/>
          <p:cNvSpPr>
            <a:spLocks/>
          </p:cNvSpPr>
          <p:nvPr userDrawn="1"/>
        </p:nvSpPr>
        <p:spPr bwMode="auto">
          <a:xfrm>
            <a:off x="12411752" y="537757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7A23C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70" name="Freeform 5"/>
          <p:cNvSpPr>
            <a:spLocks/>
          </p:cNvSpPr>
          <p:nvPr userDrawn="1"/>
        </p:nvSpPr>
        <p:spPr bwMode="auto">
          <a:xfrm>
            <a:off x="12411752" y="86222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86DB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71" name="Freeform 5"/>
          <p:cNvSpPr>
            <a:spLocks/>
          </p:cNvSpPr>
          <p:nvPr userDrawn="1"/>
        </p:nvSpPr>
        <p:spPr bwMode="auto">
          <a:xfrm>
            <a:off x="12411752" y="113250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B51F7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72" name="Freeform 71"/>
          <p:cNvSpPr>
            <a:spLocks/>
          </p:cNvSpPr>
          <p:nvPr userDrawn="1"/>
        </p:nvSpPr>
        <p:spPr bwMode="auto">
          <a:xfrm>
            <a:off x="12411752" y="144158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95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73" name="Freeform 5"/>
          <p:cNvSpPr>
            <a:spLocks/>
          </p:cNvSpPr>
          <p:nvPr userDrawn="1"/>
        </p:nvSpPr>
        <p:spPr bwMode="auto">
          <a:xfrm>
            <a:off x="12411752" y="171186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CC52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74" name="Freeform 5"/>
          <p:cNvSpPr>
            <a:spLocks/>
          </p:cNvSpPr>
          <p:nvPr userDrawn="1"/>
        </p:nvSpPr>
        <p:spPr bwMode="auto">
          <a:xfrm>
            <a:off x="12411752" y="200887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C8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75" name="Freeform 5"/>
          <p:cNvSpPr>
            <a:spLocks/>
          </p:cNvSpPr>
          <p:nvPr userDrawn="1"/>
        </p:nvSpPr>
        <p:spPr bwMode="auto">
          <a:xfrm>
            <a:off x="12411752" y="227915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CCC6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76" name="Freeform 5"/>
          <p:cNvSpPr>
            <a:spLocks/>
          </p:cNvSpPr>
          <p:nvPr userDrawn="1"/>
        </p:nvSpPr>
        <p:spPr bwMode="auto">
          <a:xfrm>
            <a:off x="12411752" y="256409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69D17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77" name="Freeform 5"/>
          <p:cNvSpPr>
            <a:spLocks/>
          </p:cNvSpPr>
          <p:nvPr userDrawn="1"/>
        </p:nvSpPr>
        <p:spPr bwMode="auto">
          <a:xfrm>
            <a:off x="12411752" y="283437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9E0B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78" name="Freeform 5"/>
          <p:cNvSpPr>
            <a:spLocks/>
          </p:cNvSpPr>
          <p:nvPr userDrawn="1"/>
        </p:nvSpPr>
        <p:spPr bwMode="auto">
          <a:xfrm>
            <a:off x="12411752" y="3155524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E6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79" name="Freeform 5"/>
          <p:cNvSpPr>
            <a:spLocks/>
          </p:cNvSpPr>
          <p:nvPr userDrawn="1"/>
        </p:nvSpPr>
        <p:spPr bwMode="auto">
          <a:xfrm>
            <a:off x="12411752" y="342580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AFC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80" name="Freeform 5"/>
          <p:cNvSpPr>
            <a:spLocks/>
          </p:cNvSpPr>
          <p:nvPr userDrawn="1"/>
        </p:nvSpPr>
        <p:spPr bwMode="auto">
          <a:xfrm>
            <a:off x="12411752" y="3734884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DEDEDE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81" name="Freeform 5"/>
          <p:cNvSpPr>
            <a:spLocks/>
          </p:cNvSpPr>
          <p:nvPr userDrawn="1"/>
        </p:nvSpPr>
        <p:spPr bwMode="auto">
          <a:xfrm>
            <a:off x="12411752" y="400516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9C9C9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2604132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509" r:id="rId1"/>
    <p:sldLayoutId id="2147486510" r:id="rId2"/>
    <p:sldLayoutId id="2147486511" r:id="rId3"/>
    <p:sldLayoutId id="2147486512" r:id="rId4"/>
    <p:sldLayoutId id="2147486513" r:id="rId5"/>
    <p:sldLayoutId id="2147486514" r:id="rId6"/>
    <p:sldLayoutId id="2147486515" r:id="rId7"/>
    <p:sldLayoutId id="2147486516" r:id="rId8"/>
    <p:sldLayoutId id="2147486517" r:id="rId9"/>
    <p:sldLayoutId id="2147486518" r:id="rId10"/>
    <p:sldLayoutId id="2147486519" r:id="rId11"/>
    <p:sldLayoutId id="2147486520" r:id="rId12"/>
    <p:sldLayoutId id="2147486521" r:id="rId13"/>
    <p:sldLayoutId id="2147486522" r:id="rId14"/>
    <p:sldLayoutId id="2147486523" r:id="rId15"/>
  </p:sldLayoutIdLst>
  <p:hf hdr="0" dt="0"/>
  <p:txStyles>
    <p:titleStyle>
      <a:lvl1pPr algn="l" defTabSz="597469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2744" b="0" i="0" kern="1200" noProof="0">
          <a:solidFill>
            <a:schemeClr val="accent5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40647" indent="-240647" algn="l" defTabSz="59746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3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7145" indent="-230275" algn="l" defTabSz="59746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7145" algn="l"/>
        </a:tabLst>
        <a:defRPr lang="es-ES_tradnl" sz="183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7420" indent="-230275" algn="l" defTabSz="59746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7420" algn="l"/>
        </a:tabLst>
        <a:defRPr lang="es-ES_tradnl" sz="183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7694" indent="-230275" algn="l" defTabSz="59746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7694" algn="l"/>
        </a:tabLst>
        <a:defRPr lang="es-ES_tradnl" sz="183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7969" indent="-230275" algn="l" defTabSz="59746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7969" algn="l"/>
        </a:tabLst>
        <a:defRPr lang="pt-BR" sz="183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86079" indent="-298734" algn="l" defTabSz="597469" rtl="0" eaLnBrk="1" latinLnBrk="0" hangingPunct="1">
        <a:spcBef>
          <a:spcPct val="20000"/>
        </a:spcBef>
        <a:buFont typeface="Arial"/>
        <a:buChar char="•"/>
        <a:defRPr sz="2614" kern="1200">
          <a:solidFill>
            <a:schemeClr val="tx1"/>
          </a:solidFill>
          <a:latin typeface="+mn-lt"/>
          <a:ea typeface="+mn-ea"/>
          <a:cs typeface="+mn-cs"/>
        </a:defRPr>
      </a:lvl6pPr>
      <a:lvl7pPr marL="3883548" indent="-298734" algn="l" defTabSz="597469" rtl="0" eaLnBrk="1" latinLnBrk="0" hangingPunct="1">
        <a:spcBef>
          <a:spcPct val="20000"/>
        </a:spcBef>
        <a:buFont typeface="Arial"/>
        <a:buChar char="•"/>
        <a:defRPr sz="2614" kern="1200">
          <a:solidFill>
            <a:schemeClr val="tx1"/>
          </a:solidFill>
          <a:latin typeface="+mn-lt"/>
          <a:ea typeface="+mn-ea"/>
          <a:cs typeface="+mn-cs"/>
        </a:defRPr>
      </a:lvl7pPr>
      <a:lvl8pPr marL="4481017" indent="-298734" algn="l" defTabSz="597469" rtl="0" eaLnBrk="1" latinLnBrk="0" hangingPunct="1">
        <a:spcBef>
          <a:spcPct val="20000"/>
        </a:spcBef>
        <a:buFont typeface="Arial"/>
        <a:buChar char="•"/>
        <a:defRPr sz="2614" kern="1200">
          <a:solidFill>
            <a:schemeClr val="tx1"/>
          </a:solidFill>
          <a:latin typeface="+mn-lt"/>
          <a:ea typeface="+mn-ea"/>
          <a:cs typeface="+mn-cs"/>
        </a:defRPr>
      </a:lvl8pPr>
      <a:lvl9pPr marL="5078486" indent="-298734" algn="l" defTabSz="597469" rtl="0" eaLnBrk="1" latinLnBrk="0" hangingPunct="1">
        <a:spcBef>
          <a:spcPct val="20000"/>
        </a:spcBef>
        <a:buFont typeface="Arial"/>
        <a:buChar char="•"/>
        <a:defRPr sz="2614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7469" rtl="0" eaLnBrk="1" latinLnBrk="0" hangingPunct="1">
        <a:defRPr sz="2352" kern="1200">
          <a:solidFill>
            <a:schemeClr val="tx1"/>
          </a:solidFill>
          <a:latin typeface="+mn-lt"/>
          <a:ea typeface="+mn-ea"/>
          <a:cs typeface="+mn-cs"/>
        </a:defRPr>
      </a:lvl1pPr>
      <a:lvl2pPr marL="597469" algn="l" defTabSz="597469" rtl="0" eaLnBrk="1" latinLnBrk="0" hangingPunct="1">
        <a:defRPr sz="2352" kern="1200">
          <a:solidFill>
            <a:schemeClr val="tx1"/>
          </a:solidFill>
          <a:latin typeface="+mn-lt"/>
          <a:ea typeface="+mn-ea"/>
          <a:cs typeface="+mn-cs"/>
        </a:defRPr>
      </a:lvl2pPr>
      <a:lvl3pPr marL="1194938" algn="l" defTabSz="597469" rtl="0" eaLnBrk="1" latinLnBrk="0" hangingPunct="1">
        <a:defRPr sz="2352" kern="1200">
          <a:solidFill>
            <a:schemeClr val="tx1"/>
          </a:solidFill>
          <a:latin typeface="+mn-lt"/>
          <a:ea typeface="+mn-ea"/>
          <a:cs typeface="+mn-cs"/>
        </a:defRPr>
      </a:lvl3pPr>
      <a:lvl4pPr marL="1792407" algn="l" defTabSz="597469" rtl="0" eaLnBrk="1" latinLnBrk="0" hangingPunct="1">
        <a:defRPr sz="2352" kern="1200">
          <a:solidFill>
            <a:schemeClr val="tx1"/>
          </a:solidFill>
          <a:latin typeface="+mn-lt"/>
          <a:ea typeface="+mn-ea"/>
          <a:cs typeface="+mn-cs"/>
        </a:defRPr>
      </a:lvl4pPr>
      <a:lvl5pPr marL="2389876" algn="l" defTabSz="597469" rtl="0" eaLnBrk="1" latinLnBrk="0" hangingPunct="1">
        <a:defRPr sz="2352" kern="1200">
          <a:solidFill>
            <a:schemeClr val="tx1"/>
          </a:solidFill>
          <a:latin typeface="+mn-lt"/>
          <a:ea typeface="+mn-ea"/>
          <a:cs typeface="+mn-cs"/>
        </a:defRPr>
      </a:lvl5pPr>
      <a:lvl6pPr marL="2987345" algn="l" defTabSz="597469" rtl="0" eaLnBrk="1" latinLnBrk="0" hangingPunct="1">
        <a:defRPr sz="2352" kern="1200">
          <a:solidFill>
            <a:schemeClr val="tx1"/>
          </a:solidFill>
          <a:latin typeface="+mn-lt"/>
          <a:ea typeface="+mn-ea"/>
          <a:cs typeface="+mn-cs"/>
        </a:defRPr>
      </a:lvl6pPr>
      <a:lvl7pPr marL="3584814" algn="l" defTabSz="597469" rtl="0" eaLnBrk="1" latinLnBrk="0" hangingPunct="1">
        <a:defRPr sz="2352" kern="1200">
          <a:solidFill>
            <a:schemeClr val="tx1"/>
          </a:solidFill>
          <a:latin typeface="+mn-lt"/>
          <a:ea typeface="+mn-ea"/>
          <a:cs typeface="+mn-cs"/>
        </a:defRPr>
      </a:lvl7pPr>
      <a:lvl8pPr marL="4182283" algn="l" defTabSz="597469" rtl="0" eaLnBrk="1" latinLnBrk="0" hangingPunct="1">
        <a:defRPr sz="2352" kern="1200">
          <a:solidFill>
            <a:schemeClr val="tx1"/>
          </a:solidFill>
          <a:latin typeface="+mn-lt"/>
          <a:ea typeface="+mn-ea"/>
          <a:cs typeface="+mn-cs"/>
        </a:defRPr>
      </a:lvl8pPr>
      <a:lvl9pPr marL="4779752" algn="l" defTabSz="597469" rtl="0" eaLnBrk="1" latinLnBrk="0" hangingPunct="1">
        <a:defRPr sz="235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24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77" y="1854628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3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3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3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3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3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1978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2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7455" y="6371917"/>
            <a:ext cx="10176095" cy="28226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68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4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3552" y="6371917"/>
            <a:ext cx="578105" cy="28226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68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fld id="{74850952-3374-434C-8FC6-DE28F8CD25B0}" type="slidenum">
              <a:rPr lang="pt-BR" smtClean="0">
                <a:solidFill>
                  <a:srgbClr val="5F5F5F"/>
                </a:solidFill>
              </a:rPr>
              <a:pPr defTabSz="597469" fontAlgn="auto">
                <a:spcBef>
                  <a:spcPts val="0"/>
                </a:spcBef>
                <a:spcAft>
                  <a:spcPts val="0"/>
                </a:spcAft>
              </a:pPr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44" name="TextBox 43"/>
          <p:cNvSpPr txBox="1"/>
          <p:nvPr userDrawn="1"/>
        </p:nvSpPr>
        <p:spPr>
          <a:xfrm>
            <a:off x="-281816" y="73629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7469" fontAlgn="auto">
              <a:spcBef>
                <a:spcPts val="0"/>
              </a:spcBef>
              <a:spcAft>
                <a:spcPts val="0"/>
              </a:spcAft>
            </a:pPr>
            <a:r>
              <a:rPr lang="en-US" sz="1307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7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7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45" name="TextBox 44"/>
          <p:cNvSpPr txBox="1"/>
          <p:nvPr userDrawn="1"/>
        </p:nvSpPr>
        <p:spPr>
          <a:xfrm>
            <a:off x="-281816" y="1855149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7469" fontAlgn="auto">
              <a:spcBef>
                <a:spcPts val="0"/>
              </a:spcBef>
              <a:spcAft>
                <a:spcPts val="0"/>
              </a:spcAft>
            </a:pPr>
            <a:r>
              <a:rPr lang="en-US" sz="1307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46" name="TextBox 45"/>
          <p:cNvSpPr txBox="1"/>
          <p:nvPr userDrawn="1"/>
        </p:nvSpPr>
        <p:spPr>
          <a:xfrm>
            <a:off x="-281816" y="4207633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r>
              <a:rPr lang="en-US" sz="1307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47" name="Freeform 5"/>
          <p:cNvSpPr>
            <a:spLocks/>
          </p:cNvSpPr>
          <p:nvPr userDrawn="1"/>
        </p:nvSpPr>
        <p:spPr bwMode="auto">
          <a:xfrm>
            <a:off x="11944818" y="3078502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44" tIns="47044" rIns="47044" bIns="47044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r>
              <a:rPr lang="en-US" sz="915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r>
              <a:rPr lang="en-US" sz="915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r>
              <a:rPr lang="en-US" sz="915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</a:t>
            </a:r>
            <a:endParaRPr lang="en-US" sz="915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48" name="Freeform 47"/>
          <p:cNvSpPr>
            <a:spLocks/>
          </p:cNvSpPr>
          <p:nvPr userDrawn="1"/>
        </p:nvSpPr>
        <p:spPr bwMode="auto">
          <a:xfrm>
            <a:off x="11944818" y="2513906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44" tIns="47044" rIns="47044" bIns="47044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r>
              <a:rPr lang="en-US" sz="915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r>
              <a:rPr lang="en-US" sz="915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r>
              <a:rPr lang="en-US" sz="915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4</a:t>
            </a:r>
            <a:endParaRPr lang="en-US" sz="915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49" name="Freeform 5"/>
          <p:cNvSpPr>
            <a:spLocks/>
          </p:cNvSpPr>
          <p:nvPr userDrawn="1"/>
        </p:nvSpPr>
        <p:spPr bwMode="auto">
          <a:xfrm>
            <a:off x="11944818" y="1949310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44" tIns="47044" rIns="47044" bIns="47044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r>
              <a:rPr lang="en-US" sz="915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r>
              <a:rPr lang="en-US" sz="915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r>
              <a:rPr lang="en-US" sz="915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915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50" name="Freeform 5"/>
          <p:cNvSpPr>
            <a:spLocks/>
          </p:cNvSpPr>
          <p:nvPr userDrawn="1"/>
        </p:nvSpPr>
        <p:spPr bwMode="auto">
          <a:xfrm>
            <a:off x="11944818" y="1384714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44" tIns="47044" rIns="47044" bIns="47044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r>
              <a:rPr lang="en-US" sz="915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r>
              <a:rPr lang="en-US" sz="915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r>
              <a:rPr lang="en-US" sz="915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0</a:t>
            </a:r>
            <a:endParaRPr lang="en-US" sz="915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51" name="Freeform 50"/>
          <p:cNvSpPr>
            <a:spLocks/>
          </p:cNvSpPr>
          <p:nvPr userDrawn="1"/>
        </p:nvSpPr>
        <p:spPr bwMode="auto">
          <a:xfrm>
            <a:off x="11944818" y="820118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44" tIns="47044" rIns="47044" bIns="47044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r>
              <a:rPr lang="en-US" sz="915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r>
              <a:rPr lang="en-US" sz="915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r>
              <a:rPr lang="en-US" sz="915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140</a:t>
            </a:r>
            <a:endParaRPr lang="en-US" sz="915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52" name="Freeform 5"/>
          <p:cNvSpPr>
            <a:spLocks/>
          </p:cNvSpPr>
          <p:nvPr userDrawn="1"/>
        </p:nvSpPr>
        <p:spPr bwMode="auto">
          <a:xfrm>
            <a:off x="11944818" y="258726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44" tIns="47044" rIns="47044" bIns="47044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15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746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15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746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15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915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53" name="Freeform 5"/>
          <p:cNvSpPr>
            <a:spLocks/>
          </p:cNvSpPr>
          <p:nvPr userDrawn="1"/>
        </p:nvSpPr>
        <p:spPr bwMode="auto">
          <a:xfrm>
            <a:off x="11944818" y="3643098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7044" tIns="47044" rIns="47044" bIns="47044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r>
              <a:rPr lang="en-US" sz="915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r>
              <a:rPr lang="en-US" sz="915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r>
              <a:rPr lang="en-US" sz="915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915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54" name="Freeform 5"/>
          <p:cNvSpPr>
            <a:spLocks/>
          </p:cNvSpPr>
          <p:nvPr userDrawn="1"/>
        </p:nvSpPr>
        <p:spPr bwMode="auto">
          <a:xfrm>
            <a:off x="11949113" y="4301731"/>
            <a:ext cx="424105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55" name="Freeform 5"/>
          <p:cNvSpPr>
            <a:spLocks/>
          </p:cNvSpPr>
          <p:nvPr userDrawn="1"/>
        </p:nvSpPr>
        <p:spPr bwMode="auto">
          <a:xfrm>
            <a:off x="11949112" y="4493137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56" name="Freeform 5"/>
          <p:cNvSpPr>
            <a:spLocks/>
          </p:cNvSpPr>
          <p:nvPr userDrawn="1"/>
        </p:nvSpPr>
        <p:spPr bwMode="auto">
          <a:xfrm>
            <a:off x="12102361" y="4493135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57" name="Freeform 5"/>
          <p:cNvSpPr>
            <a:spLocks/>
          </p:cNvSpPr>
          <p:nvPr userDrawn="1"/>
        </p:nvSpPr>
        <p:spPr bwMode="auto">
          <a:xfrm>
            <a:off x="12255608" y="4493134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58" name="Freeform 5"/>
          <p:cNvSpPr>
            <a:spLocks/>
          </p:cNvSpPr>
          <p:nvPr userDrawn="1"/>
        </p:nvSpPr>
        <p:spPr bwMode="auto">
          <a:xfrm>
            <a:off x="11949113" y="4775432"/>
            <a:ext cx="424105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59" name="Freeform 5"/>
          <p:cNvSpPr>
            <a:spLocks/>
          </p:cNvSpPr>
          <p:nvPr userDrawn="1"/>
        </p:nvSpPr>
        <p:spPr bwMode="auto">
          <a:xfrm>
            <a:off x="11949112" y="4982130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60" name="Freeform 5"/>
          <p:cNvSpPr>
            <a:spLocks/>
          </p:cNvSpPr>
          <p:nvPr userDrawn="1"/>
        </p:nvSpPr>
        <p:spPr bwMode="auto">
          <a:xfrm>
            <a:off x="12102361" y="4982128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61" name="Freeform 5"/>
          <p:cNvSpPr>
            <a:spLocks/>
          </p:cNvSpPr>
          <p:nvPr userDrawn="1"/>
        </p:nvSpPr>
        <p:spPr bwMode="auto">
          <a:xfrm>
            <a:off x="12255608" y="4982127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62" name="Freeform 5"/>
          <p:cNvSpPr>
            <a:spLocks/>
          </p:cNvSpPr>
          <p:nvPr userDrawn="1"/>
        </p:nvSpPr>
        <p:spPr bwMode="auto">
          <a:xfrm>
            <a:off x="11949113" y="5245929"/>
            <a:ext cx="424105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63" name="Freeform 5"/>
          <p:cNvSpPr>
            <a:spLocks/>
          </p:cNvSpPr>
          <p:nvPr userDrawn="1"/>
        </p:nvSpPr>
        <p:spPr bwMode="auto">
          <a:xfrm>
            <a:off x="11949112" y="5437334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64" name="Freeform 5"/>
          <p:cNvSpPr>
            <a:spLocks/>
          </p:cNvSpPr>
          <p:nvPr userDrawn="1"/>
        </p:nvSpPr>
        <p:spPr bwMode="auto">
          <a:xfrm>
            <a:off x="12102361" y="5437333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65" name="Freeform 5"/>
          <p:cNvSpPr>
            <a:spLocks/>
          </p:cNvSpPr>
          <p:nvPr userDrawn="1"/>
        </p:nvSpPr>
        <p:spPr bwMode="auto">
          <a:xfrm>
            <a:off x="12255608" y="5437332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66" name="TextBox 39"/>
          <p:cNvSpPr txBox="1"/>
          <p:nvPr userDrawn="1"/>
        </p:nvSpPr>
        <p:spPr>
          <a:xfrm>
            <a:off x="11949112" y="5619122"/>
            <a:ext cx="621766" cy="86593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7469" fontAlgn="auto">
              <a:spcBef>
                <a:spcPts val="1045"/>
              </a:spcBef>
              <a:spcAft>
                <a:spcPts val="0"/>
              </a:spcAft>
            </a:pPr>
            <a:r>
              <a:rPr lang="en-US" sz="915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915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915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915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915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915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915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915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915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915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</a:p>
        </p:txBody>
      </p:sp>
      <p:sp>
        <p:nvSpPr>
          <p:cNvPr id="68" name="Freeform 5"/>
          <p:cNvSpPr>
            <a:spLocks/>
          </p:cNvSpPr>
          <p:nvPr userDrawn="1"/>
        </p:nvSpPr>
        <p:spPr bwMode="auto">
          <a:xfrm>
            <a:off x="12411752" y="25872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BD78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69" name="Freeform 5"/>
          <p:cNvSpPr>
            <a:spLocks/>
          </p:cNvSpPr>
          <p:nvPr userDrawn="1"/>
        </p:nvSpPr>
        <p:spPr bwMode="auto">
          <a:xfrm>
            <a:off x="12411752" y="537757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7A23C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70" name="Freeform 5"/>
          <p:cNvSpPr>
            <a:spLocks/>
          </p:cNvSpPr>
          <p:nvPr userDrawn="1"/>
        </p:nvSpPr>
        <p:spPr bwMode="auto">
          <a:xfrm>
            <a:off x="12411752" y="86222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86DB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71" name="Freeform 5"/>
          <p:cNvSpPr>
            <a:spLocks/>
          </p:cNvSpPr>
          <p:nvPr userDrawn="1"/>
        </p:nvSpPr>
        <p:spPr bwMode="auto">
          <a:xfrm>
            <a:off x="12411752" y="113250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B51F7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72" name="Freeform 71"/>
          <p:cNvSpPr>
            <a:spLocks/>
          </p:cNvSpPr>
          <p:nvPr userDrawn="1"/>
        </p:nvSpPr>
        <p:spPr bwMode="auto">
          <a:xfrm>
            <a:off x="12411752" y="144158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95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73" name="Freeform 5"/>
          <p:cNvSpPr>
            <a:spLocks/>
          </p:cNvSpPr>
          <p:nvPr userDrawn="1"/>
        </p:nvSpPr>
        <p:spPr bwMode="auto">
          <a:xfrm>
            <a:off x="12411752" y="171186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CC52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74" name="Freeform 5"/>
          <p:cNvSpPr>
            <a:spLocks/>
          </p:cNvSpPr>
          <p:nvPr userDrawn="1"/>
        </p:nvSpPr>
        <p:spPr bwMode="auto">
          <a:xfrm>
            <a:off x="12411752" y="200887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C8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75" name="Freeform 5"/>
          <p:cNvSpPr>
            <a:spLocks/>
          </p:cNvSpPr>
          <p:nvPr userDrawn="1"/>
        </p:nvSpPr>
        <p:spPr bwMode="auto">
          <a:xfrm>
            <a:off x="12411752" y="227915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CCC6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76" name="Freeform 5"/>
          <p:cNvSpPr>
            <a:spLocks/>
          </p:cNvSpPr>
          <p:nvPr userDrawn="1"/>
        </p:nvSpPr>
        <p:spPr bwMode="auto">
          <a:xfrm>
            <a:off x="12411752" y="256409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69D17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77" name="Freeform 5"/>
          <p:cNvSpPr>
            <a:spLocks/>
          </p:cNvSpPr>
          <p:nvPr userDrawn="1"/>
        </p:nvSpPr>
        <p:spPr bwMode="auto">
          <a:xfrm>
            <a:off x="12411752" y="283437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9E0B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78" name="Freeform 5"/>
          <p:cNvSpPr>
            <a:spLocks/>
          </p:cNvSpPr>
          <p:nvPr userDrawn="1"/>
        </p:nvSpPr>
        <p:spPr bwMode="auto">
          <a:xfrm>
            <a:off x="12411752" y="3155524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E6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79" name="Freeform 5"/>
          <p:cNvSpPr>
            <a:spLocks/>
          </p:cNvSpPr>
          <p:nvPr userDrawn="1"/>
        </p:nvSpPr>
        <p:spPr bwMode="auto">
          <a:xfrm>
            <a:off x="12411752" y="342580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AFC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80" name="Freeform 5"/>
          <p:cNvSpPr>
            <a:spLocks/>
          </p:cNvSpPr>
          <p:nvPr userDrawn="1"/>
        </p:nvSpPr>
        <p:spPr bwMode="auto">
          <a:xfrm>
            <a:off x="12411752" y="3734884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DEDEDE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  <p:sp>
        <p:nvSpPr>
          <p:cNvPr id="81" name="Freeform 5"/>
          <p:cNvSpPr>
            <a:spLocks/>
          </p:cNvSpPr>
          <p:nvPr userDrawn="1"/>
        </p:nvSpPr>
        <p:spPr bwMode="auto">
          <a:xfrm>
            <a:off x="12411752" y="400516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9C9C9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pPr defTabSz="597469" fontAlgn="auto">
              <a:spcBef>
                <a:spcPts val="0"/>
              </a:spcBef>
              <a:spcAft>
                <a:spcPts val="0"/>
              </a:spcAft>
            </a:pPr>
            <a:endParaRPr lang="pt-BR" sz="2352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2679863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539" r:id="rId1"/>
    <p:sldLayoutId id="2147486540" r:id="rId2"/>
    <p:sldLayoutId id="2147486541" r:id="rId3"/>
    <p:sldLayoutId id="2147486542" r:id="rId4"/>
    <p:sldLayoutId id="2147486543" r:id="rId5"/>
    <p:sldLayoutId id="2147486544" r:id="rId6"/>
  </p:sldLayoutIdLst>
  <p:hf hdr="0" dt="0"/>
  <p:txStyles>
    <p:titleStyle>
      <a:lvl1pPr algn="l" defTabSz="597469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2744" b="0" i="0" kern="1200" noProof="0">
          <a:solidFill>
            <a:srgbClr val="A037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40647" indent="-240647" algn="l" defTabSz="59746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3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7145" indent="-230275" algn="l" defTabSz="59746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7145" algn="l"/>
        </a:tabLst>
        <a:defRPr lang="es-ES_tradnl" sz="183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7420" indent="-230275" algn="l" defTabSz="59746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7420" algn="l"/>
        </a:tabLst>
        <a:defRPr lang="es-ES_tradnl" sz="183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7694" indent="-230275" algn="l" defTabSz="59746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7694" algn="l"/>
        </a:tabLst>
        <a:defRPr lang="es-ES_tradnl" sz="183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7969" indent="-230275" algn="l" defTabSz="59746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7969" algn="l"/>
        </a:tabLst>
        <a:defRPr lang="pt-BR" sz="183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86079" indent="-298734" algn="l" defTabSz="597469" rtl="0" eaLnBrk="1" latinLnBrk="0" hangingPunct="1">
        <a:spcBef>
          <a:spcPct val="20000"/>
        </a:spcBef>
        <a:buFont typeface="Arial"/>
        <a:buChar char="•"/>
        <a:defRPr sz="2614" kern="1200">
          <a:solidFill>
            <a:schemeClr val="tx1"/>
          </a:solidFill>
          <a:latin typeface="+mn-lt"/>
          <a:ea typeface="+mn-ea"/>
          <a:cs typeface="+mn-cs"/>
        </a:defRPr>
      </a:lvl6pPr>
      <a:lvl7pPr marL="3883548" indent="-298734" algn="l" defTabSz="597469" rtl="0" eaLnBrk="1" latinLnBrk="0" hangingPunct="1">
        <a:spcBef>
          <a:spcPct val="20000"/>
        </a:spcBef>
        <a:buFont typeface="Arial"/>
        <a:buChar char="•"/>
        <a:defRPr sz="2614" kern="1200">
          <a:solidFill>
            <a:schemeClr val="tx1"/>
          </a:solidFill>
          <a:latin typeface="+mn-lt"/>
          <a:ea typeface="+mn-ea"/>
          <a:cs typeface="+mn-cs"/>
        </a:defRPr>
      </a:lvl7pPr>
      <a:lvl8pPr marL="4481017" indent="-298734" algn="l" defTabSz="597469" rtl="0" eaLnBrk="1" latinLnBrk="0" hangingPunct="1">
        <a:spcBef>
          <a:spcPct val="20000"/>
        </a:spcBef>
        <a:buFont typeface="Arial"/>
        <a:buChar char="•"/>
        <a:defRPr sz="2614" kern="1200">
          <a:solidFill>
            <a:schemeClr val="tx1"/>
          </a:solidFill>
          <a:latin typeface="+mn-lt"/>
          <a:ea typeface="+mn-ea"/>
          <a:cs typeface="+mn-cs"/>
        </a:defRPr>
      </a:lvl8pPr>
      <a:lvl9pPr marL="5078486" indent="-298734" algn="l" defTabSz="597469" rtl="0" eaLnBrk="1" latinLnBrk="0" hangingPunct="1">
        <a:spcBef>
          <a:spcPct val="20000"/>
        </a:spcBef>
        <a:buFont typeface="Arial"/>
        <a:buChar char="•"/>
        <a:defRPr sz="2614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7469" rtl="0" eaLnBrk="1" latinLnBrk="0" hangingPunct="1">
        <a:defRPr sz="2352" kern="1200">
          <a:solidFill>
            <a:schemeClr val="tx1"/>
          </a:solidFill>
          <a:latin typeface="+mn-lt"/>
          <a:ea typeface="+mn-ea"/>
          <a:cs typeface="+mn-cs"/>
        </a:defRPr>
      </a:lvl1pPr>
      <a:lvl2pPr marL="597469" algn="l" defTabSz="597469" rtl="0" eaLnBrk="1" latinLnBrk="0" hangingPunct="1">
        <a:defRPr sz="2352" kern="1200">
          <a:solidFill>
            <a:schemeClr val="tx1"/>
          </a:solidFill>
          <a:latin typeface="+mn-lt"/>
          <a:ea typeface="+mn-ea"/>
          <a:cs typeface="+mn-cs"/>
        </a:defRPr>
      </a:lvl2pPr>
      <a:lvl3pPr marL="1194938" algn="l" defTabSz="597469" rtl="0" eaLnBrk="1" latinLnBrk="0" hangingPunct="1">
        <a:defRPr sz="2352" kern="1200">
          <a:solidFill>
            <a:schemeClr val="tx1"/>
          </a:solidFill>
          <a:latin typeface="+mn-lt"/>
          <a:ea typeface="+mn-ea"/>
          <a:cs typeface="+mn-cs"/>
        </a:defRPr>
      </a:lvl3pPr>
      <a:lvl4pPr marL="1792407" algn="l" defTabSz="597469" rtl="0" eaLnBrk="1" latinLnBrk="0" hangingPunct="1">
        <a:defRPr sz="2352" kern="1200">
          <a:solidFill>
            <a:schemeClr val="tx1"/>
          </a:solidFill>
          <a:latin typeface="+mn-lt"/>
          <a:ea typeface="+mn-ea"/>
          <a:cs typeface="+mn-cs"/>
        </a:defRPr>
      </a:lvl4pPr>
      <a:lvl5pPr marL="2389876" algn="l" defTabSz="597469" rtl="0" eaLnBrk="1" latinLnBrk="0" hangingPunct="1">
        <a:defRPr sz="2352" kern="1200">
          <a:solidFill>
            <a:schemeClr val="tx1"/>
          </a:solidFill>
          <a:latin typeface="+mn-lt"/>
          <a:ea typeface="+mn-ea"/>
          <a:cs typeface="+mn-cs"/>
        </a:defRPr>
      </a:lvl5pPr>
      <a:lvl6pPr marL="2987345" algn="l" defTabSz="597469" rtl="0" eaLnBrk="1" latinLnBrk="0" hangingPunct="1">
        <a:defRPr sz="2352" kern="1200">
          <a:solidFill>
            <a:schemeClr val="tx1"/>
          </a:solidFill>
          <a:latin typeface="+mn-lt"/>
          <a:ea typeface="+mn-ea"/>
          <a:cs typeface="+mn-cs"/>
        </a:defRPr>
      </a:lvl6pPr>
      <a:lvl7pPr marL="3584814" algn="l" defTabSz="597469" rtl="0" eaLnBrk="1" latinLnBrk="0" hangingPunct="1">
        <a:defRPr sz="2352" kern="1200">
          <a:solidFill>
            <a:schemeClr val="tx1"/>
          </a:solidFill>
          <a:latin typeface="+mn-lt"/>
          <a:ea typeface="+mn-ea"/>
          <a:cs typeface="+mn-cs"/>
        </a:defRPr>
      </a:lvl7pPr>
      <a:lvl8pPr marL="4182283" algn="l" defTabSz="597469" rtl="0" eaLnBrk="1" latinLnBrk="0" hangingPunct="1">
        <a:defRPr sz="2352" kern="1200">
          <a:solidFill>
            <a:schemeClr val="tx1"/>
          </a:solidFill>
          <a:latin typeface="+mn-lt"/>
          <a:ea typeface="+mn-ea"/>
          <a:cs typeface="+mn-cs"/>
        </a:defRPr>
      </a:lvl8pPr>
      <a:lvl9pPr marL="4779752" algn="l" defTabSz="597469" rtl="0" eaLnBrk="1" latinLnBrk="0" hangingPunct="1">
        <a:defRPr sz="235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24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1978" y="358979"/>
            <a:ext cx="7338636" cy="102481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-281816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3090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6" y="1855232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3090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-281816" y="4207633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3090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07" tIns="46707" rIns="46707" bIns="46707" numCol="1" anchor="t" anchorCtr="0" compatLnSpc="1">
            <a:prstTxWarp prst="textNoShape">
              <a:avLst/>
            </a:prstTxWarp>
          </a:bodyPr>
          <a:lstStyle/>
          <a:p>
            <a:pPr defTabSz="5930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0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30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16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07" tIns="46707" rIns="46707" bIns="46707" numCol="1" anchor="t" anchorCtr="0" compatLnSpc="1">
            <a:prstTxWarp prst="textNoShape">
              <a:avLst/>
            </a:prstTxWarp>
          </a:bodyPr>
          <a:lstStyle/>
          <a:p>
            <a:pPr defTabSz="5930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0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30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07" tIns="46707" rIns="46707" bIns="46707" numCol="1" anchor="t" anchorCtr="0" compatLnSpc="1">
            <a:prstTxWarp prst="textNoShape">
              <a:avLst/>
            </a:prstTxWarp>
          </a:bodyPr>
          <a:lstStyle/>
          <a:p>
            <a:pPr defTabSz="5930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0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30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9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07" tIns="46707" rIns="46707" bIns="46707" numCol="1" anchor="t" anchorCtr="0" compatLnSpc="1">
            <a:prstTxWarp prst="textNoShape">
              <a:avLst/>
            </a:prstTxWarp>
          </a:bodyPr>
          <a:lstStyle/>
          <a:p>
            <a:pPr defTabSz="5930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0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30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Freeform 28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07" tIns="46707" rIns="46707" bIns="46707" numCol="1" anchor="t" anchorCtr="0" compatLnSpc="1">
            <a:prstTxWarp prst="textNoShape">
              <a:avLst/>
            </a:prstTxWarp>
          </a:bodyPr>
          <a:lstStyle/>
          <a:p>
            <a:pPr defTabSz="5930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30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30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07" tIns="46707" rIns="46707" bIns="46707" numCol="1" anchor="t" anchorCtr="0" compatLnSpc="1">
            <a:prstTxWarp prst="textNoShape">
              <a:avLst/>
            </a:prstTxWarp>
          </a:bodyPr>
          <a:lstStyle/>
          <a:p>
            <a:pPr defTabSz="59309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309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309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07" tIns="46707" rIns="46707" bIns="46707" numCol="1" anchor="t" anchorCtr="0" compatLnSpc="1">
            <a:prstTxWarp prst="textNoShape">
              <a:avLst/>
            </a:prstTxWarp>
          </a:bodyPr>
          <a:lstStyle/>
          <a:p>
            <a:pPr defTabSz="5930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30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30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2" name="TextBox 39"/>
          <p:cNvSpPr txBox="1"/>
          <p:nvPr userDrawn="1"/>
        </p:nvSpPr>
        <p:spPr>
          <a:xfrm>
            <a:off x="9223673" y="6781934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3090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-10960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641" tIns="59322" rIns="118641" bIns="59322" numCol="1" anchor="t" anchorCtr="0" compatLnSpc="1">
            <a:prstTxWarp prst="textNoShape">
              <a:avLst/>
            </a:prstTxWarp>
          </a:bodyPr>
          <a:lstStyle/>
          <a:p>
            <a:pPr defTabSz="5930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-10960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41" tIns="59322" rIns="118641" bIns="59322" numCol="1" anchor="t" anchorCtr="0" compatLnSpc="1">
            <a:prstTxWarp prst="textNoShape">
              <a:avLst/>
            </a:prstTxWarp>
          </a:bodyPr>
          <a:lstStyle/>
          <a:p>
            <a:pPr defTabSz="5930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41" tIns="59322" rIns="118641" bIns="59322" numCol="1" anchor="t" anchorCtr="0" compatLnSpc="1">
            <a:prstTxWarp prst="textNoShape">
              <a:avLst/>
            </a:prstTxWarp>
          </a:bodyPr>
          <a:lstStyle/>
          <a:p>
            <a:pPr defTabSz="5930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195151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41" tIns="59322" rIns="118641" bIns="59322" numCol="1" anchor="t" anchorCtr="0" compatLnSpc="1">
            <a:prstTxWarp prst="textNoShape">
              <a:avLst/>
            </a:prstTxWarp>
          </a:bodyPr>
          <a:lstStyle/>
          <a:p>
            <a:pPr defTabSz="5930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3149540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641" tIns="59322" rIns="118641" bIns="59322" numCol="1" anchor="t" anchorCtr="0" compatLnSpc="1">
            <a:prstTxWarp prst="textNoShape">
              <a:avLst/>
            </a:prstTxWarp>
          </a:bodyPr>
          <a:lstStyle/>
          <a:p>
            <a:pPr defTabSz="5930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3149538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41" tIns="59322" rIns="118641" bIns="59322" numCol="1" anchor="t" anchorCtr="0" compatLnSpc="1">
            <a:prstTxWarp prst="textNoShape">
              <a:avLst/>
            </a:prstTxWarp>
          </a:bodyPr>
          <a:lstStyle/>
          <a:p>
            <a:pPr defTabSz="5930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41" tIns="59322" rIns="118641" bIns="59322" numCol="1" anchor="t" anchorCtr="0" compatLnSpc="1">
            <a:prstTxWarp prst="textNoShape">
              <a:avLst/>
            </a:prstTxWarp>
          </a:bodyPr>
          <a:lstStyle/>
          <a:p>
            <a:pPr defTabSz="5930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511201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41" tIns="59322" rIns="118641" bIns="59322" numCol="1" anchor="t" anchorCtr="0" compatLnSpc="1">
            <a:prstTxWarp prst="textNoShape">
              <a:avLst/>
            </a:prstTxWarp>
          </a:bodyPr>
          <a:lstStyle/>
          <a:p>
            <a:pPr defTabSz="5930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6279959" y="6748315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641" tIns="59322" rIns="118641" bIns="59322" numCol="1" anchor="t" anchorCtr="0" compatLnSpc="1">
            <a:prstTxWarp prst="textNoShape">
              <a:avLst/>
            </a:prstTxWarp>
          </a:bodyPr>
          <a:lstStyle/>
          <a:p>
            <a:pPr defTabSz="5930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41" tIns="59322" rIns="118641" bIns="59322" numCol="1" anchor="t" anchorCtr="0" compatLnSpc="1">
            <a:prstTxWarp prst="textNoShape">
              <a:avLst/>
            </a:prstTxWarp>
          </a:bodyPr>
          <a:lstStyle/>
          <a:p>
            <a:pPr defTabSz="5930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3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41" tIns="59322" rIns="118641" bIns="59322" numCol="1" anchor="t" anchorCtr="0" compatLnSpc="1">
            <a:prstTxWarp prst="textNoShape">
              <a:avLst/>
            </a:prstTxWarp>
          </a:bodyPr>
          <a:lstStyle/>
          <a:p>
            <a:pPr defTabSz="5930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" name="Freeform 5"/>
          <p:cNvSpPr>
            <a:spLocks/>
          </p:cNvSpPr>
          <p:nvPr userDrawn="1"/>
        </p:nvSpPr>
        <p:spPr bwMode="auto">
          <a:xfrm>
            <a:off x="8242436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41" tIns="59322" rIns="118641" bIns="59322" numCol="1" anchor="t" anchorCtr="0" compatLnSpc="1">
            <a:prstTxWarp prst="textNoShape">
              <a:avLst/>
            </a:prstTxWarp>
          </a:bodyPr>
          <a:lstStyle/>
          <a:p>
            <a:pPr defTabSz="5930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5842370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547" r:id="rId1"/>
    <p:sldLayoutId id="2147486548" r:id="rId2"/>
    <p:sldLayoutId id="2147486549" r:id="rId3"/>
    <p:sldLayoutId id="2147486550" r:id="rId4"/>
    <p:sldLayoutId id="2147486551" r:id="rId5"/>
    <p:sldLayoutId id="2147486552" r:id="rId6"/>
    <p:sldLayoutId id="2147486553" r:id="rId7"/>
    <p:sldLayoutId id="2147486554" r:id="rId8"/>
    <p:sldLayoutId id="2147486555" r:id="rId9"/>
  </p:sldLayoutIdLst>
  <p:hf sldNum="0" hdr="0" ftr="0" dt="0"/>
  <p:txStyles>
    <p:titleStyle>
      <a:lvl1pPr algn="l" defTabSz="593090" rtl="0" eaLnBrk="1" latinLnBrk="0" hangingPunct="1">
        <a:lnSpc>
          <a:spcPts val="5487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A037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8894" indent="-238894" algn="l" defTabSz="593090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3663" indent="-228591" algn="l" defTabSz="593090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3663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2257" indent="-228591" algn="l" defTabSz="593090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2257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0855" indent="-228591" algn="l" defTabSz="593090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0855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59436" indent="-228591" algn="l" defTabSz="593090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59436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62116" indent="-296540" algn="l" defTabSz="593090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55224" indent="-296540" algn="l" defTabSz="593090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48335" indent="-296540" algn="l" defTabSz="593090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41447" indent="-296540" algn="l" defTabSz="593090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30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3090" algn="l" defTabSz="5930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6222" algn="l" defTabSz="5930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79341" algn="l" defTabSz="5930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2451" algn="l" defTabSz="5930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65563" algn="l" defTabSz="5930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58667" algn="l" defTabSz="5930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51781" algn="l" defTabSz="5930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44896" algn="l" defTabSz="5930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24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1978" y="358979"/>
            <a:ext cx="7338636" cy="102481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-281816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3090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6" y="1855232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3090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-281816" y="4207633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3090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07" tIns="46707" rIns="46707" bIns="46707" numCol="1" anchor="t" anchorCtr="0" compatLnSpc="1">
            <a:prstTxWarp prst="textNoShape">
              <a:avLst/>
            </a:prstTxWarp>
          </a:bodyPr>
          <a:lstStyle/>
          <a:p>
            <a:pPr defTabSz="5930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0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30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16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07" tIns="46707" rIns="46707" bIns="46707" numCol="1" anchor="t" anchorCtr="0" compatLnSpc="1">
            <a:prstTxWarp prst="textNoShape">
              <a:avLst/>
            </a:prstTxWarp>
          </a:bodyPr>
          <a:lstStyle/>
          <a:p>
            <a:pPr defTabSz="5930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0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30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07" tIns="46707" rIns="46707" bIns="46707" numCol="1" anchor="t" anchorCtr="0" compatLnSpc="1">
            <a:prstTxWarp prst="textNoShape">
              <a:avLst/>
            </a:prstTxWarp>
          </a:bodyPr>
          <a:lstStyle/>
          <a:p>
            <a:pPr defTabSz="5930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0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30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9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07" tIns="46707" rIns="46707" bIns="46707" numCol="1" anchor="t" anchorCtr="0" compatLnSpc="1">
            <a:prstTxWarp prst="textNoShape">
              <a:avLst/>
            </a:prstTxWarp>
          </a:bodyPr>
          <a:lstStyle/>
          <a:p>
            <a:pPr defTabSz="5930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0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30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Freeform 28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07" tIns="46707" rIns="46707" bIns="46707" numCol="1" anchor="t" anchorCtr="0" compatLnSpc="1">
            <a:prstTxWarp prst="textNoShape">
              <a:avLst/>
            </a:prstTxWarp>
          </a:bodyPr>
          <a:lstStyle/>
          <a:p>
            <a:pPr defTabSz="5930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30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30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07" tIns="46707" rIns="46707" bIns="46707" numCol="1" anchor="t" anchorCtr="0" compatLnSpc="1">
            <a:prstTxWarp prst="textNoShape">
              <a:avLst/>
            </a:prstTxWarp>
          </a:bodyPr>
          <a:lstStyle/>
          <a:p>
            <a:pPr defTabSz="59309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309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309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07" tIns="46707" rIns="46707" bIns="46707" numCol="1" anchor="t" anchorCtr="0" compatLnSpc="1">
            <a:prstTxWarp prst="textNoShape">
              <a:avLst/>
            </a:prstTxWarp>
          </a:bodyPr>
          <a:lstStyle/>
          <a:p>
            <a:pPr defTabSz="5930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30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30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2" name="TextBox 39"/>
          <p:cNvSpPr txBox="1"/>
          <p:nvPr userDrawn="1"/>
        </p:nvSpPr>
        <p:spPr>
          <a:xfrm>
            <a:off x="9223673" y="6781934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3090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-10960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641" tIns="59322" rIns="118641" bIns="59322" numCol="1" anchor="t" anchorCtr="0" compatLnSpc="1">
            <a:prstTxWarp prst="textNoShape">
              <a:avLst/>
            </a:prstTxWarp>
          </a:bodyPr>
          <a:lstStyle/>
          <a:p>
            <a:pPr defTabSz="5930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-10960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41" tIns="59322" rIns="118641" bIns="59322" numCol="1" anchor="t" anchorCtr="0" compatLnSpc="1">
            <a:prstTxWarp prst="textNoShape">
              <a:avLst/>
            </a:prstTxWarp>
          </a:bodyPr>
          <a:lstStyle/>
          <a:p>
            <a:pPr defTabSz="5930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41" tIns="59322" rIns="118641" bIns="59322" numCol="1" anchor="t" anchorCtr="0" compatLnSpc="1">
            <a:prstTxWarp prst="textNoShape">
              <a:avLst/>
            </a:prstTxWarp>
          </a:bodyPr>
          <a:lstStyle/>
          <a:p>
            <a:pPr defTabSz="5930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195151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41" tIns="59322" rIns="118641" bIns="59322" numCol="1" anchor="t" anchorCtr="0" compatLnSpc="1">
            <a:prstTxWarp prst="textNoShape">
              <a:avLst/>
            </a:prstTxWarp>
          </a:bodyPr>
          <a:lstStyle/>
          <a:p>
            <a:pPr defTabSz="5930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3149540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641" tIns="59322" rIns="118641" bIns="59322" numCol="1" anchor="t" anchorCtr="0" compatLnSpc="1">
            <a:prstTxWarp prst="textNoShape">
              <a:avLst/>
            </a:prstTxWarp>
          </a:bodyPr>
          <a:lstStyle/>
          <a:p>
            <a:pPr defTabSz="5930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3149538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41" tIns="59322" rIns="118641" bIns="59322" numCol="1" anchor="t" anchorCtr="0" compatLnSpc="1">
            <a:prstTxWarp prst="textNoShape">
              <a:avLst/>
            </a:prstTxWarp>
          </a:bodyPr>
          <a:lstStyle/>
          <a:p>
            <a:pPr defTabSz="5930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41" tIns="59322" rIns="118641" bIns="59322" numCol="1" anchor="t" anchorCtr="0" compatLnSpc="1">
            <a:prstTxWarp prst="textNoShape">
              <a:avLst/>
            </a:prstTxWarp>
          </a:bodyPr>
          <a:lstStyle/>
          <a:p>
            <a:pPr defTabSz="5930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511201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41" tIns="59322" rIns="118641" bIns="59322" numCol="1" anchor="t" anchorCtr="0" compatLnSpc="1">
            <a:prstTxWarp prst="textNoShape">
              <a:avLst/>
            </a:prstTxWarp>
          </a:bodyPr>
          <a:lstStyle/>
          <a:p>
            <a:pPr defTabSz="5930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6279959" y="6748315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641" tIns="59322" rIns="118641" bIns="59322" numCol="1" anchor="t" anchorCtr="0" compatLnSpc="1">
            <a:prstTxWarp prst="textNoShape">
              <a:avLst/>
            </a:prstTxWarp>
          </a:bodyPr>
          <a:lstStyle/>
          <a:p>
            <a:pPr defTabSz="5930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41" tIns="59322" rIns="118641" bIns="59322" numCol="1" anchor="t" anchorCtr="0" compatLnSpc="1">
            <a:prstTxWarp prst="textNoShape">
              <a:avLst/>
            </a:prstTxWarp>
          </a:bodyPr>
          <a:lstStyle/>
          <a:p>
            <a:pPr defTabSz="5930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3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41" tIns="59322" rIns="118641" bIns="59322" numCol="1" anchor="t" anchorCtr="0" compatLnSpc="1">
            <a:prstTxWarp prst="textNoShape">
              <a:avLst/>
            </a:prstTxWarp>
          </a:bodyPr>
          <a:lstStyle/>
          <a:p>
            <a:pPr defTabSz="5930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" name="Freeform 5"/>
          <p:cNvSpPr>
            <a:spLocks/>
          </p:cNvSpPr>
          <p:nvPr userDrawn="1"/>
        </p:nvSpPr>
        <p:spPr bwMode="auto">
          <a:xfrm>
            <a:off x="8242436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41" tIns="59322" rIns="118641" bIns="59322" numCol="1" anchor="t" anchorCtr="0" compatLnSpc="1">
            <a:prstTxWarp prst="textNoShape">
              <a:avLst/>
            </a:prstTxWarp>
          </a:bodyPr>
          <a:lstStyle/>
          <a:p>
            <a:pPr defTabSz="5930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79720040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558" r:id="rId1"/>
    <p:sldLayoutId id="2147486559" r:id="rId2"/>
    <p:sldLayoutId id="2147486560" r:id="rId3"/>
    <p:sldLayoutId id="2147486561" r:id="rId4"/>
    <p:sldLayoutId id="2147486562" r:id="rId5"/>
    <p:sldLayoutId id="2147486563" r:id="rId6"/>
    <p:sldLayoutId id="2147486564" r:id="rId7"/>
    <p:sldLayoutId id="2147486565" r:id="rId8"/>
    <p:sldLayoutId id="2147486567" r:id="rId9"/>
  </p:sldLayoutIdLst>
  <p:hf sldNum="0" hdr="0" ftr="0" dt="0"/>
  <p:txStyles>
    <p:titleStyle>
      <a:lvl1pPr algn="l" defTabSz="593090" rtl="0" eaLnBrk="1" latinLnBrk="0" hangingPunct="1">
        <a:lnSpc>
          <a:spcPts val="5487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A037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8894" indent="-238894" algn="l" defTabSz="593090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3663" indent="-228591" algn="l" defTabSz="593090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3663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2257" indent="-228591" algn="l" defTabSz="593090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2257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0855" indent="-228591" algn="l" defTabSz="593090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0855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59436" indent="-228591" algn="l" defTabSz="593090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59436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62116" indent="-296540" algn="l" defTabSz="593090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55224" indent="-296540" algn="l" defTabSz="593090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48335" indent="-296540" algn="l" defTabSz="593090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41447" indent="-296540" algn="l" defTabSz="593090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30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3090" algn="l" defTabSz="5930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6222" algn="l" defTabSz="5930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79341" algn="l" defTabSz="5930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2451" algn="l" defTabSz="5930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65563" algn="l" defTabSz="5930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58667" algn="l" defTabSz="5930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51781" algn="l" defTabSz="5930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44896" algn="l" defTabSz="5930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24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1978" y="358979"/>
            <a:ext cx="7338636" cy="102481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-281816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3090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6" y="1855232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3090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-281816" y="4207633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3090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07" tIns="46707" rIns="46707" bIns="46707" numCol="1" anchor="t" anchorCtr="0" compatLnSpc="1">
            <a:prstTxWarp prst="textNoShape">
              <a:avLst/>
            </a:prstTxWarp>
          </a:bodyPr>
          <a:lstStyle/>
          <a:p>
            <a:pPr defTabSz="5930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0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30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16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07" tIns="46707" rIns="46707" bIns="46707" numCol="1" anchor="t" anchorCtr="0" compatLnSpc="1">
            <a:prstTxWarp prst="textNoShape">
              <a:avLst/>
            </a:prstTxWarp>
          </a:bodyPr>
          <a:lstStyle/>
          <a:p>
            <a:pPr defTabSz="5930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0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30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07" tIns="46707" rIns="46707" bIns="46707" numCol="1" anchor="t" anchorCtr="0" compatLnSpc="1">
            <a:prstTxWarp prst="textNoShape">
              <a:avLst/>
            </a:prstTxWarp>
          </a:bodyPr>
          <a:lstStyle/>
          <a:p>
            <a:pPr defTabSz="5930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0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30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9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07" tIns="46707" rIns="46707" bIns="46707" numCol="1" anchor="t" anchorCtr="0" compatLnSpc="1">
            <a:prstTxWarp prst="textNoShape">
              <a:avLst/>
            </a:prstTxWarp>
          </a:bodyPr>
          <a:lstStyle/>
          <a:p>
            <a:pPr defTabSz="5930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0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30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Freeform 28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07" tIns="46707" rIns="46707" bIns="46707" numCol="1" anchor="t" anchorCtr="0" compatLnSpc="1">
            <a:prstTxWarp prst="textNoShape">
              <a:avLst/>
            </a:prstTxWarp>
          </a:bodyPr>
          <a:lstStyle/>
          <a:p>
            <a:pPr defTabSz="5930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30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30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07" tIns="46707" rIns="46707" bIns="46707" numCol="1" anchor="t" anchorCtr="0" compatLnSpc="1">
            <a:prstTxWarp prst="textNoShape">
              <a:avLst/>
            </a:prstTxWarp>
          </a:bodyPr>
          <a:lstStyle/>
          <a:p>
            <a:pPr defTabSz="59309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309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309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07" tIns="46707" rIns="46707" bIns="46707" numCol="1" anchor="t" anchorCtr="0" compatLnSpc="1">
            <a:prstTxWarp prst="textNoShape">
              <a:avLst/>
            </a:prstTxWarp>
          </a:bodyPr>
          <a:lstStyle/>
          <a:p>
            <a:pPr defTabSz="5930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30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30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2" name="TextBox 39"/>
          <p:cNvSpPr txBox="1"/>
          <p:nvPr userDrawn="1"/>
        </p:nvSpPr>
        <p:spPr>
          <a:xfrm>
            <a:off x="9223673" y="6781934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3090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-10960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641" tIns="59322" rIns="118641" bIns="59322" numCol="1" anchor="t" anchorCtr="0" compatLnSpc="1">
            <a:prstTxWarp prst="textNoShape">
              <a:avLst/>
            </a:prstTxWarp>
          </a:bodyPr>
          <a:lstStyle/>
          <a:p>
            <a:pPr defTabSz="5930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-10960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41" tIns="59322" rIns="118641" bIns="59322" numCol="1" anchor="t" anchorCtr="0" compatLnSpc="1">
            <a:prstTxWarp prst="textNoShape">
              <a:avLst/>
            </a:prstTxWarp>
          </a:bodyPr>
          <a:lstStyle/>
          <a:p>
            <a:pPr defTabSz="5930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41" tIns="59322" rIns="118641" bIns="59322" numCol="1" anchor="t" anchorCtr="0" compatLnSpc="1">
            <a:prstTxWarp prst="textNoShape">
              <a:avLst/>
            </a:prstTxWarp>
          </a:bodyPr>
          <a:lstStyle/>
          <a:p>
            <a:pPr defTabSz="5930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195151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41" tIns="59322" rIns="118641" bIns="59322" numCol="1" anchor="t" anchorCtr="0" compatLnSpc="1">
            <a:prstTxWarp prst="textNoShape">
              <a:avLst/>
            </a:prstTxWarp>
          </a:bodyPr>
          <a:lstStyle/>
          <a:p>
            <a:pPr defTabSz="5930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3149540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641" tIns="59322" rIns="118641" bIns="59322" numCol="1" anchor="t" anchorCtr="0" compatLnSpc="1">
            <a:prstTxWarp prst="textNoShape">
              <a:avLst/>
            </a:prstTxWarp>
          </a:bodyPr>
          <a:lstStyle/>
          <a:p>
            <a:pPr defTabSz="5930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3149538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41" tIns="59322" rIns="118641" bIns="59322" numCol="1" anchor="t" anchorCtr="0" compatLnSpc="1">
            <a:prstTxWarp prst="textNoShape">
              <a:avLst/>
            </a:prstTxWarp>
          </a:bodyPr>
          <a:lstStyle/>
          <a:p>
            <a:pPr defTabSz="5930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41" tIns="59322" rIns="118641" bIns="59322" numCol="1" anchor="t" anchorCtr="0" compatLnSpc="1">
            <a:prstTxWarp prst="textNoShape">
              <a:avLst/>
            </a:prstTxWarp>
          </a:bodyPr>
          <a:lstStyle/>
          <a:p>
            <a:pPr defTabSz="5930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511201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41" tIns="59322" rIns="118641" bIns="59322" numCol="1" anchor="t" anchorCtr="0" compatLnSpc="1">
            <a:prstTxWarp prst="textNoShape">
              <a:avLst/>
            </a:prstTxWarp>
          </a:bodyPr>
          <a:lstStyle/>
          <a:p>
            <a:pPr defTabSz="5930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6279959" y="6748315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641" tIns="59322" rIns="118641" bIns="59322" numCol="1" anchor="t" anchorCtr="0" compatLnSpc="1">
            <a:prstTxWarp prst="textNoShape">
              <a:avLst/>
            </a:prstTxWarp>
          </a:bodyPr>
          <a:lstStyle/>
          <a:p>
            <a:pPr defTabSz="5930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41" tIns="59322" rIns="118641" bIns="59322" numCol="1" anchor="t" anchorCtr="0" compatLnSpc="1">
            <a:prstTxWarp prst="textNoShape">
              <a:avLst/>
            </a:prstTxWarp>
          </a:bodyPr>
          <a:lstStyle/>
          <a:p>
            <a:pPr defTabSz="5930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3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41" tIns="59322" rIns="118641" bIns="59322" numCol="1" anchor="t" anchorCtr="0" compatLnSpc="1">
            <a:prstTxWarp prst="textNoShape">
              <a:avLst/>
            </a:prstTxWarp>
          </a:bodyPr>
          <a:lstStyle/>
          <a:p>
            <a:pPr defTabSz="5930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" name="Freeform 5"/>
          <p:cNvSpPr>
            <a:spLocks/>
          </p:cNvSpPr>
          <p:nvPr userDrawn="1"/>
        </p:nvSpPr>
        <p:spPr bwMode="auto">
          <a:xfrm>
            <a:off x="8242436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41" tIns="59322" rIns="118641" bIns="59322" numCol="1" anchor="t" anchorCtr="0" compatLnSpc="1">
            <a:prstTxWarp prst="textNoShape">
              <a:avLst/>
            </a:prstTxWarp>
          </a:bodyPr>
          <a:lstStyle/>
          <a:p>
            <a:pPr defTabSz="5930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6317896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569" r:id="rId1"/>
    <p:sldLayoutId id="2147486570" r:id="rId2"/>
    <p:sldLayoutId id="2147486571" r:id="rId3"/>
    <p:sldLayoutId id="2147486572" r:id="rId4"/>
    <p:sldLayoutId id="2147486573" r:id="rId5"/>
    <p:sldLayoutId id="2147486574" r:id="rId6"/>
    <p:sldLayoutId id="2147486575" r:id="rId7"/>
    <p:sldLayoutId id="2147486576" r:id="rId8"/>
    <p:sldLayoutId id="2147486577" r:id="rId9"/>
    <p:sldLayoutId id="2147486578" r:id="rId10"/>
  </p:sldLayoutIdLst>
  <p:hf sldNum="0" hdr="0" ftr="0" dt="0"/>
  <p:txStyles>
    <p:titleStyle>
      <a:lvl1pPr algn="l" defTabSz="593090" rtl="0" eaLnBrk="1" latinLnBrk="0" hangingPunct="1">
        <a:lnSpc>
          <a:spcPts val="5487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A037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8894" indent="-238894" algn="l" defTabSz="593090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3663" indent="-228591" algn="l" defTabSz="593090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3663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2257" indent="-228591" algn="l" defTabSz="593090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2257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0855" indent="-228591" algn="l" defTabSz="593090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0855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59436" indent="-228591" algn="l" defTabSz="593090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59436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62116" indent="-296540" algn="l" defTabSz="593090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55224" indent="-296540" algn="l" defTabSz="593090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48335" indent="-296540" algn="l" defTabSz="593090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41447" indent="-296540" algn="l" defTabSz="593090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30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3090" algn="l" defTabSz="5930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6222" algn="l" defTabSz="5930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79341" algn="l" defTabSz="5930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2451" algn="l" defTabSz="5930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65563" algn="l" defTabSz="5930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58667" algn="l" defTabSz="5930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51781" algn="l" defTabSz="5930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44896" algn="l" defTabSz="5930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2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82" y="1854670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2020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81813" y="1855192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69" tIns="46869" rIns="46869" bIns="46869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69" tIns="46869" rIns="46869" bIns="46869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69" tIns="46869" rIns="46869" bIns="46869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69" tIns="46869" rIns="46869" bIns="46869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69" tIns="46869" rIns="46869" bIns="46869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69" tIns="46869" rIns="46869" bIns="46869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519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519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69" tIns="46869" rIns="46869" bIns="46869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9223673" y="6781894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5190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051" tIns="59524" rIns="119051" bIns="59524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51" tIns="59524" rIns="119051" bIns="59524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51" tIns="59524" rIns="119051" bIns="59524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51" tIns="59524" rIns="119051" bIns="59524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051" tIns="59524" rIns="119051" bIns="59524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51" tIns="59524" rIns="119051" bIns="59524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51" tIns="59524" rIns="119051" bIns="59524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51" tIns="59524" rIns="119051" bIns="59524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051" tIns="59524" rIns="119051" bIns="59524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51" tIns="59524" rIns="119051" bIns="59524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51" tIns="59524" rIns="119051" bIns="59524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51" tIns="59524" rIns="119051" bIns="59524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9525695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23" r:id="rId1"/>
    <p:sldLayoutId id="2147483924" r:id="rId2"/>
    <p:sldLayoutId id="2147483925" r:id="rId3"/>
    <p:sldLayoutId id="2147483926" r:id="rId4"/>
  </p:sldLayoutIdLst>
  <p:hf sldNum="0" hdr="0" ftr="0" dt="0"/>
  <p:txStyles>
    <p:titleStyle>
      <a:lvl1pPr algn="l" defTabSz="595190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732" indent="-239732" algn="l" defTabSz="595190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5329" indent="-229398" algn="l" defTabSz="595190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5329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4729" indent="-229398" algn="l" defTabSz="595190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4729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4136" indent="-229398" algn="l" defTabSz="595190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4136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3533" indent="-229398" algn="l" defTabSz="595190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3533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73606" indent="-297593" algn="l" defTabSz="595190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68800" indent="-297593" algn="l" defTabSz="595190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63998" indent="-297593" algn="l" defTabSz="595190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59195" indent="-297593" algn="l" defTabSz="595190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51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5190" algn="l" defTabSz="5951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90402" algn="l" defTabSz="5951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5600" algn="l" defTabSz="5951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80801" algn="l" defTabSz="5951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76008" algn="l" defTabSz="5951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71203" algn="l" defTabSz="5951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66402" algn="l" defTabSz="5951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61600" algn="l" defTabSz="5951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2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82" y="1854660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2008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5800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81813" y="1855179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5800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5800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916" tIns="46916" rIns="46916" bIns="46916" numCol="1" anchor="t" anchorCtr="0" compatLnSpc="1">
            <a:prstTxWarp prst="textNoShape">
              <a:avLst/>
            </a:prstTxWarp>
          </a:bodyPr>
          <a:lstStyle/>
          <a:p>
            <a:pPr defTabSz="59580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580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580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916" tIns="46916" rIns="46916" bIns="46916" numCol="1" anchor="t" anchorCtr="0" compatLnSpc="1">
            <a:prstTxWarp prst="textNoShape">
              <a:avLst/>
            </a:prstTxWarp>
          </a:bodyPr>
          <a:lstStyle/>
          <a:p>
            <a:pPr defTabSz="59580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580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580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916" tIns="46916" rIns="46916" bIns="46916" numCol="1" anchor="t" anchorCtr="0" compatLnSpc="1">
            <a:prstTxWarp prst="textNoShape">
              <a:avLst/>
            </a:prstTxWarp>
          </a:bodyPr>
          <a:lstStyle/>
          <a:p>
            <a:pPr defTabSz="59580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580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580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916" tIns="46916" rIns="46916" bIns="46916" numCol="1" anchor="t" anchorCtr="0" compatLnSpc="1">
            <a:prstTxWarp prst="textNoShape">
              <a:avLst/>
            </a:prstTxWarp>
          </a:bodyPr>
          <a:lstStyle/>
          <a:p>
            <a:pPr defTabSz="59580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580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580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916" tIns="46916" rIns="46916" bIns="46916" numCol="1" anchor="t" anchorCtr="0" compatLnSpc="1">
            <a:prstTxWarp prst="textNoShape">
              <a:avLst/>
            </a:prstTxWarp>
          </a:bodyPr>
          <a:lstStyle/>
          <a:p>
            <a:pPr defTabSz="59580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580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580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916" tIns="46916" rIns="46916" bIns="46916" numCol="1" anchor="t" anchorCtr="0" compatLnSpc="1">
            <a:prstTxWarp prst="textNoShape">
              <a:avLst/>
            </a:prstTxWarp>
          </a:bodyPr>
          <a:lstStyle/>
          <a:p>
            <a:pPr defTabSz="5958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58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58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916" tIns="46916" rIns="46916" bIns="46916" numCol="1" anchor="t" anchorCtr="0" compatLnSpc="1">
            <a:prstTxWarp prst="textNoShape">
              <a:avLst/>
            </a:prstTxWarp>
          </a:bodyPr>
          <a:lstStyle/>
          <a:p>
            <a:pPr defTabSz="59580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580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580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9223673" y="6781882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5800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167" tIns="59583" rIns="119167" bIns="59583" numCol="1" anchor="t" anchorCtr="0" compatLnSpc="1">
            <a:prstTxWarp prst="textNoShape">
              <a:avLst/>
            </a:prstTxWarp>
          </a:bodyPr>
          <a:lstStyle/>
          <a:p>
            <a:pPr defTabSz="59580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167" tIns="59583" rIns="119167" bIns="59583" numCol="1" anchor="t" anchorCtr="0" compatLnSpc="1">
            <a:prstTxWarp prst="textNoShape">
              <a:avLst/>
            </a:prstTxWarp>
          </a:bodyPr>
          <a:lstStyle/>
          <a:p>
            <a:pPr defTabSz="59580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167" tIns="59583" rIns="119167" bIns="59583" numCol="1" anchor="t" anchorCtr="0" compatLnSpc="1">
            <a:prstTxWarp prst="textNoShape">
              <a:avLst/>
            </a:prstTxWarp>
          </a:bodyPr>
          <a:lstStyle/>
          <a:p>
            <a:pPr defTabSz="59580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167" tIns="59583" rIns="119167" bIns="59583" numCol="1" anchor="t" anchorCtr="0" compatLnSpc="1">
            <a:prstTxWarp prst="textNoShape">
              <a:avLst/>
            </a:prstTxWarp>
          </a:bodyPr>
          <a:lstStyle/>
          <a:p>
            <a:pPr defTabSz="59580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167" tIns="59583" rIns="119167" bIns="59583" numCol="1" anchor="t" anchorCtr="0" compatLnSpc="1">
            <a:prstTxWarp prst="textNoShape">
              <a:avLst/>
            </a:prstTxWarp>
          </a:bodyPr>
          <a:lstStyle/>
          <a:p>
            <a:pPr defTabSz="59580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167" tIns="59583" rIns="119167" bIns="59583" numCol="1" anchor="t" anchorCtr="0" compatLnSpc="1">
            <a:prstTxWarp prst="textNoShape">
              <a:avLst/>
            </a:prstTxWarp>
          </a:bodyPr>
          <a:lstStyle/>
          <a:p>
            <a:pPr defTabSz="59580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167" tIns="59583" rIns="119167" bIns="59583" numCol="1" anchor="t" anchorCtr="0" compatLnSpc="1">
            <a:prstTxWarp prst="textNoShape">
              <a:avLst/>
            </a:prstTxWarp>
          </a:bodyPr>
          <a:lstStyle/>
          <a:p>
            <a:pPr defTabSz="59580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167" tIns="59583" rIns="119167" bIns="59583" numCol="1" anchor="t" anchorCtr="0" compatLnSpc="1">
            <a:prstTxWarp prst="textNoShape">
              <a:avLst/>
            </a:prstTxWarp>
          </a:bodyPr>
          <a:lstStyle/>
          <a:p>
            <a:pPr defTabSz="59580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167" tIns="59583" rIns="119167" bIns="59583" numCol="1" anchor="t" anchorCtr="0" compatLnSpc="1">
            <a:prstTxWarp prst="textNoShape">
              <a:avLst/>
            </a:prstTxWarp>
          </a:bodyPr>
          <a:lstStyle/>
          <a:p>
            <a:pPr defTabSz="59580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167" tIns="59583" rIns="119167" bIns="59583" numCol="1" anchor="t" anchorCtr="0" compatLnSpc="1">
            <a:prstTxWarp prst="textNoShape">
              <a:avLst/>
            </a:prstTxWarp>
          </a:bodyPr>
          <a:lstStyle/>
          <a:p>
            <a:pPr defTabSz="59580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167" tIns="59583" rIns="119167" bIns="59583" numCol="1" anchor="t" anchorCtr="0" compatLnSpc="1">
            <a:prstTxWarp prst="textNoShape">
              <a:avLst/>
            </a:prstTxWarp>
          </a:bodyPr>
          <a:lstStyle/>
          <a:p>
            <a:pPr defTabSz="59580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167" tIns="59583" rIns="119167" bIns="59583" numCol="1" anchor="t" anchorCtr="0" compatLnSpc="1">
            <a:prstTxWarp prst="textNoShape">
              <a:avLst/>
            </a:prstTxWarp>
          </a:bodyPr>
          <a:lstStyle/>
          <a:p>
            <a:pPr defTabSz="59580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2826282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39" r:id="rId1"/>
    <p:sldLayoutId id="2147483940" r:id="rId2"/>
    <p:sldLayoutId id="2147483941" r:id="rId3"/>
    <p:sldLayoutId id="2147483942" r:id="rId4"/>
  </p:sldLayoutIdLst>
  <p:hf sldNum="0" hdr="0" ftr="0" dt="0"/>
  <p:txStyles>
    <p:titleStyle>
      <a:lvl1pPr algn="l" defTabSz="595800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975" indent="-239975" algn="l" defTabSz="595800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5813" indent="-229633" algn="l" defTabSz="595800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5813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5448" indent="-229633" algn="l" defTabSz="595800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5448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5089" indent="-229633" algn="l" defTabSz="595800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5089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4722" indent="-229633" algn="l" defTabSz="595800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4722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76942" indent="-297899" algn="l" defTabSz="595800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72745" indent="-297899" algn="l" defTabSz="595800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68546" indent="-297899" algn="l" defTabSz="595800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64352" indent="-297899" algn="l" defTabSz="595800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580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5800" algn="l" defTabSz="59580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91612" algn="l" defTabSz="59580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7423" algn="l" defTabSz="59580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83223" algn="l" defTabSz="59580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79041" algn="l" defTabSz="59580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74845" algn="l" defTabSz="59580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70649" algn="l" defTabSz="59580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66452" algn="l" defTabSz="59580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2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1978" y="358959"/>
            <a:ext cx="7338636" cy="102481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4040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1855213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4040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4040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80" tIns="46780" rIns="46780" bIns="46780" numCol="1" anchor="t" anchorCtr="0" compatLnSpc="1">
            <a:prstTxWarp prst="textNoShape">
              <a:avLst/>
            </a:prstTxWarp>
          </a:bodyPr>
          <a:lstStyle/>
          <a:p>
            <a:pPr defTabSz="59404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404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404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16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80" tIns="46780" rIns="46780" bIns="46780" numCol="1" anchor="t" anchorCtr="0" compatLnSpc="1">
            <a:prstTxWarp prst="textNoShape">
              <a:avLst/>
            </a:prstTxWarp>
          </a:bodyPr>
          <a:lstStyle/>
          <a:p>
            <a:pPr defTabSz="59404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404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404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80" tIns="46780" rIns="46780" bIns="46780" numCol="1" anchor="t" anchorCtr="0" compatLnSpc="1">
            <a:prstTxWarp prst="textNoShape">
              <a:avLst/>
            </a:prstTxWarp>
          </a:bodyPr>
          <a:lstStyle/>
          <a:p>
            <a:pPr defTabSz="59404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404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404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9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80" tIns="46780" rIns="46780" bIns="46780" numCol="1" anchor="t" anchorCtr="0" compatLnSpc="1">
            <a:prstTxWarp prst="textNoShape">
              <a:avLst/>
            </a:prstTxWarp>
          </a:bodyPr>
          <a:lstStyle/>
          <a:p>
            <a:pPr defTabSz="59404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404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404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Freeform 28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80" tIns="46780" rIns="46780" bIns="46780" numCol="1" anchor="t" anchorCtr="0" compatLnSpc="1">
            <a:prstTxWarp prst="textNoShape">
              <a:avLst/>
            </a:prstTxWarp>
          </a:bodyPr>
          <a:lstStyle/>
          <a:p>
            <a:pPr defTabSz="59404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404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404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80" tIns="46780" rIns="46780" bIns="46780" numCol="1" anchor="t" anchorCtr="0" compatLnSpc="1">
            <a:prstTxWarp prst="textNoShape">
              <a:avLst/>
            </a:prstTxWarp>
          </a:bodyPr>
          <a:lstStyle/>
          <a:p>
            <a:pPr defTabSz="59404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404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404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80" tIns="46780" rIns="46780" bIns="46780" numCol="1" anchor="t" anchorCtr="0" compatLnSpc="1">
            <a:prstTxWarp prst="textNoShape">
              <a:avLst/>
            </a:prstTxWarp>
          </a:bodyPr>
          <a:lstStyle/>
          <a:p>
            <a:pPr defTabSz="59404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404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404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2" name="TextBox 39"/>
          <p:cNvSpPr txBox="1"/>
          <p:nvPr userDrawn="1"/>
        </p:nvSpPr>
        <p:spPr>
          <a:xfrm>
            <a:off x="9223673" y="6781915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4040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25" tIns="59413" rIns="118825" bIns="59413" numCol="1" anchor="t" anchorCtr="0" compatLnSpc="1">
            <a:prstTxWarp prst="textNoShape">
              <a:avLst/>
            </a:prstTxWarp>
          </a:bodyPr>
          <a:lstStyle/>
          <a:p>
            <a:pPr defTabSz="59404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25" tIns="59413" rIns="118825" bIns="59413" numCol="1" anchor="t" anchorCtr="0" compatLnSpc="1">
            <a:prstTxWarp prst="textNoShape">
              <a:avLst/>
            </a:prstTxWarp>
          </a:bodyPr>
          <a:lstStyle/>
          <a:p>
            <a:pPr defTabSz="59404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25" tIns="59413" rIns="118825" bIns="59413" numCol="1" anchor="t" anchorCtr="0" compatLnSpc="1">
            <a:prstTxWarp prst="textNoShape">
              <a:avLst/>
            </a:prstTxWarp>
          </a:bodyPr>
          <a:lstStyle/>
          <a:p>
            <a:pPr defTabSz="59404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25" tIns="59413" rIns="118825" bIns="59413" numCol="1" anchor="t" anchorCtr="0" compatLnSpc="1">
            <a:prstTxWarp prst="textNoShape">
              <a:avLst/>
            </a:prstTxWarp>
          </a:bodyPr>
          <a:lstStyle/>
          <a:p>
            <a:pPr defTabSz="59404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25" tIns="59413" rIns="118825" bIns="59413" numCol="1" anchor="t" anchorCtr="0" compatLnSpc="1">
            <a:prstTxWarp prst="textNoShape">
              <a:avLst/>
            </a:prstTxWarp>
          </a:bodyPr>
          <a:lstStyle/>
          <a:p>
            <a:pPr defTabSz="59404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25" tIns="59413" rIns="118825" bIns="59413" numCol="1" anchor="t" anchorCtr="0" compatLnSpc="1">
            <a:prstTxWarp prst="textNoShape">
              <a:avLst/>
            </a:prstTxWarp>
          </a:bodyPr>
          <a:lstStyle/>
          <a:p>
            <a:pPr defTabSz="59404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25" tIns="59413" rIns="118825" bIns="59413" numCol="1" anchor="t" anchorCtr="0" compatLnSpc="1">
            <a:prstTxWarp prst="textNoShape">
              <a:avLst/>
            </a:prstTxWarp>
          </a:bodyPr>
          <a:lstStyle/>
          <a:p>
            <a:pPr defTabSz="59404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25" tIns="59413" rIns="118825" bIns="59413" numCol="1" anchor="t" anchorCtr="0" compatLnSpc="1">
            <a:prstTxWarp prst="textNoShape">
              <a:avLst/>
            </a:prstTxWarp>
          </a:bodyPr>
          <a:lstStyle/>
          <a:p>
            <a:pPr defTabSz="59404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25" tIns="59413" rIns="118825" bIns="59413" numCol="1" anchor="t" anchorCtr="0" compatLnSpc="1">
            <a:prstTxWarp prst="textNoShape">
              <a:avLst/>
            </a:prstTxWarp>
          </a:bodyPr>
          <a:lstStyle/>
          <a:p>
            <a:pPr defTabSz="59404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25" tIns="59413" rIns="118825" bIns="59413" numCol="1" anchor="t" anchorCtr="0" compatLnSpc="1">
            <a:prstTxWarp prst="textNoShape">
              <a:avLst/>
            </a:prstTxWarp>
          </a:bodyPr>
          <a:lstStyle/>
          <a:p>
            <a:pPr defTabSz="59404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3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25" tIns="59413" rIns="118825" bIns="59413" numCol="1" anchor="t" anchorCtr="0" compatLnSpc="1">
            <a:prstTxWarp prst="textNoShape">
              <a:avLst/>
            </a:prstTxWarp>
          </a:bodyPr>
          <a:lstStyle/>
          <a:p>
            <a:pPr defTabSz="59404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25" tIns="59413" rIns="118825" bIns="59413" numCol="1" anchor="t" anchorCtr="0" compatLnSpc="1">
            <a:prstTxWarp prst="textNoShape">
              <a:avLst/>
            </a:prstTxWarp>
          </a:bodyPr>
          <a:lstStyle/>
          <a:p>
            <a:pPr defTabSz="59404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81909995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44" r:id="rId1"/>
    <p:sldLayoutId id="2147483945" r:id="rId2"/>
    <p:sldLayoutId id="2147483946" r:id="rId3"/>
    <p:sldLayoutId id="2147483947" r:id="rId4"/>
    <p:sldLayoutId id="2147483948" r:id="rId5"/>
    <p:sldLayoutId id="2147483949" r:id="rId6"/>
    <p:sldLayoutId id="2147483950" r:id="rId7"/>
    <p:sldLayoutId id="2147483951" r:id="rId8"/>
  </p:sldLayoutIdLst>
  <p:hf sldNum="0" hdr="0" ftr="0" dt="0"/>
  <p:txStyles>
    <p:titleStyle>
      <a:lvl1pPr algn="l" defTabSz="594040" rtl="0" eaLnBrk="1" latinLnBrk="0" hangingPunct="1">
        <a:lnSpc>
          <a:spcPts val="5486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A037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272" indent="-239272" algn="l" defTabSz="594040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4416" indent="-228955" algn="l" defTabSz="594040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4416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3376" indent="-228955" algn="l" defTabSz="594040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3376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2338" indent="-228955" algn="l" defTabSz="594040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2338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1290" indent="-228955" algn="l" defTabSz="594040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1290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67313" indent="-297017" algn="l" defTabSz="594040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61365" indent="-297017" algn="l" defTabSz="594040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55416" indent="-297017" algn="l" defTabSz="594040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49477" indent="-297017" algn="l" defTabSz="594040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40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4040" algn="l" defTabSz="5940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8114" algn="l" defTabSz="5940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2173" algn="l" defTabSz="5940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6223" algn="l" defTabSz="5940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70287" algn="l" defTabSz="5940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64339" algn="l" defTabSz="5940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58392" algn="l" defTabSz="5940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52450" algn="l" defTabSz="5940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2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82" y="1854687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2038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81813" y="1855207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01" tIns="46801" rIns="46801" bIns="46801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01" tIns="46801" rIns="46801" bIns="46801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01" tIns="46801" rIns="46801" bIns="46801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01" tIns="46801" rIns="46801" bIns="46801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01" tIns="46801" rIns="46801" bIns="46801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01" tIns="46801" rIns="46801" bIns="46801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01" tIns="46801" rIns="46801" bIns="46801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9223673" y="6781910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4313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77" tIns="59439" rIns="118877" bIns="59439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77" tIns="59439" rIns="118877" bIns="59439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77" tIns="59439" rIns="118877" bIns="59439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77" tIns="59439" rIns="118877" bIns="59439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77" tIns="59439" rIns="118877" bIns="59439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77" tIns="59439" rIns="118877" bIns="59439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77" tIns="59439" rIns="118877" bIns="59439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77" tIns="59439" rIns="118877" bIns="59439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77" tIns="59439" rIns="118877" bIns="59439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77" tIns="59439" rIns="118877" bIns="59439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77" tIns="59439" rIns="118877" bIns="59439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77" tIns="59439" rIns="118877" bIns="59439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6853635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53" r:id="rId1"/>
    <p:sldLayoutId id="2147483954" r:id="rId2"/>
    <p:sldLayoutId id="2147483955" r:id="rId3"/>
    <p:sldLayoutId id="2147483956" r:id="rId4"/>
  </p:sldLayoutIdLst>
  <p:hf sldNum="0" hdr="0" ftr="0" dt="0"/>
  <p:txStyles>
    <p:titleStyle>
      <a:lvl1pPr algn="l" defTabSz="594313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381" indent="-239381" algn="l" defTabSz="59431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4630" indent="-229061" algn="l" defTabSz="59431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4630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3695" indent="-229061" algn="l" defTabSz="59431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3695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2760" indent="-229061" algn="l" defTabSz="59431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2760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1817" indent="-229061" algn="l" defTabSz="59431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1817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68792" indent="-297154" algn="l" defTabSz="59431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63112" indent="-297154" algn="l" defTabSz="59431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57433" indent="-297154" algn="l" defTabSz="59431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51760" indent="-297154" algn="l" defTabSz="59431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431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4313" algn="l" defTabSz="59431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8653" algn="l" defTabSz="59431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2980" algn="l" defTabSz="59431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7300" algn="l" defTabSz="59431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71633" algn="l" defTabSz="59431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65953" algn="l" defTabSz="59431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60277" algn="l" defTabSz="59431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54599" algn="l" defTabSz="59431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2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1147843663"/>
              </p:ext>
            </p:extLst>
          </p:nvPr>
        </p:nvGraphicFramePr>
        <p:xfrm>
          <a:off x="1589" y="1589"/>
          <a:ext cx="158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39964" name="Slide do think-cell" r:id="rId8" imgW="0" imgH="0" progId="TCLayout.ActiveDocument.1">
                  <p:embed/>
                </p:oleObj>
              </mc:Choice>
              <mc:Fallback>
                <p:oleObj name="Slide do think-cell" r:id="rId8" imgW="0" imgH="0" progId="TCLayout.ActiveDocument.1">
                  <p:embed/>
                  <p:pic>
                    <p:nvPicPr>
                      <p:cNvPr id="0" name="AutoShape 57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9"/>
                        <a:ext cx="158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82" y="1854648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1998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6411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81813" y="1855167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6411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6411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963" tIns="46963" rIns="46963" bIns="46963" numCol="1" anchor="t" anchorCtr="0" compatLnSpc="1">
            <a:prstTxWarp prst="textNoShape">
              <a:avLst/>
            </a:prstTxWarp>
          </a:bodyPr>
          <a:lstStyle/>
          <a:p>
            <a:pPr defTabSz="596411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6411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6411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963" tIns="46963" rIns="46963" bIns="46963" numCol="1" anchor="t" anchorCtr="0" compatLnSpc="1">
            <a:prstTxWarp prst="textNoShape">
              <a:avLst/>
            </a:prstTxWarp>
          </a:bodyPr>
          <a:lstStyle/>
          <a:p>
            <a:pPr defTabSz="596411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6411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6411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963" tIns="46963" rIns="46963" bIns="46963" numCol="1" anchor="t" anchorCtr="0" compatLnSpc="1">
            <a:prstTxWarp prst="textNoShape">
              <a:avLst/>
            </a:prstTxWarp>
          </a:bodyPr>
          <a:lstStyle/>
          <a:p>
            <a:pPr defTabSz="596411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6411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6411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963" tIns="46963" rIns="46963" bIns="46963" numCol="1" anchor="t" anchorCtr="0" compatLnSpc="1">
            <a:prstTxWarp prst="textNoShape">
              <a:avLst/>
            </a:prstTxWarp>
          </a:bodyPr>
          <a:lstStyle/>
          <a:p>
            <a:pPr defTabSz="596411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6411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6411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963" tIns="46963" rIns="46963" bIns="46963" numCol="1" anchor="t" anchorCtr="0" compatLnSpc="1">
            <a:prstTxWarp prst="textNoShape">
              <a:avLst/>
            </a:prstTxWarp>
          </a:bodyPr>
          <a:lstStyle/>
          <a:p>
            <a:pPr defTabSz="596411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6411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6411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963" tIns="46963" rIns="46963" bIns="46963" numCol="1" anchor="t" anchorCtr="0" compatLnSpc="1">
            <a:prstTxWarp prst="textNoShape">
              <a:avLst/>
            </a:prstTxWarp>
          </a:bodyPr>
          <a:lstStyle/>
          <a:p>
            <a:pPr defTabSz="596411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6411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6411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963" tIns="46963" rIns="46963" bIns="46963" numCol="1" anchor="t" anchorCtr="0" compatLnSpc="1">
            <a:prstTxWarp prst="textNoShape">
              <a:avLst/>
            </a:prstTxWarp>
          </a:bodyPr>
          <a:lstStyle/>
          <a:p>
            <a:pPr defTabSz="596411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6411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6411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9223673" y="6781869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6411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289" tIns="59643" rIns="119289" bIns="59643" numCol="1" anchor="t" anchorCtr="0" compatLnSpc="1">
            <a:prstTxWarp prst="textNoShape">
              <a:avLst/>
            </a:prstTxWarp>
          </a:bodyPr>
          <a:lstStyle/>
          <a:p>
            <a:pPr defTabSz="596411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289" tIns="59643" rIns="119289" bIns="59643" numCol="1" anchor="t" anchorCtr="0" compatLnSpc="1">
            <a:prstTxWarp prst="textNoShape">
              <a:avLst/>
            </a:prstTxWarp>
          </a:bodyPr>
          <a:lstStyle/>
          <a:p>
            <a:pPr defTabSz="596411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289" tIns="59643" rIns="119289" bIns="59643" numCol="1" anchor="t" anchorCtr="0" compatLnSpc="1">
            <a:prstTxWarp prst="textNoShape">
              <a:avLst/>
            </a:prstTxWarp>
          </a:bodyPr>
          <a:lstStyle/>
          <a:p>
            <a:pPr defTabSz="596411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289" tIns="59643" rIns="119289" bIns="59643" numCol="1" anchor="t" anchorCtr="0" compatLnSpc="1">
            <a:prstTxWarp prst="textNoShape">
              <a:avLst/>
            </a:prstTxWarp>
          </a:bodyPr>
          <a:lstStyle/>
          <a:p>
            <a:pPr defTabSz="596411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289" tIns="59643" rIns="119289" bIns="59643" numCol="1" anchor="t" anchorCtr="0" compatLnSpc="1">
            <a:prstTxWarp prst="textNoShape">
              <a:avLst/>
            </a:prstTxWarp>
          </a:bodyPr>
          <a:lstStyle/>
          <a:p>
            <a:pPr defTabSz="596411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289" tIns="59643" rIns="119289" bIns="59643" numCol="1" anchor="t" anchorCtr="0" compatLnSpc="1">
            <a:prstTxWarp prst="textNoShape">
              <a:avLst/>
            </a:prstTxWarp>
          </a:bodyPr>
          <a:lstStyle/>
          <a:p>
            <a:pPr defTabSz="596411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289" tIns="59643" rIns="119289" bIns="59643" numCol="1" anchor="t" anchorCtr="0" compatLnSpc="1">
            <a:prstTxWarp prst="textNoShape">
              <a:avLst/>
            </a:prstTxWarp>
          </a:bodyPr>
          <a:lstStyle/>
          <a:p>
            <a:pPr defTabSz="596411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289" tIns="59643" rIns="119289" bIns="59643" numCol="1" anchor="t" anchorCtr="0" compatLnSpc="1">
            <a:prstTxWarp prst="textNoShape">
              <a:avLst/>
            </a:prstTxWarp>
          </a:bodyPr>
          <a:lstStyle/>
          <a:p>
            <a:pPr defTabSz="596411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289" tIns="59643" rIns="119289" bIns="59643" numCol="1" anchor="t" anchorCtr="0" compatLnSpc="1">
            <a:prstTxWarp prst="textNoShape">
              <a:avLst/>
            </a:prstTxWarp>
          </a:bodyPr>
          <a:lstStyle/>
          <a:p>
            <a:pPr defTabSz="596411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289" tIns="59643" rIns="119289" bIns="59643" numCol="1" anchor="t" anchorCtr="0" compatLnSpc="1">
            <a:prstTxWarp prst="textNoShape">
              <a:avLst/>
            </a:prstTxWarp>
          </a:bodyPr>
          <a:lstStyle/>
          <a:p>
            <a:pPr defTabSz="596411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289" tIns="59643" rIns="119289" bIns="59643" numCol="1" anchor="t" anchorCtr="0" compatLnSpc="1">
            <a:prstTxWarp prst="textNoShape">
              <a:avLst/>
            </a:prstTxWarp>
          </a:bodyPr>
          <a:lstStyle/>
          <a:p>
            <a:pPr defTabSz="596411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289" tIns="59643" rIns="119289" bIns="59643" numCol="1" anchor="t" anchorCtr="0" compatLnSpc="1">
            <a:prstTxWarp prst="textNoShape">
              <a:avLst/>
            </a:prstTxWarp>
          </a:bodyPr>
          <a:lstStyle/>
          <a:p>
            <a:pPr defTabSz="596411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13492493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59" r:id="rId1"/>
    <p:sldLayoutId id="2147483960" r:id="rId2"/>
    <p:sldLayoutId id="2147483961" r:id="rId3"/>
    <p:sldLayoutId id="2147483962" r:id="rId4"/>
  </p:sldLayoutIdLst>
  <p:hf sldNum="0" hdr="0" ftr="0" dt="0"/>
  <p:txStyles>
    <p:titleStyle>
      <a:lvl1pPr algn="l" defTabSz="596411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40220" indent="-240220" algn="l" defTabSz="596411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6300" indent="-229867" algn="l" defTabSz="596411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6300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6167" indent="-229867" algn="l" defTabSz="596411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6167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6041" indent="-229867" algn="l" defTabSz="596411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6041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5908" indent="-229867" algn="l" defTabSz="596411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5908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80281" indent="-298205" algn="l" defTabSz="596411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76693" indent="-298205" algn="l" defTabSz="596411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73103" indent="-298205" algn="l" defTabSz="596411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69515" indent="-298205" algn="l" defTabSz="596411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641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6411" algn="l" defTabSz="59641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92828" algn="l" defTabSz="59641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9245" algn="l" defTabSz="59641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85657" algn="l" defTabSz="59641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82075" algn="l" defTabSz="59641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78488" algn="l" defTabSz="59641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74900" algn="l" defTabSz="59641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71309" algn="l" defTabSz="59641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3746468285"/>
              </p:ext>
            </p:extLst>
          </p:nvPr>
        </p:nvGraphicFramePr>
        <p:xfrm>
          <a:off x="1" y="2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98890" name="Slide do think-cell" r:id="rId12" imgW="0" imgH="0" progId="TCLayout.ActiveDocument.1">
                  <p:embed/>
                </p:oleObj>
              </mc:Choice>
              <mc:Fallback>
                <p:oleObj name="Slide do think-cell" r:id="rId12" imgW="0" imgH="0" progId="TCLayout.ActiveDocument.1">
                  <p:embed/>
                  <p:pic>
                    <p:nvPicPr>
                      <p:cNvPr id="0" name="AutoShape 81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2"/>
                        <a:ext cx="211676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10776432" y="36518"/>
            <a:ext cx="876339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87123"/>
            <a:endParaRPr lang="pt-BR" sz="8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10519874" y="1932900"/>
            <a:ext cx="267220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10682583" y="4106726"/>
            <a:ext cx="234679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936841" y="1951039"/>
            <a:ext cx="5736421" cy="11060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ext styles</a:t>
            </a:r>
          </a:p>
          <a:p>
            <a:pPr lvl="1"/>
            <a:r>
              <a:rPr lang="pt-BR" noProof="0" smtClean="0"/>
              <a:t>Second level</a:t>
            </a:r>
          </a:p>
          <a:p>
            <a:pPr lvl="2"/>
            <a:r>
              <a:rPr lang="pt-BR" noProof="0" smtClean="0"/>
              <a:t>Third level</a:t>
            </a:r>
          </a:p>
          <a:p>
            <a:pPr lvl="3"/>
            <a:r>
              <a:rPr lang="pt-BR" noProof="0" smtClean="0"/>
              <a:t>Fourth level</a:t>
            </a:r>
          </a:p>
          <a:p>
            <a:pPr lvl="4"/>
            <a:r>
              <a:rPr lang="pt-BR" noProof="0" smtClean="0"/>
              <a:t>Fifth level</a:t>
            </a:r>
            <a:endParaRPr lang="pt-BR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211676" y="230292"/>
            <a:ext cx="10530036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58865" y="26992"/>
            <a:ext cx="886083" cy="2212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pt-BR" sz="1400" smtClean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TRACKER</a:t>
            </a:r>
            <a:endParaRPr lang="pt-BR" sz="1400" dirty="0">
              <a:solidFill>
                <a:srgbClr val="80808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58886" y="621826"/>
            <a:ext cx="11491891" cy="281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pt-BR" sz="1800" smtClean="0">
                <a:solidFill>
                  <a:srgbClr val="D5E7FF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Unit of measure</a:t>
            </a:r>
            <a:endParaRPr lang="pt-BR" sz="1800" dirty="0" smtClean="0">
              <a:solidFill>
                <a:srgbClr val="D5E7FF">
                  <a:lumMod val="75000"/>
                </a:srgbClr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158761" y="6265569"/>
            <a:ext cx="11398753" cy="358776"/>
            <a:chOff x="75" y="3877"/>
            <a:chExt cx="5385" cy="226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877"/>
              <a:ext cx="5385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pt-BR" sz="100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1 Footnote</a:t>
              </a:r>
              <a:endParaRPr lang="pt-BR" sz="1000" dirty="0" smtClean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06"/>
              <a:ext cx="4323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t" anchorCtr="0">
              <a:spAutoFit/>
            </a:bodyPr>
            <a:lstStyle/>
            <a:p>
              <a:pPr marL="604031" indent="-604031" defTabSz="887123">
                <a:tabLst>
                  <a:tab pos="607161" algn="l"/>
                </a:tabLst>
              </a:pPr>
              <a:r>
                <a:rPr lang="pt-BR" sz="1000" dirty="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FONTE: </a:t>
              </a:r>
              <a:r>
                <a:rPr lang="pt-BR" sz="1000" dirty="0" err="1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ource</a:t>
              </a:r>
              <a:endParaRPr lang="pt-BR" sz="1000" dirty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936840" y="1123953"/>
            <a:ext cx="5685618" cy="511174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 hidden="1"/>
            <p:cNvSpPr>
              <a:spLocks noChangeArrowheads="1"/>
            </p:cNvSpPr>
            <p:nvPr/>
          </p:nvSpPr>
          <p:spPr bwMode="auto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pt-BR" b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itle</a:t>
              </a:r>
            </a:p>
            <a:p>
              <a:r>
                <a:rPr lang="pt-BR" smtClean="0">
                  <a:solidFill>
                    <a:srgbClr val="80808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Unit of measure</a:t>
              </a:r>
              <a:endParaRPr lang="pt-BR" dirty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28" name="Group 27"/>
          <p:cNvGrpSpPr/>
          <p:nvPr userDrawn="1"/>
        </p:nvGrpSpPr>
        <p:grpSpPr>
          <a:xfrm>
            <a:off x="11335740" y="60963"/>
            <a:ext cx="613376" cy="655256"/>
            <a:chOff x="5526523" y="2325890"/>
            <a:chExt cx="3423032" cy="3656747"/>
          </a:xfrm>
        </p:grpSpPr>
        <p:sp>
          <p:nvSpPr>
            <p:cNvPr id="29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30" name="Group 29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31" name="Donut 30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2" name="Oval 31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3" name="Oval 32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3898329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0" r:id="rId1"/>
    <p:sldLayoutId id="2147483681" r:id="rId2"/>
    <p:sldLayoutId id="2147483682" r:id="rId3"/>
    <p:sldLayoutId id="2147483683" r:id="rId4"/>
    <p:sldLayoutId id="2147483684" r:id="rId5"/>
    <p:sldLayoutId id="2147483685" r:id="rId6"/>
    <p:sldLayoutId id="2147483686" r:id="rId7"/>
    <p:sldLayoutId id="2147483687" r:id="rId8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defTabSz="887123" rtl="0" eaLnBrk="1" fontAlgn="base" hangingPunct="1">
        <a:spcBef>
          <a:spcPct val="0"/>
        </a:spcBef>
        <a:spcAft>
          <a:spcPct val="0"/>
        </a:spcAft>
        <a:tabLst>
          <a:tab pos="267416" algn="l"/>
        </a:tabLst>
        <a:defRPr lang="en-US" sz="2000" b="1" baseline="0" noProof="0" dirty="0" smtClean="0">
          <a:solidFill>
            <a:schemeClr val="accent4"/>
          </a:solidFill>
          <a:latin typeface="Arial" panose="020B0604020202020204" pitchFamily="34" charset="0"/>
          <a:ea typeface="+mj-ea"/>
          <a:cs typeface="Arial" panose="020B0604020202020204" pitchFamily="34" charset="0"/>
          <a:sym typeface="Arial" panose="020B0604020202020204" pitchFamily="34" charset="0"/>
        </a:defRPr>
      </a:lvl1pPr>
      <a:lvl2pPr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2pPr>
      <a:lvl3pPr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3pPr>
      <a:lvl4pPr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4pPr>
      <a:lvl5pPr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5pPr>
      <a:lvl6pPr marL="453033"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6pPr>
      <a:lvl7pPr marL="906015"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7pPr>
      <a:lvl8pPr marL="1359002"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8pPr>
      <a:lvl9pPr marL="1812015"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87123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400" baseline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1pPr>
      <a:lvl2pPr marL="191923" indent="-191923" algn="l" defTabSz="887123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15000"/>
        <a:buFont typeface="Simplon BP Regular" pitchFamily="2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2pPr>
      <a:lvl3pPr marL="453033" indent="-259508" algn="l" defTabSz="887123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charset="0"/>
        <a:buChar char="–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3pPr>
      <a:lvl4pPr marL="608726" indent="-154184" algn="l" defTabSz="887123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pitchFamily="34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4pPr>
      <a:lvl5pPr marL="742907" indent="-128987" algn="l" defTabSz="887123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89000"/>
        <a:buFont typeface="Arial" charset="0"/>
        <a:buChar char="-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5pPr>
      <a:lvl6pPr marL="742907" indent="-128987" algn="l" defTabSz="88712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2907" indent="-128987" algn="l" defTabSz="88712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2907" indent="-128987" algn="l" defTabSz="88712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2907" indent="-128987" algn="l" defTabSz="88712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3033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06015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59002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12015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65017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18012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71019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24024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4019002018"/>
              </p:ext>
            </p:extLst>
          </p:nvPr>
        </p:nvGraphicFramePr>
        <p:xfrm>
          <a:off x="2077" y="2077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37921" name="Slide do think-cell" r:id="rId13" imgW="0" imgH="0" progId="TCLayout.ActiveDocument.1">
                  <p:embed/>
                </p:oleObj>
              </mc:Choice>
              <mc:Fallback>
                <p:oleObj name="Slide do think-cell" r:id="rId13" imgW="0" imgH="0" progId="TCLayout.ActiveDocument.1">
                  <p:embed/>
                  <p:pic>
                    <p:nvPicPr>
                      <p:cNvPr id="0" name="AutoShape 57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77" y="2077"/>
                        <a:ext cx="2074" cy="20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1978" y="358912"/>
            <a:ext cx="7338636" cy="102481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6545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1855164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6545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973" tIns="46973" rIns="46973" bIns="46973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16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973" tIns="46973" rIns="46973" bIns="46973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973" tIns="46973" rIns="46973" bIns="46973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9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973" tIns="46973" rIns="46973" bIns="46973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Freeform 28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973" tIns="46973" rIns="46973" bIns="46973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973" tIns="46973" rIns="46973" bIns="46973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6545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6545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973" tIns="46973" rIns="46973" bIns="46973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2" name="TextBox 39"/>
          <p:cNvSpPr txBox="1"/>
          <p:nvPr userDrawn="1"/>
        </p:nvSpPr>
        <p:spPr>
          <a:xfrm>
            <a:off x="9223673" y="6781867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6545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313" tIns="59659" rIns="119313" bIns="59659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313" tIns="59659" rIns="119313" bIns="59659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313" tIns="59659" rIns="119313" bIns="59659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313" tIns="59659" rIns="119313" bIns="59659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313" tIns="59659" rIns="119313" bIns="59659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313" tIns="59659" rIns="119313" bIns="59659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313" tIns="59659" rIns="119313" bIns="59659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313" tIns="59659" rIns="119313" bIns="59659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313" tIns="59659" rIns="119313" bIns="59659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313" tIns="59659" rIns="119313" bIns="59659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3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313" tIns="59659" rIns="119313" bIns="59659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313" tIns="59659" rIns="119313" bIns="59659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8549812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64" r:id="rId1"/>
    <p:sldLayoutId id="2147483965" r:id="rId2"/>
    <p:sldLayoutId id="2147483966" r:id="rId3"/>
    <p:sldLayoutId id="2147483967" r:id="rId4"/>
    <p:sldLayoutId id="2147483968" r:id="rId5"/>
    <p:sldLayoutId id="2147483969" r:id="rId6"/>
    <p:sldLayoutId id="2147483970" r:id="rId7"/>
    <p:sldLayoutId id="2147483971" r:id="rId8"/>
    <p:sldLayoutId id="2147483973" r:id="rId9"/>
  </p:sldLayoutIdLst>
  <p:hf sldNum="0" hdr="0" ftr="0" dt="0"/>
  <p:txStyles>
    <p:titleStyle>
      <a:lvl1pPr algn="l" defTabSz="596545" rtl="0" eaLnBrk="1" latinLnBrk="0" hangingPunct="1">
        <a:lnSpc>
          <a:spcPts val="5486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A037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40276" indent="-240276" algn="l" defTabSz="596545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6408" indent="-229919" algn="l" defTabSz="596545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6408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6328" indent="-229919" algn="l" defTabSz="596545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6328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6252" indent="-229919" algn="l" defTabSz="596545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6252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6172" indent="-229919" algn="l" defTabSz="596545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6172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81026" indent="-298274" algn="l" defTabSz="596545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77572" indent="-298274" algn="l" defTabSz="596545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74117" indent="-298274" algn="l" defTabSz="596545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70665" indent="-298274" algn="l" defTabSz="596545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654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6545" algn="l" defTabSz="59654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93099" algn="l" defTabSz="59654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9650" algn="l" defTabSz="59654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86198" algn="l" defTabSz="59654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82751" algn="l" defTabSz="59654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79297" algn="l" defTabSz="59654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75846" algn="l" defTabSz="59654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72390" algn="l" defTabSz="59654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3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82" y="1854729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2080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81813" y="1855249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34" tIns="46634" rIns="46634" bIns="46634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34" tIns="46634" rIns="46634" bIns="46634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34" tIns="46634" rIns="46634" bIns="46634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34" tIns="46634" rIns="46634" bIns="46634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34" tIns="46634" rIns="46634" bIns="46634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34" tIns="46634" rIns="46634" bIns="46634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34" tIns="46634" rIns="46634" bIns="46634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9223673" y="6781953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2149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0573228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77" r:id="rId1"/>
    <p:sldLayoutId id="2147483978" r:id="rId2"/>
    <p:sldLayoutId id="2147483979" r:id="rId3"/>
    <p:sldLayoutId id="2147483980" r:id="rId4"/>
  </p:sldLayoutIdLst>
  <p:hf sldNum="0" hdr="0" ftr="0" dt="0"/>
  <p:txStyles>
    <p:titleStyle>
      <a:lvl1pPr algn="l" defTabSz="592149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8518" indent="-238518" algn="l" defTabSz="59214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2916" indent="-228231" algn="l" defTabSz="59214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2916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1150" indent="-228231" algn="l" defTabSz="59214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1150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29386" indent="-228231" algn="l" defTabSz="59214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29386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57600" indent="-228231" algn="l" defTabSz="59214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57600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56977" indent="-296068" algn="l" defTabSz="592149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49145" indent="-296068" algn="l" defTabSz="592149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41324" indent="-296068" algn="l" defTabSz="592149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33500" indent="-296068" algn="l" defTabSz="592149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2149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4352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76537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68711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60888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53058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45240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37417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3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82" y="1854703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2053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81813" y="1855222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9223673" y="6781924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3568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60670777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82" r:id="rId1"/>
    <p:sldLayoutId id="2147483983" r:id="rId2"/>
    <p:sldLayoutId id="2147483984" r:id="rId3"/>
    <p:sldLayoutId id="2147483985" r:id="rId4"/>
  </p:sldLayoutIdLst>
  <p:hf sldNum="0" hdr="0" ftr="0" dt="0"/>
  <p:txStyles>
    <p:titleStyle>
      <a:lvl1pPr algn="l" defTabSz="593568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086" indent="-239086" algn="l" defTabSz="59356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4041" indent="-228773" algn="l" defTabSz="59356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4041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2818" indent="-228773" algn="l" defTabSz="59356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2818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1601" indent="-228773" algn="l" defTabSz="59356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1601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0369" indent="-228773" algn="l" defTabSz="59356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0369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64727" indent="-296779" algn="l" defTabSz="59356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58307" indent="-296779" algn="l" defTabSz="59356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51888" indent="-296779" algn="l" defTabSz="59356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45481" indent="-296779" algn="l" defTabSz="59356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3568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7172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0762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4346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67935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61514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55098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48689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3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1978" y="358972"/>
            <a:ext cx="7338636" cy="102481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1855226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16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9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Freeform 28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2" name="TextBox 39"/>
          <p:cNvSpPr txBox="1"/>
          <p:nvPr userDrawn="1"/>
        </p:nvSpPr>
        <p:spPr>
          <a:xfrm>
            <a:off x="9223673" y="6781928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3363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3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5184378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87" r:id="rId1"/>
    <p:sldLayoutId id="2147483988" r:id="rId2"/>
    <p:sldLayoutId id="2147483989" r:id="rId3"/>
    <p:sldLayoutId id="2147483990" r:id="rId4"/>
    <p:sldLayoutId id="2147483991" r:id="rId5"/>
    <p:sldLayoutId id="2147483992" r:id="rId6"/>
    <p:sldLayoutId id="2147483993" r:id="rId7"/>
    <p:sldLayoutId id="2147483994" r:id="rId8"/>
  </p:sldLayoutIdLst>
  <p:hf sldNum="0" hdr="0" ftr="0" dt="0"/>
  <p:txStyles>
    <p:titleStyle>
      <a:lvl1pPr algn="l" defTabSz="593363" rtl="0" eaLnBrk="1" latinLnBrk="0" hangingPunct="1">
        <a:lnSpc>
          <a:spcPts val="5486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A037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005" indent="-239005" algn="l" defTabSz="59336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3881" indent="-228695" algn="l" defTabSz="59336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3881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2579" indent="-228695" algn="l" defTabSz="59336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2579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1282" indent="-228695" algn="l" defTabSz="59336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1282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59973" indent="-228695" algn="l" defTabSz="59336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59973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63617" indent="-296677" algn="l" defTabSz="59336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56998" indent="-296677" algn="l" defTabSz="59336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50378" indent="-296677" algn="l" defTabSz="59336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43767" indent="-296677" algn="l" defTabSz="59336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3363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6768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0158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3541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66928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60307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53688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47078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3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1978" y="358945"/>
            <a:ext cx="7338636" cy="102481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4854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1855198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4854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43" tIns="46843" rIns="46843" bIns="46843" numCol="1" anchor="t" anchorCtr="0" compatLnSpc="1">
            <a:prstTxWarp prst="textNoShape">
              <a:avLst/>
            </a:prstTxWarp>
          </a:bodyPr>
          <a:lstStyle/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16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43" tIns="46843" rIns="46843" bIns="46843" numCol="1" anchor="t" anchorCtr="0" compatLnSpc="1">
            <a:prstTxWarp prst="textNoShape">
              <a:avLst/>
            </a:prstTxWarp>
          </a:bodyPr>
          <a:lstStyle/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43" tIns="46843" rIns="46843" bIns="46843" numCol="1" anchor="t" anchorCtr="0" compatLnSpc="1">
            <a:prstTxWarp prst="textNoShape">
              <a:avLst/>
            </a:prstTxWarp>
          </a:bodyPr>
          <a:lstStyle/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9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43" tIns="46843" rIns="46843" bIns="46843" numCol="1" anchor="t" anchorCtr="0" compatLnSpc="1">
            <a:prstTxWarp prst="textNoShape">
              <a:avLst/>
            </a:prstTxWarp>
          </a:bodyPr>
          <a:lstStyle/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Freeform 28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43" tIns="46843" rIns="46843" bIns="46843" numCol="1" anchor="t" anchorCtr="0" compatLnSpc="1">
            <a:prstTxWarp prst="textNoShape">
              <a:avLst/>
            </a:prstTxWarp>
          </a:bodyPr>
          <a:lstStyle/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43" tIns="46843" rIns="46843" bIns="46843" numCol="1" anchor="t" anchorCtr="0" compatLnSpc="1">
            <a:prstTxWarp prst="textNoShape">
              <a:avLst/>
            </a:prstTxWarp>
          </a:bodyPr>
          <a:lstStyle/>
          <a:p>
            <a:pPr defTabSz="5948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48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48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43" tIns="46843" rIns="46843" bIns="46843" numCol="1" anchor="t" anchorCtr="0" compatLnSpc="1">
            <a:prstTxWarp prst="textNoShape">
              <a:avLst/>
            </a:prstTxWarp>
          </a:bodyPr>
          <a:lstStyle/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2" name="TextBox 39"/>
          <p:cNvSpPr txBox="1"/>
          <p:nvPr userDrawn="1"/>
        </p:nvSpPr>
        <p:spPr>
          <a:xfrm>
            <a:off x="9223673" y="6781899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4854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983" tIns="59491" rIns="118983" bIns="59491" numCol="1" anchor="t" anchorCtr="0" compatLnSpc="1">
            <a:prstTxWarp prst="textNoShape">
              <a:avLst/>
            </a:prstTxWarp>
          </a:bodyPr>
          <a:lstStyle/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83" tIns="59491" rIns="118983" bIns="59491" numCol="1" anchor="t" anchorCtr="0" compatLnSpc="1">
            <a:prstTxWarp prst="textNoShape">
              <a:avLst/>
            </a:prstTxWarp>
          </a:bodyPr>
          <a:lstStyle/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83" tIns="59491" rIns="118983" bIns="59491" numCol="1" anchor="t" anchorCtr="0" compatLnSpc="1">
            <a:prstTxWarp prst="textNoShape">
              <a:avLst/>
            </a:prstTxWarp>
          </a:bodyPr>
          <a:lstStyle/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83" tIns="59491" rIns="118983" bIns="59491" numCol="1" anchor="t" anchorCtr="0" compatLnSpc="1">
            <a:prstTxWarp prst="textNoShape">
              <a:avLst/>
            </a:prstTxWarp>
          </a:bodyPr>
          <a:lstStyle/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983" tIns="59491" rIns="118983" bIns="59491" numCol="1" anchor="t" anchorCtr="0" compatLnSpc="1">
            <a:prstTxWarp prst="textNoShape">
              <a:avLst/>
            </a:prstTxWarp>
          </a:bodyPr>
          <a:lstStyle/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83" tIns="59491" rIns="118983" bIns="59491" numCol="1" anchor="t" anchorCtr="0" compatLnSpc="1">
            <a:prstTxWarp prst="textNoShape">
              <a:avLst/>
            </a:prstTxWarp>
          </a:bodyPr>
          <a:lstStyle/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83" tIns="59491" rIns="118983" bIns="59491" numCol="1" anchor="t" anchorCtr="0" compatLnSpc="1">
            <a:prstTxWarp prst="textNoShape">
              <a:avLst/>
            </a:prstTxWarp>
          </a:bodyPr>
          <a:lstStyle/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83" tIns="59491" rIns="118983" bIns="59491" numCol="1" anchor="t" anchorCtr="0" compatLnSpc="1">
            <a:prstTxWarp prst="textNoShape">
              <a:avLst/>
            </a:prstTxWarp>
          </a:bodyPr>
          <a:lstStyle/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983" tIns="59491" rIns="118983" bIns="59491" numCol="1" anchor="t" anchorCtr="0" compatLnSpc="1">
            <a:prstTxWarp prst="textNoShape">
              <a:avLst/>
            </a:prstTxWarp>
          </a:bodyPr>
          <a:lstStyle/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83" tIns="59491" rIns="118983" bIns="59491" numCol="1" anchor="t" anchorCtr="0" compatLnSpc="1">
            <a:prstTxWarp prst="textNoShape">
              <a:avLst/>
            </a:prstTxWarp>
          </a:bodyPr>
          <a:lstStyle/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3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83" tIns="59491" rIns="118983" bIns="59491" numCol="1" anchor="t" anchorCtr="0" compatLnSpc="1">
            <a:prstTxWarp prst="textNoShape">
              <a:avLst/>
            </a:prstTxWarp>
          </a:bodyPr>
          <a:lstStyle/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983" tIns="59491" rIns="118983" bIns="59491" numCol="1" anchor="t" anchorCtr="0" compatLnSpc="1">
            <a:prstTxWarp prst="textNoShape">
              <a:avLst/>
            </a:prstTxWarp>
          </a:bodyPr>
          <a:lstStyle/>
          <a:p>
            <a:pPr defTabSz="59485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6105603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98" r:id="rId1"/>
    <p:sldLayoutId id="2147483999" r:id="rId2"/>
    <p:sldLayoutId id="2147484000" r:id="rId3"/>
    <p:sldLayoutId id="2147484001" r:id="rId4"/>
    <p:sldLayoutId id="2147484002" r:id="rId5"/>
    <p:sldLayoutId id="2147484003" r:id="rId6"/>
    <p:sldLayoutId id="2147484004" r:id="rId7"/>
    <p:sldLayoutId id="2147484005" r:id="rId8"/>
  </p:sldLayoutIdLst>
  <p:hf sldNum="0" hdr="0" ftr="0" dt="0"/>
  <p:txStyles>
    <p:titleStyle>
      <a:lvl1pPr algn="l" defTabSz="594854" rtl="0" eaLnBrk="1" latinLnBrk="0" hangingPunct="1">
        <a:lnSpc>
          <a:spcPts val="5486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A037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598" indent="-239598" algn="l" defTabSz="5948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5061" indent="-229267" algn="l" defTabSz="5948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5061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4332" indent="-229267" algn="l" defTabSz="5948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4332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3607" indent="-229267" algn="l" defTabSz="5948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3607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2874" indent="-229267" algn="l" defTabSz="59485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2874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71756" indent="-297422" algn="l" defTabSz="594854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66612" indent="-297422" algn="l" defTabSz="594854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61470" indent="-297422" algn="l" defTabSz="594854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56334" indent="-297422" algn="l" defTabSz="594854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48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4854" algn="l" defTabSz="5948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9729" algn="l" defTabSz="5948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4592" algn="l" defTabSz="5948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9452" algn="l" defTabSz="5948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74325" algn="l" defTabSz="5948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69183" algn="l" defTabSz="5948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64043" algn="l" defTabSz="5948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58906" algn="l" defTabSz="5948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3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82" y="1854670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2020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81813" y="1855192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69" tIns="46869" rIns="46869" bIns="46869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69" tIns="46869" rIns="46869" bIns="46869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69" tIns="46869" rIns="46869" bIns="46869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69" tIns="46869" rIns="46869" bIns="46869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69" tIns="46869" rIns="46869" bIns="46869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69" tIns="46869" rIns="46869" bIns="46869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519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519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69" tIns="46869" rIns="46869" bIns="46869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9223673" y="6781894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5190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051" tIns="59524" rIns="119051" bIns="59524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51" tIns="59524" rIns="119051" bIns="59524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51" tIns="59524" rIns="119051" bIns="59524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51" tIns="59524" rIns="119051" bIns="59524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051" tIns="59524" rIns="119051" bIns="59524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51" tIns="59524" rIns="119051" bIns="59524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51" tIns="59524" rIns="119051" bIns="59524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51" tIns="59524" rIns="119051" bIns="59524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051" tIns="59524" rIns="119051" bIns="59524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51" tIns="59524" rIns="119051" bIns="59524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51" tIns="59524" rIns="119051" bIns="59524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51" tIns="59524" rIns="119051" bIns="59524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3118123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07" r:id="rId1"/>
    <p:sldLayoutId id="2147484008" r:id="rId2"/>
    <p:sldLayoutId id="2147484009" r:id="rId3"/>
    <p:sldLayoutId id="2147484010" r:id="rId4"/>
  </p:sldLayoutIdLst>
  <p:hf sldNum="0" hdr="0" ftr="0" dt="0"/>
  <p:txStyles>
    <p:titleStyle>
      <a:lvl1pPr algn="l" defTabSz="595190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732" indent="-239732" algn="l" defTabSz="595190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5329" indent="-229398" algn="l" defTabSz="595190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5329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4729" indent="-229398" algn="l" defTabSz="595190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4729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4136" indent="-229398" algn="l" defTabSz="595190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4136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3533" indent="-229398" algn="l" defTabSz="595190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3533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73606" indent="-297593" algn="l" defTabSz="595190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68800" indent="-297593" algn="l" defTabSz="595190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63998" indent="-297593" algn="l" defTabSz="595190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59195" indent="-297593" algn="l" defTabSz="595190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51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5190" algn="l" defTabSz="5951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90402" algn="l" defTabSz="5951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5600" algn="l" defTabSz="5951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80801" algn="l" defTabSz="5951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76008" algn="l" defTabSz="5951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71203" algn="l" defTabSz="5951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66402" algn="l" defTabSz="5951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61600" algn="l" defTabSz="5951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3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1978" y="358959"/>
            <a:ext cx="7338636" cy="102481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4040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1855213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4040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4040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80" tIns="46780" rIns="46780" bIns="46780" numCol="1" anchor="t" anchorCtr="0" compatLnSpc="1">
            <a:prstTxWarp prst="textNoShape">
              <a:avLst/>
            </a:prstTxWarp>
          </a:bodyPr>
          <a:lstStyle/>
          <a:p>
            <a:pPr defTabSz="59404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404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404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16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80" tIns="46780" rIns="46780" bIns="46780" numCol="1" anchor="t" anchorCtr="0" compatLnSpc="1">
            <a:prstTxWarp prst="textNoShape">
              <a:avLst/>
            </a:prstTxWarp>
          </a:bodyPr>
          <a:lstStyle/>
          <a:p>
            <a:pPr defTabSz="59404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404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404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80" tIns="46780" rIns="46780" bIns="46780" numCol="1" anchor="t" anchorCtr="0" compatLnSpc="1">
            <a:prstTxWarp prst="textNoShape">
              <a:avLst/>
            </a:prstTxWarp>
          </a:bodyPr>
          <a:lstStyle/>
          <a:p>
            <a:pPr defTabSz="59404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404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404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9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80" tIns="46780" rIns="46780" bIns="46780" numCol="1" anchor="t" anchorCtr="0" compatLnSpc="1">
            <a:prstTxWarp prst="textNoShape">
              <a:avLst/>
            </a:prstTxWarp>
          </a:bodyPr>
          <a:lstStyle/>
          <a:p>
            <a:pPr defTabSz="59404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404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404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Freeform 28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80" tIns="46780" rIns="46780" bIns="46780" numCol="1" anchor="t" anchorCtr="0" compatLnSpc="1">
            <a:prstTxWarp prst="textNoShape">
              <a:avLst/>
            </a:prstTxWarp>
          </a:bodyPr>
          <a:lstStyle/>
          <a:p>
            <a:pPr defTabSz="59404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404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404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80" tIns="46780" rIns="46780" bIns="46780" numCol="1" anchor="t" anchorCtr="0" compatLnSpc="1">
            <a:prstTxWarp prst="textNoShape">
              <a:avLst/>
            </a:prstTxWarp>
          </a:bodyPr>
          <a:lstStyle/>
          <a:p>
            <a:pPr defTabSz="59404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404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404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80" tIns="46780" rIns="46780" bIns="46780" numCol="1" anchor="t" anchorCtr="0" compatLnSpc="1">
            <a:prstTxWarp prst="textNoShape">
              <a:avLst/>
            </a:prstTxWarp>
          </a:bodyPr>
          <a:lstStyle/>
          <a:p>
            <a:pPr defTabSz="59404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404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404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2" name="TextBox 39"/>
          <p:cNvSpPr txBox="1"/>
          <p:nvPr userDrawn="1"/>
        </p:nvSpPr>
        <p:spPr>
          <a:xfrm>
            <a:off x="9223673" y="6781915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4040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25" tIns="59413" rIns="118825" bIns="59413" numCol="1" anchor="t" anchorCtr="0" compatLnSpc="1">
            <a:prstTxWarp prst="textNoShape">
              <a:avLst/>
            </a:prstTxWarp>
          </a:bodyPr>
          <a:lstStyle/>
          <a:p>
            <a:pPr defTabSz="59404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25" tIns="59413" rIns="118825" bIns="59413" numCol="1" anchor="t" anchorCtr="0" compatLnSpc="1">
            <a:prstTxWarp prst="textNoShape">
              <a:avLst/>
            </a:prstTxWarp>
          </a:bodyPr>
          <a:lstStyle/>
          <a:p>
            <a:pPr defTabSz="59404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25" tIns="59413" rIns="118825" bIns="59413" numCol="1" anchor="t" anchorCtr="0" compatLnSpc="1">
            <a:prstTxWarp prst="textNoShape">
              <a:avLst/>
            </a:prstTxWarp>
          </a:bodyPr>
          <a:lstStyle/>
          <a:p>
            <a:pPr defTabSz="59404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25" tIns="59413" rIns="118825" bIns="59413" numCol="1" anchor="t" anchorCtr="0" compatLnSpc="1">
            <a:prstTxWarp prst="textNoShape">
              <a:avLst/>
            </a:prstTxWarp>
          </a:bodyPr>
          <a:lstStyle/>
          <a:p>
            <a:pPr defTabSz="59404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25" tIns="59413" rIns="118825" bIns="59413" numCol="1" anchor="t" anchorCtr="0" compatLnSpc="1">
            <a:prstTxWarp prst="textNoShape">
              <a:avLst/>
            </a:prstTxWarp>
          </a:bodyPr>
          <a:lstStyle/>
          <a:p>
            <a:pPr defTabSz="59404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25" tIns="59413" rIns="118825" bIns="59413" numCol="1" anchor="t" anchorCtr="0" compatLnSpc="1">
            <a:prstTxWarp prst="textNoShape">
              <a:avLst/>
            </a:prstTxWarp>
          </a:bodyPr>
          <a:lstStyle/>
          <a:p>
            <a:pPr defTabSz="59404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25" tIns="59413" rIns="118825" bIns="59413" numCol="1" anchor="t" anchorCtr="0" compatLnSpc="1">
            <a:prstTxWarp prst="textNoShape">
              <a:avLst/>
            </a:prstTxWarp>
          </a:bodyPr>
          <a:lstStyle/>
          <a:p>
            <a:pPr defTabSz="59404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25" tIns="59413" rIns="118825" bIns="59413" numCol="1" anchor="t" anchorCtr="0" compatLnSpc="1">
            <a:prstTxWarp prst="textNoShape">
              <a:avLst/>
            </a:prstTxWarp>
          </a:bodyPr>
          <a:lstStyle/>
          <a:p>
            <a:pPr defTabSz="59404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25" tIns="59413" rIns="118825" bIns="59413" numCol="1" anchor="t" anchorCtr="0" compatLnSpc="1">
            <a:prstTxWarp prst="textNoShape">
              <a:avLst/>
            </a:prstTxWarp>
          </a:bodyPr>
          <a:lstStyle/>
          <a:p>
            <a:pPr defTabSz="59404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25" tIns="59413" rIns="118825" bIns="59413" numCol="1" anchor="t" anchorCtr="0" compatLnSpc="1">
            <a:prstTxWarp prst="textNoShape">
              <a:avLst/>
            </a:prstTxWarp>
          </a:bodyPr>
          <a:lstStyle/>
          <a:p>
            <a:pPr defTabSz="59404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3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25" tIns="59413" rIns="118825" bIns="59413" numCol="1" anchor="t" anchorCtr="0" compatLnSpc="1">
            <a:prstTxWarp prst="textNoShape">
              <a:avLst/>
            </a:prstTxWarp>
          </a:bodyPr>
          <a:lstStyle/>
          <a:p>
            <a:pPr defTabSz="59404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25" tIns="59413" rIns="118825" bIns="59413" numCol="1" anchor="t" anchorCtr="0" compatLnSpc="1">
            <a:prstTxWarp prst="textNoShape">
              <a:avLst/>
            </a:prstTxWarp>
          </a:bodyPr>
          <a:lstStyle/>
          <a:p>
            <a:pPr defTabSz="59404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8384376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12" r:id="rId1"/>
    <p:sldLayoutId id="2147484013" r:id="rId2"/>
    <p:sldLayoutId id="2147484014" r:id="rId3"/>
    <p:sldLayoutId id="2147484015" r:id="rId4"/>
    <p:sldLayoutId id="2147484016" r:id="rId5"/>
    <p:sldLayoutId id="2147484017" r:id="rId6"/>
    <p:sldLayoutId id="2147484018" r:id="rId7"/>
    <p:sldLayoutId id="2147484019" r:id="rId8"/>
  </p:sldLayoutIdLst>
  <p:hf sldNum="0" hdr="0" ftr="0" dt="0"/>
  <p:txStyles>
    <p:titleStyle>
      <a:lvl1pPr algn="l" defTabSz="594040" rtl="0" eaLnBrk="1" latinLnBrk="0" hangingPunct="1">
        <a:lnSpc>
          <a:spcPts val="5486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A037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272" indent="-239272" algn="l" defTabSz="594040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4416" indent="-228955" algn="l" defTabSz="594040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4416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3376" indent="-228955" algn="l" defTabSz="594040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3376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2338" indent="-228955" algn="l" defTabSz="594040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2338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1290" indent="-228955" algn="l" defTabSz="594040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1290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67313" indent="-297017" algn="l" defTabSz="594040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61365" indent="-297017" algn="l" defTabSz="594040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55416" indent="-297017" algn="l" defTabSz="594040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49477" indent="-297017" algn="l" defTabSz="594040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40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4040" algn="l" defTabSz="5940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8114" algn="l" defTabSz="5940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2173" algn="l" defTabSz="5940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6223" algn="l" defTabSz="5940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70287" algn="l" defTabSz="5940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64339" algn="l" defTabSz="5940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58392" algn="l" defTabSz="5940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52450" algn="l" defTabSz="5940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3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82" y="1854687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2038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81813" y="1855207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01" tIns="46801" rIns="46801" bIns="46801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01" tIns="46801" rIns="46801" bIns="46801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01" tIns="46801" rIns="46801" bIns="46801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01" tIns="46801" rIns="46801" bIns="46801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01" tIns="46801" rIns="46801" bIns="46801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01" tIns="46801" rIns="46801" bIns="46801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01" tIns="46801" rIns="46801" bIns="46801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9223673" y="6781910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4313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77" tIns="59439" rIns="118877" bIns="59439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77" tIns="59439" rIns="118877" bIns="59439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77" tIns="59439" rIns="118877" bIns="59439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77" tIns="59439" rIns="118877" bIns="59439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77" tIns="59439" rIns="118877" bIns="59439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77" tIns="59439" rIns="118877" bIns="59439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77" tIns="59439" rIns="118877" bIns="59439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77" tIns="59439" rIns="118877" bIns="59439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77" tIns="59439" rIns="118877" bIns="59439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77" tIns="59439" rIns="118877" bIns="59439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77" tIns="59439" rIns="118877" bIns="59439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77" tIns="59439" rIns="118877" bIns="59439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9762435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21" r:id="rId1"/>
    <p:sldLayoutId id="2147484022" r:id="rId2"/>
    <p:sldLayoutId id="2147484023" r:id="rId3"/>
    <p:sldLayoutId id="2147484024" r:id="rId4"/>
  </p:sldLayoutIdLst>
  <p:hf sldNum="0" hdr="0" ftr="0" dt="0"/>
  <p:txStyles>
    <p:titleStyle>
      <a:lvl1pPr algn="l" defTabSz="594313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381" indent="-239381" algn="l" defTabSz="59431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4630" indent="-229061" algn="l" defTabSz="59431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4630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3695" indent="-229061" algn="l" defTabSz="59431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3695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2760" indent="-229061" algn="l" defTabSz="59431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2760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1817" indent="-229061" algn="l" defTabSz="59431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1817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68792" indent="-297154" algn="l" defTabSz="59431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63112" indent="-297154" algn="l" defTabSz="59431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57433" indent="-297154" algn="l" defTabSz="59431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51760" indent="-297154" algn="l" defTabSz="59431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431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4313" algn="l" defTabSz="59431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8653" algn="l" defTabSz="59431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2980" algn="l" defTabSz="59431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7300" algn="l" defTabSz="59431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71633" algn="l" defTabSz="59431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65953" algn="l" defTabSz="59431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60277" algn="l" defTabSz="59431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54599" algn="l" defTabSz="59431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3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82" y="1854687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2038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81813" y="1855207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01" tIns="46801" rIns="46801" bIns="46801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01" tIns="46801" rIns="46801" bIns="46801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01" tIns="46801" rIns="46801" bIns="46801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01" tIns="46801" rIns="46801" bIns="46801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01" tIns="46801" rIns="46801" bIns="46801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01" tIns="46801" rIns="46801" bIns="46801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01" tIns="46801" rIns="46801" bIns="46801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9223673" y="6781910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4313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77" tIns="59439" rIns="118877" bIns="59439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77" tIns="59439" rIns="118877" bIns="59439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77" tIns="59439" rIns="118877" bIns="59439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77" tIns="59439" rIns="118877" bIns="59439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77" tIns="59439" rIns="118877" bIns="59439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77" tIns="59439" rIns="118877" bIns="59439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77" tIns="59439" rIns="118877" bIns="59439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77" tIns="59439" rIns="118877" bIns="59439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77" tIns="59439" rIns="118877" bIns="59439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77" tIns="59439" rIns="118877" bIns="59439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77" tIns="59439" rIns="118877" bIns="59439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77" tIns="59439" rIns="118877" bIns="59439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62132033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26" r:id="rId1"/>
    <p:sldLayoutId id="2147484027" r:id="rId2"/>
    <p:sldLayoutId id="2147484028" r:id="rId3"/>
    <p:sldLayoutId id="2147484029" r:id="rId4"/>
  </p:sldLayoutIdLst>
  <p:hf sldNum="0" hdr="0" ftr="0" dt="0"/>
  <p:txStyles>
    <p:titleStyle>
      <a:lvl1pPr algn="l" defTabSz="594313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381" indent="-239381" algn="l" defTabSz="59431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4630" indent="-229061" algn="l" defTabSz="59431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4630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3695" indent="-229061" algn="l" defTabSz="59431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3695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2760" indent="-229061" algn="l" defTabSz="59431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2760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1817" indent="-229061" algn="l" defTabSz="59431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1817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68792" indent="-297154" algn="l" defTabSz="59431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63112" indent="-297154" algn="l" defTabSz="59431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57433" indent="-297154" algn="l" defTabSz="59431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51760" indent="-297154" algn="l" defTabSz="59431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431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4313" algn="l" defTabSz="59431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8653" algn="l" defTabSz="59431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2980" algn="l" defTabSz="59431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7300" algn="l" defTabSz="59431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71633" algn="l" defTabSz="59431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65953" algn="l" defTabSz="59431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60277" algn="l" defTabSz="59431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54599" algn="l" defTabSz="59431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3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1560852333"/>
              </p:ext>
            </p:extLst>
          </p:nvPr>
        </p:nvGraphicFramePr>
        <p:xfrm>
          <a:off x="2077" y="2077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46071" name="Slide do think-cell" r:id="rId15" imgW="0" imgH="0" progId="TCLayout.ActiveDocument.1">
                  <p:embed/>
                </p:oleObj>
              </mc:Choice>
              <mc:Fallback>
                <p:oleObj name="Slide do think-cell" r:id="rId15" imgW="0" imgH="0" progId="TCLayout.ActiveDocument.1">
                  <p:embed/>
                  <p:pic>
                    <p:nvPicPr>
                      <p:cNvPr id="0" name="AutoShape 53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77" y="2077"/>
                        <a:ext cx="2074" cy="20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82" y="1854686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2037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44" name="TextBox 43"/>
          <p:cNvSpPr txBox="1"/>
          <p:nvPr userDrawn="1"/>
        </p:nvSpPr>
        <p:spPr>
          <a:xfrm>
            <a:off x="-281813" y="7363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45" name="TextBox 44"/>
          <p:cNvSpPr txBox="1"/>
          <p:nvPr userDrawn="1"/>
        </p:nvSpPr>
        <p:spPr>
          <a:xfrm>
            <a:off x="-281813" y="1855207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46" name="TextBox 45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47" name="Freeform 5"/>
          <p:cNvSpPr>
            <a:spLocks/>
          </p:cNvSpPr>
          <p:nvPr userDrawn="1"/>
        </p:nvSpPr>
        <p:spPr bwMode="auto">
          <a:xfrm>
            <a:off x="11944818" y="3078502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06" tIns="46806" rIns="46806" bIns="4680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48" name="Freeform 47"/>
          <p:cNvSpPr>
            <a:spLocks/>
          </p:cNvSpPr>
          <p:nvPr userDrawn="1"/>
        </p:nvSpPr>
        <p:spPr bwMode="auto">
          <a:xfrm>
            <a:off x="11944818" y="2513906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06" tIns="46806" rIns="46806" bIns="4680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4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49" name="Freeform 5"/>
          <p:cNvSpPr>
            <a:spLocks/>
          </p:cNvSpPr>
          <p:nvPr userDrawn="1"/>
        </p:nvSpPr>
        <p:spPr bwMode="auto">
          <a:xfrm>
            <a:off x="11944818" y="1949310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06" tIns="46806" rIns="46806" bIns="4680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9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50" name="Freeform 5"/>
          <p:cNvSpPr>
            <a:spLocks/>
          </p:cNvSpPr>
          <p:nvPr userDrawn="1"/>
        </p:nvSpPr>
        <p:spPr bwMode="auto">
          <a:xfrm>
            <a:off x="11944818" y="1384714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06" tIns="46806" rIns="46806" bIns="4680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0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51" name="Freeform 50"/>
          <p:cNvSpPr>
            <a:spLocks/>
          </p:cNvSpPr>
          <p:nvPr userDrawn="1"/>
        </p:nvSpPr>
        <p:spPr bwMode="auto">
          <a:xfrm>
            <a:off x="11944818" y="820118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06" tIns="46806" rIns="46806" bIns="4680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140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52" name="Freeform 5"/>
          <p:cNvSpPr>
            <a:spLocks/>
          </p:cNvSpPr>
          <p:nvPr userDrawn="1"/>
        </p:nvSpPr>
        <p:spPr bwMode="auto">
          <a:xfrm>
            <a:off x="11944818" y="258729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06" tIns="46806" rIns="46806" bIns="4680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437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437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53" name="Freeform 5"/>
          <p:cNvSpPr>
            <a:spLocks/>
          </p:cNvSpPr>
          <p:nvPr userDrawn="1"/>
        </p:nvSpPr>
        <p:spPr bwMode="auto">
          <a:xfrm>
            <a:off x="11944818" y="3643098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06" tIns="46806" rIns="46806" bIns="4680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54" name="Freeform 5"/>
          <p:cNvSpPr>
            <a:spLocks/>
          </p:cNvSpPr>
          <p:nvPr userDrawn="1"/>
        </p:nvSpPr>
        <p:spPr bwMode="auto">
          <a:xfrm>
            <a:off x="11949114" y="4301731"/>
            <a:ext cx="424105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5" name="Freeform 5"/>
          <p:cNvSpPr>
            <a:spLocks/>
          </p:cNvSpPr>
          <p:nvPr userDrawn="1"/>
        </p:nvSpPr>
        <p:spPr bwMode="auto">
          <a:xfrm>
            <a:off x="11949112" y="4493139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6" name="Freeform 5"/>
          <p:cNvSpPr>
            <a:spLocks/>
          </p:cNvSpPr>
          <p:nvPr userDrawn="1"/>
        </p:nvSpPr>
        <p:spPr bwMode="auto">
          <a:xfrm>
            <a:off x="12102362" y="4493138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7" name="Freeform 5"/>
          <p:cNvSpPr>
            <a:spLocks/>
          </p:cNvSpPr>
          <p:nvPr userDrawn="1"/>
        </p:nvSpPr>
        <p:spPr bwMode="auto">
          <a:xfrm>
            <a:off x="12255608" y="4493135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8" name="Freeform 5"/>
          <p:cNvSpPr>
            <a:spLocks/>
          </p:cNvSpPr>
          <p:nvPr userDrawn="1"/>
        </p:nvSpPr>
        <p:spPr bwMode="auto">
          <a:xfrm>
            <a:off x="11949114" y="4775433"/>
            <a:ext cx="424105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9" name="Freeform 5"/>
          <p:cNvSpPr>
            <a:spLocks/>
          </p:cNvSpPr>
          <p:nvPr userDrawn="1"/>
        </p:nvSpPr>
        <p:spPr bwMode="auto">
          <a:xfrm>
            <a:off x="11949112" y="4982131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0" name="Freeform 5"/>
          <p:cNvSpPr>
            <a:spLocks/>
          </p:cNvSpPr>
          <p:nvPr userDrawn="1"/>
        </p:nvSpPr>
        <p:spPr bwMode="auto">
          <a:xfrm>
            <a:off x="12102362" y="4982128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1" name="Freeform 5"/>
          <p:cNvSpPr>
            <a:spLocks/>
          </p:cNvSpPr>
          <p:nvPr userDrawn="1"/>
        </p:nvSpPr>
        <p:spPr bwMode="auto">
          <a:xfrm>
            <a:off x="12255608" y="4982127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2" name="Freeform 5"/>
          <p:cNvSpPr>
            <a:spLocks/>
          </p:cNvSpPr>
          <p:nvPr userDrawn="1"/>
        </p:nvSpPr>
        <p:spPr bwMode="auto">
          <a:xfrm>
            <a:off x="11949114" y="5245930"/>
            <a:ext cx="424105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3" name="Freeform 5"/>
          <p:cNvSpPr>
            <a:spLocks/>
          </p:cNvSpPr>
          <p:nvPr userDrawn="1"/>
        </p:nvSpPr>
        <p:spPr bwMode="auto">
          <a:xfrm>
            <a:off x="11949112" y="5437334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4" name="Freeform 5"/>
          <p:cNvSpPr>
            <a:spLocks/>
          </p:cNvSpPr>
          <p:nvPr userDrawn="1"/>
        </p:nvSpPr>
        <p:spPr bwMode="auto">
          <a:xfrm>
            <a:off x="12102362" y="5437333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5" name="Freeform 5"/>
          <p:cNvSpPr>
            <a:spLocks/>
          </p:cNvSpPr>
          <p:nvPr userDrawn="1"/>
        </p:nvSpPr>
        <p:spPr bwMode="auto">
          <a:xfrm>
            <a:off x="12255608" y="5437333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6" name="TextBox 39"/>
          <p:cNvSpPr txBox="1"/>
          <p:nvPr userDrawn="1"/>
        </p:nvSpPr>
        <p:spPr>
          <a:xfrm>
            <a:off x="11949113" y="5619122"/>
            <a:ext cx="621766" cy="86593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4377" fontAlgn="auto">
              <a:spcBef>
                <a:spcPts val="1045"/>
              </a:spcBef>
              <a:spcAft>
                <a:spcPts val="0"/>
              </a:spcAft>
            </a:pPr>
            <a:r>
              <a:rPr lang="en-US" sz="9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9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9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9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9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9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9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9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9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9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</a:p>
        </p:txBody>
      </p:sp>
      <p:sp>
        <p:nvSpPr>
          <p:cNvPr id="68" name="Freeform 5"/>
          <p:cNvSpPr>
            <a:spLocks/>
          </p:cNvSpPr>
          <p:nvPr userDrawn="1"/>
        </p:nvSpPr>
        <p:spPr bwMode="auto">
          <a:xfrm>
            <a:off x="12411753" y="25872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BD78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9" name="Freeform 5"/>
          <p:cNvSpPr>
            <a:spLocks/>
          </p:cNvSpPr>
          <p:nvPr userDrawn="1"/>
        </p:nvSpPr>
        <p:spPr bwMode="auto">
          <a:xfrm>
            <a:off x="12411753" y="537757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7A23C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0" name="Freeform 5"/>
          <p:cNvSpPr>
            <a:spLocks/>
          </p:cNvSpPr>
          <p:nvPr userDrawn="1"/>
        </p:nvSpPr>
        <p:spPr bwMode="auto">
          <a:xfrm>
            <a:off x="12411753" y="86222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86DB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1" name="Freeform 5"/>
          <p:cNvSpPr>
            <a:spLocks/>
          </p:cNvSpPr>
          <p:nvPr userDrawn="1"/>
        </p:nvSpPr>
        <p:spPr bwMode="auto">
          <a:xfrm>
            <a:off x="12411753" y="113250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B51F7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2" name="Freeform 71"/>
          <p:cNvSpPr>
            <a:spLocks/>
          </p:cNvSpPr>
          <p:nvPr userDrawn="1"/>
        </p:nvSpPr>
        <p:spPr bwMode="auto">
          <a:xfrm>
            <a:off x="12411753" y="144158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95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3" name="Freeform 5"/>
          <p:cNvSpPr>
            <a:spLocks/>
          </p:cNvSpPr>
          <p:nvPr userDrawn="1"/>
        </p:nvSpPr>
        <p:spPr bwMode="auto">
          <a:xfrm>
            <a:off x="12411753" y="171186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CC52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4" name="Freeform 5"/>
          <p:cNvSpPr>
            <a:spLocks/>
          </p:cNvSpPr>
          <p:nvPr userDrawn="1"/>
        </p:nvSpPr>
        <p:spPr bwMode="auto">
          <a:xfrm>
            <a:off x="12411753" y="200887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C8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5" name="Freeform 5"/>
          <p:cNvSpPr>
            <a:spLocks/>
          </p:cNvSpPr>
          <p:nvPr userDrawn="1"/>
        </p:nvSpPr>
        <p:spPr bwMode="auto">
          <a:xfrm>
            <a:off x="12411753" y="227915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CCC6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6" name="Freeform 5"/>
          <p:cNvSpPr>
            <a:spLocks/>
          </p:cNvSpPr>
          <p:nvPr userDrawn="1"/>
        </p:nvSpPr>
        <p:spPr bwMode="auto">
          <a:xfrm>
            <a:off x="12411753" y="256409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69D17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7" name="Freeform 5"/>
          <p:cNvSpPr>
            <a:spLocks/>
          </p:cNvSpPr>
          <p:nvPr userDrawn="1"/>
        </p:nvSpPr>
        <p:spPr bwMode="auto">
          <a:xfrm>
            <a:off x="12411753" y="283437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9E0B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8" name="Freeform 5"/>
          <p:cNvSpPr>
            <a:spLocks/>
          </p:cNvSpPr>
          <p:nvPr userDrawn="1"/>
        </p:nvSpPr>
        <p:spPr bwMode="auto">
          <a:xfrm>
            <a:off x="12411753" y="3155524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E6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9" name="Freeform 5"/>
          <p:cNvSpPr>
            <a:spLocks/>
          </p:cNvSpPr>
          <p:nvPr userDrawn="1"/>
        </p:nvSpPr>
        <p:spPr bwMode="auto">
          <a:xfrm>
            <a:off x="12411753" y="342580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AFC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80" name="Freeform 5"/>
          <p:cNvSpPr>
            <a:spLocks/>
          </p:cNvSpPr>
          <p:nvPr userDrawn="1"/>
        </p:nvSpPr>
        <p:spPr bwMode="auto">
          <a:xfrm>
            <a:off x="12411753" y="3734884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DEDEDE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81" name="Freeform 5"/>
          <p:cNvSpPr>
            <a:spLocks/>
          </p:cNvSpPr>
          <p:nvPr userDrawn="1"/>
        </p:nvSpPr>
        <p:spPr bwMode="auto">
          <a:xfrm>
            <a:off x="12411753" y="400516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9C9C9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34192677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32" r:id="rId1"/>
    <p:sldLayoutId id="2147484033" r:id="rId2"/>
    <p:sldLayoutId id="2147484034" r:id="rId3"/>
    <p:sldLayoutId id="2147484035" r:id="rId4"/>
    <p:sldLayoutId id="2147484036" r:id="rId5"/>
    <p:sldLayoutId id="2147484037" r:id="rId6"/>
    <p:sldLayoutId id="2147484038" r:id="rId7"/>
    <p:sldLayoutId id="2147484039" r:id="rId8"/>
    <p:sldLayoutId id="2147484040" r:id="rId9"/>
    <p:sldLayoutId id="2147484041" r:id="rId10"/>
    <p:sldLayoutId id="2147484042" r:id="rId11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defTabSz="594377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2700" b="0" i="0" kern="1200" noProof="0">
          <a:solidFill>
            <a:srgbClr val="FF7900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407" indent="-239407" algn="l" defTabSz="59437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4684" indent="-229084" algn="l" defTabSz="59437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4684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3774" indent="-229084" algn="l" defTabSz="59437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3774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2866" indent="-229084" algn="l" defTabSz="59437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2866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1950" indent="-229084" algn="l" defTabSz="59437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1950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69165" indent="-297188" algn="l" defTabSz="59437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63549" indent="-297188" algn="l" defTabSz="59437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57936" indent="-297188" algn="l" defTabSz="59437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52331" indent="-297188" algn="l" defTabSz="59437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43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4377" algn="l" defTabSz="5943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8787" algn="l" defTabSz="5943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3180" algn="l" defTabSz="5943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7569" algn="l" defTabSz="5943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71970" algn="l" defTabSz="5943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66357" algn="l" defTabSz="5943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60747" algn="l" defTabSz="5943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55137" algn="l" defTabSz="5943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3746468285"/>
              </p:ext>
            </p:extLst>
          </p:nvPr>
        </p:nvGraphicFramePr>
        <p:xfrm>
          <a:off x="1" y="2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01962" name="Slide do think-cell" r:id="rId12" imgW="0" imgH="0" progId="TCLayout.ActiveDocument.1">
                  <p:embed/>
                </p:oleObj>
              </mc:Choice>
              <mc:Fallback>
                <p:oleObj name="Slide do think-cell" r:id="rId12" imgW="0" imgH="0" progId="TCLayout.ActiveDocument.1">
                  <p:embed/>
                  <p:pic>
                    <p:nvPicPr>
                      <p:cNvPr id="0" name="AutoShape 81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2"/>
                        <a:ext cx="211676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10776432" y="36518"/>
            <a:ext cx="876339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87123"/>
            <a:endParaRPr lang="pt-BR" sz="8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10519874" y="1932900"/>
            <a:ext cx="267220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10682583" y="4106726"/>
            <a:ext cx="234679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936841" y="1951039"/>
            <a:ext cx="5736421" cy="11060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ext styles</a:t>
            </a:r>
          </a:p>
          <a:p>
            <a:pPr lvl="1"/>
            <a:r>
              <a:rPr lang="pt-BR" noProof="0" smtClean="0"/>
              <a:t>Second level</a:t>
            </a:r>
          </a:p>
          <a:p>
            <a:pPr lvl="2"/>
            <a:r>
              <a:rPr lang="pt-BR" noProof="0" smtClean="0"/>
              <a:t>Third level</a:t>
            </a:r>
          </a:p>
          <a:p>
            <a:pPr lvl="3"/>
            <a:r>
              <a:rPr lang="pt-BR" noProof="0" smtClean="0"/>
              <a:t>Fourth level</a:t>
            </a:r>
          </a:p>
          <a:p>
            <a:pPr lvl="4"/>
            <a:r>
              <a:rPr lang="pt-BR" noProof="0" smtClean="0"/>
              <a:t>Fifth level</a:t>
            </a:r>
            <a:endParaRPr lang="pt-BR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211676" y="230292"/>
            <a:ext cx="10530036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58865" y="26992"/>
            <a:ext cx="886083" cy="2212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pt-BR" sz="1400" smtClean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TRACKER</a:t>
            </a:r>
            <a:endParaRPr lang="pt-BR" sz="1400" dirty="0">
              <a:solidFill>
                <a:srgbClr val="80808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58886" y="621826"/>
            <a:ext cx="11491891" cy="281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pt-BR" sz="1800" smtClean="0">
                <a:solidFill>
                  <a:srgbClr val="D5E7FF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Unit of measure</a:t>
            </a:r>
            <a:endParaRPr lang="pt-BR" sz="1800" dirty="0" smtClean="0">
              <a:solidFill>
                <a:srgbClr val="D5E7FF">
                  <a:lumMod val="75000"/>
                </a:srgbClr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158761" y="6265569"/>
            <a:ext cx="11398753" cy="358776"/>
            <a:chOff x="75" y="3877"/>
            <a:chExt cx="5385" cy="226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877"/>
              <a:ext cx="5385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pt-BR" sz="100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1 Footnote</a:t>
              </a:r>
              <a:endParaRPr lang="pt-BR" sz="1000" dirty="0" smtClean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06"/>
              <a:ext cx="4323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t" anchorCtr="0">
              <a:spAutoFit/>
            </a:bodyPr>
            <a:lstStyle/>
            <a:p>
              <a:pPr marL="604031" indent="-604031" defTabSz="887123">
                <a:tabLst>
                  <a:tab pos="607161" algn="l"/>
                </a:tabLst>
              </a:pPr>
              <a:r>
                <a:rPr lang="pt-BR" sz="1000" dirty="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FONTE: </a:t>
              </a:r>
              <a:r>
                <a:rPr lang="pt-BR" sz="1000" dirty="0" err="1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ource</a:t>
              </a:r>
              <a:endParaRPr lang="pt-BR" sz="1000" dirty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936840" y="1123953"/>
            <a:ext cx="5685618" cy="511174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 hidden="1"/>
            <p:cNvSpPr>
              <a:spLocks noChangeArrowheads="1"/>
            </p:cNvSpPr>
            <p:nvPr/>
          </p:nvSpPr>
          <p:spPr bwMode="auto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pt-BR" b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itle</a:t>
              </a:r>
            </a:p>
            <a:p>
              <a:r>
                <a:rPr lang="pt-BR" smtClean="0">
                  <a:solidFill>
                    <a:srgbClr val="80808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Unit of measure</a:t>
              </a:r>
              <a:endParaRPr lang="pt-BR" dirty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28" name="Group 27"/>
          <p:cNvGrpSpPr/>
          <p:nvPr userDrawn="1"/>
        </p:nvGrpSpPr>
        <p:grpSpPr>
          <a:xfrm>
            <a:off x="11335740" y="60963"/>
            <a:ext cx="613376" cy="655256"/>
            <a:chOff x="5526523" y="2325890"/>
            <a:chExt cx="3423032" cy="3656747"/>
          </a:xfrm>
        </p:grpSpPr>
        <p:sp>
          <p:nvSpPr>
            <p:cNvPr id="29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30" name="Group 29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31" name="Donut 30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2" name="Oval 31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3" name="Oval 32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3898329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0" r:id="rId1"/>
    <p:sldLayoutId id="2147483691" r:id="rId2"/>
    <p:sldLayoutId id="2147483692" r:id="rId3"/>
    <p:sldLayoutId id="2147483693" r:id="rId4"/>
    <p:sldLayoutId id="2147483694" r:id="rId5"/>
    <p:sldLayoutId id="2147483695" r:id="rId6"/>
    <p:sldLayoutId id="2147483696" r:id="rId7"/>
    <p:sldLayoutId id="2147483697" r:id="rId8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defTabSz="887123" rtl="0" eaLnBrk="1" fontAlgn="base" hangingPunct="1">
        <a:spcBef>
          <a:spcPct val="0"/>
        </a:spcBef>
        <a:spcAft>
          <a:spcPct val="0"/>
        </a:spcAft>
        <a:tabLst>
          <a:tab pos="267416" algn="l"/>
        </a:tabLst>
        <a:defRPr lang="en-US" sz="2000" b="1" baseline="0" noProof="0" dirty="0" smtClean="0">
          <a:solidFill>
            <a:schemeClr val="accent4"/>
          </a:solidFill>
          <a:latin typeface="Arial" panose="020B0604020202020204" pitchFamily="34" charset="0"/>
          <a:ea typeface="+mj-ea"/>
          <a:cs typeface="Arial" panose="020B0604020202020204" pitchFamily="34" charset="0"/>
          <a:sym typeface="Arial" panose="020B0604020202020204" pitchFamily="34" charset="0"/>
        </a:defRPr>
      </a:lvl1pPr>
      <a:lvl2pPr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2pPr>
      <a:lvl3pPr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3pPr>
      <a:lvl4pPr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4pPr>
      <a:lvl5pPr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5pPr>
      <a:lvl6pPr marL="453033"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6pPr>
      <a:lvl7pPr marL="906015"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7pPr>
      <a:lvl8pPr marL="1359002"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8pPr>
      <a:lvl9pPr marL="1812015"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87123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400" baseline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1pPr>
      <a:lvl2pPr marL="191923" indent="-191923" algn="l" defTabSz="887123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15000"/>
        <a:buFont typeface="Simplon BP Regular" pitchFamily="2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2pPr>
      <a:lvl3pPr marL="453033" indent="-259508" algn="l" defTabSz="887123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charset="0"/>
        <a:buChar char="–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3pPr>
      <a:lvl4pPr marL="608726" indent="-154184" algn="l" defTabSz="887123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pitchFamily="34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4pPr>
      <a:lvl5pPr marL="742907" indent="-128987" algn="l" defTabSz="887123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89000"/>
        <a:buFont typeface="Arial" charset="0"/>
        <a:buChar char="-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5pPr>
      <a:lvl6pPr marL="742907" indent="-128987" algn="l" defTabSz="88712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2907" indent="-128987" algn="l" defTabSz="88712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2907" indent="-128987" algn="l" defTabSz="88712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2907" indent="-128987" algn="l" defTabSz="88712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3033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06015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59002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12015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65017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18012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71019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24024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82" y="1854703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2053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81813" y="1855222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9223673" y="6781924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3568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7849422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49" r:id="rId1"/>
    <p:sldLayoutId id="2147484050" r:id="rId2"/>
    <p:sldLayoutId id="2147484051" r:id="rId3"/>
    <p:sldLayoutId id="2147484052" r:id="rId4"/>
  </p:sldLayoutIdLst>
  <p:hf sldNum="0" hdr="0" ftr="0" dt="0"/>
  <p:txStyles>
    <p:titleStyle>
      <a:lvl1pPr algn="l" defTabSz="593568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086" indent="-239086" algn="l" defTabSz="59356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4041" indent="-228773" algn="l" defTabSz="59356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4041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2818" indent="-228773" algn="l" defTabSz="59356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2818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1601" indent="-228773" algn="l" defTabSz="59356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1601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0369" indent="-228773" algn="l" defTabSz="59356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0369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64727" indent="-296779" algn="l" defTabSz="59356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58307" indent="-296779" algn="l" defTabSz="59356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51888" indent="-296779" algn="l" defTabSz="59356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45481" indent="-296779" algn="l" defTabSz="59356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3568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7172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0762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4346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67935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61514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55098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48689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4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1978" y="358972"/>
            <a:ext cx="7338636" cy="102481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1855226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16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9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Freeform 28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2" name="TextBox 39"/>
          <p:cNvSpPr txBox="1"/>
          <p:nvPr userDrawn="1"/>
        </p:nvSpPr>
        <p:spPr>
          <a:xfrm>
            <a:off x="9223673" y="6781928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3363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3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0236062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54" r:id="rId1"/>
    <p:sldLayoutId id="2147484055" r:id="rId2"/>
    <p:sldLayoutId id="2147484056" r:id="rId3"/>
    <p:sldLayoutId id="2147484057" r:id="rId4"/>
    <p:sldLayoutId id="2147484058" r:id="rId5"/>
    <p:sldLayoutId id="2147484059" r:id="rId6"/>
    <p:sldLayoutId id="2147484060" r:id="rId7"/>
    <p:sldLayoutId id="2147484061" r:id="rId8"/>
  </p:sldLayoutIdLst>
  <p:hf sldNum="0" hdr="0" ftr="0" dt="0"/>
  <p:txStyles>
    <p:titleStyle>
      <a:lvl1pPr algn="l" defTabSz="593363" rtl="0" eaLnBrk="1" latinLnBrk="0" hangingPunct="1">
        <a:lnSpc>
          <a:spcPts val="5486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A037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005" indent="-239005" algn="l" defTabSz="59336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3881" indent="-228695" algn="l" defTabSz="59336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3881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2579" indent="-228695" algn="l" defTabSz="59336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2579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1282" indent="-228695" algn="l" defTabSz="59336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1282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59973" indent="-228695" algn="l" defTabSz="59336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59973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63617" indent="-296677" algn="l" defTabSz="59336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56998" indent="-296677" algn="l" defTabSz="59336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50378" indent="-296677" algn="l" defTabSz="59336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43767" indent="-296677" algn="l" defTabSz="59336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3363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6768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0158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3541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66928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60307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53688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47078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4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82" y="1854687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2038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81813" y="1855207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01" tIns="46801" rIns="46801" bIns="46801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01" tIns="46801" rIns="46801" bIns="46801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01" tIns="46801" rIns="46801" bIns="46801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01" tIns="46801" rIns="46801" bIns="46801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01" tIns="46801" rIns="46801" bIns="46801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01" tIns="46801" rIns="46801" bIns="46801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01" tIns="46801" rIns="46801" bIns="46801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9223673" y="6781910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4313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77" tIns="59439" rIns="118877" bIns="59439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77" tIns="59439" rIns="118877" bIns="59439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77" tIns="59439" rIns="118877" bIns="59439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77" tIns="59439" rIns="118877" bIns="59439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77" tIns="59439" rIns="118877" bIns="59439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77" tIns="59439" rIns="118877" bIns="59439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77" tIns="59439" rIns="118877" bIns="59439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77" tIns="59439" rIns="118877" bIns="59439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77" tIns="59439" rIns="118877" bIns="59439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77" tIns="59439" rIns="118877" bIns="59439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77" tIns="59439" rIns="118877" bIns="59439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77" tIns="59439" rIns="118877" bIns="59439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7595850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64" r:id="rId1"/>
    <p:sldLayoutId id="2147484065" r:id="rId2"/>
    <p:sldLayoutId id="2147484066" r:id="rId3"/>
    <p:sldLayoutId id="2147484067" r:id="rId4"/>
  </p:sldLayoutIdLst>
  <p:hf sldNum="0" hdr="0" ftr="0" dt="0"/>
  <p:txStyles>
    <p:titleStyle>
      <a:lvl1pPr algn="l" defTabSz="594313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381" indent="-239381" algn="l" defTabSz="59431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4630" indent="-229061" algn="l" defTabSz="59431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4630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3695" indent="-229061" algn="l" defTabSz="59431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3695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2760" indent="-229061" algn="l" defTabSz="59431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2760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1817" indent="-229061" algn="l" defTabSz="59431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1817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68792" indent="-297154" algn="l" defTabSz="59431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63112" indent="-297154" algn="l" defTabSz="59431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57433" indent="-297154" algn="l" defTabSz="59431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51760" indent="-297154" algn="l" defTabSz="59431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431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4313" algn="l" defTabSz="59431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8653" algn="l" defTabSz="59431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2980" algn="l" defTabSz="59431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7300" algn="l" defTabSz="59431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71633" algn="l" defTabSz="59431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65953" algn="l" defTabSz="59431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60277" algn="l" defTabSz="59431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54599" algn="l" defTabSz="59431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4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518204086"/>
              </p:ext>
            </p:extLst>
          </p:nvPr>
        </p:nvGraphicFramePr>
        <p:xfrm>
          <a:off x="2077" y="2077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48109" name="Slide do think-cell" r:id="rId15" imgW="0" imgH="0" progId="TCLayout.ActiveDocument.1">
                  <p:embed/>
                </p:oleObj>
              </mc:Choice>
              <mc:Fallback>
                <p:oleObj name="Slide do think-cell" r:id="rId15" imgW="0" imgH="0" progId="TCLayout.ActiveDocument.1">
                  <p:embed/>
                  <p:pic>
                    <p:nvPicPr>
                      <p:cNvPr id="0" name="AutoShape 52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77" y="2077"/>
                        <a:ext cx="2074" cy="20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82" y="1854686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2037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44" name="TextBox 43"/>
          <p:cNvSpPr txBox="1"/>
          <p:nvPr userDrawn="1"/>
        </p:nvSpPr>
        <p:spPr>
          <a:xfrm>
            <a:off x="-281813" y="7363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45" name="TextBox 44"/>
          <p:cNvSpPr txBox="1"/>
          <p:nvPr userDrawn="1"/>
        </p:nvSpPr>
        <p:spPr>
          <a:xfrm>
            <a:off x="-281813" y="1855207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46" name="TextBox 45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47" name="Freeform 5"/>
          <p:cNvSpPr>
            <a:spLocks/>
          </p:cNvSpPr>
          <p:nvPr userDrawn="1"/>
        </p:nvSpPr>
        <p:spPr bwMode="auto">
          <a:xfrm>
            <a:off x="11944818" y="3078502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06" tIns="46806" rIns="46806" bIns="4680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48" name="Freeform 47"/>
          <p:cNvSpPr>
            <a:spLocks/>
          </p:cNvSpPr>
          <p:nvPr userDrawn="1"/>
        </p:nvSpPr>
        <p:spPr bwMode="auto">
          <a:xfrm>
            <a:off x="11944818" y="2513906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06" tIns="46806" rIns="46806" bIns="4680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4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49" name="Freeform 5"/>
          <p:cNvSpPr>
            <a:spLocks/>
          </p:cNvSpPr>
          <p:nvPr userDrawn="1"/>
        </p:nvSpPr>
        <p:spPr bwMode="auto">
          <a:xfrm>
            <a:off x="11944818" y="1949310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06" tIns="46806" rIns="46806" bIns="4680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9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50" name="Freeform 5"/>
          <p:cNvSpPr>
            <a:spLocks/>
          </p:cNvSpPr>
          <p:nvPr userDrawn="1"/>
        </p:nvSpPr>
        <p:spPr bwMode="auto">
          <a:xfrm>
            <a:off x="11944818" y="1384714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06" tIns="46806" rIns="46806" bIns="4680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0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51" name="Freeform 50"/>
          <p:cNvSpPr>
            <a:spLocks/>
          </p:cNvSpPr>
          <p:nvPr userDrawn="1"/>
        </p:nvSpPr>
        <p:spPr bwMode="auto">
          <a:xfrm>
            <a:off x="11944818" y="820118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06" tIns="46806" rIns="46806" bIns="4680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140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52" name="Freeform 5"/>
          <p:cNvSpPr>
            <a:spLocks/>
          </p:cNvSpPr>
          <p:nvPr userDrawn="1"/>
        </p:nvSpPr>
        <p:spPr bwMode="auto">
          <a:xfrm>
            <a:off x="11944818" y="258729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06" tIns="46806" rIns="46806" bIns="4680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437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437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53" name="Freeform 5"/>
          <p:cNvSpPr>
            <a:spLocks/>
          </p:cNvSpPr>
          <p:nvPr userDrawn="1"/>
        </p:nvSpPr>
        <p:spPr bwMode="auto">
          <a:xfrm>
            <a:off x="11944818" y="3643098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06" tIns="46806" rIns="46806" bIns="4680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54" name="Freeform 5"/>
          <p:cNvSpPr>
            <a:spLocks/>
          </p:cNvSpPr>
          <p:nvPr userDrawn="1"/>
        </p:nvSpPr>
        <p:spPr bwMode="auto">
          <a:xfrm>
            <a:off x="11949114" y="4301731"/>
            <a:ext cx="424105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5" name="Freeform 5"/>
          <p:cNvSpPr>
            <a:spLocks/>
          </p:cNvSpPr>
          <p:nvPr userDrawn="1"/>
        </p:nvSpPr>
        <p:spPr bwMode="auto">
          <a:xfrm>
            <a:off x="11949112" y="4493139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6" name="Freeform 5"/>
          <p:cNvSpPr>
            <a:spLocks/>
          </p:cNvSpPr>
          <p:nvPr userDrawn="1"/>
        </p:nvSpPr>
        <p:spPr bwMode="auto">
          <a:xfrm>
            <a:off x="12102362" y="4493138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7" name="Freeform 5"/>
          <p:cNvSpPr>
            <a:spLocks/>
          </p:cNvSpPr>
          <p:nvPr userDrawn="1"/>
        </p:nvSpPr>
        <p:spPr bwMode="auto">
          <a:xfrm>
            <a:off x="12255608" y="4493135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8" name="Freeform 5"/>
          <p:cNvSpPr>
            <a:spLocks/>
          </p:cNvSpPr>
          <p:nvPr userDrawn="1"/>
        </p:nvSpPr>
        <p:spPr bwMode="auto">
          <a:xfrm>
            <a:off x="11949114" y="4775433"/>
            <a:ext cx="424105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9" name="Freeform 5"/>
          <p:cNvSpPr>
            <a:spLocks/>
          </p:cNvSpPr>
          <p:nvPr userDrawn="1"/>
        </p:nvSpPr>
        <p:spPr bwMode="auto">
          <a:xfrm>
            <a:off x="11949112" y="4982131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0" name="Freeform 5"/>
          <p:cNvSpPr>
            <a:spLocks/>
          </p:cNvSpPr>
          <p:nvPr userDrawn="1"/>
        </p:nvSpPr>
        <p:spPr bwMode="auto">
          <a:xfrm>
            <a:off x="12102362" y="4982128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1" name="Freeform 5"/>
          <p:cNvSpPr>
            <a:spLocks/>
          </p:cNvSpPr>
          <p:nvPr userDrawn="1"/>
        </p:nvSpPr>
        <p:spPr bwMode="auto">
          <a:xfrm>
            <a:off x="12255608" y="4982127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2" name="Freeform 5"/>
          <p:cNvSpPr>
            <a:spLocks/>
          </p:cNvSpPr>
          <p:nvPr userDrawn="1"/>
        </p:nvSpPr>
        <p:spPr bwMode="auto">
          <a:xfrm>
            <a:off x="11949114" y="5245930"/>
            <a:ext cx="424105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3" name="Freeform 5"/>
          <p:cNvSpPr>
            <a:spLocks/>
          </p:cNvSpPr>
          <p:nvPr userDrawn="1"/>
        </p:nvSpPr>
        <p:spPr bwMode="auto">
          <a:xfrm>
            <a:off x="11949112" y="5437334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4" name="Freeform 5"/>
          <p:cNvSpPr>
            <a:spLocks/>
          </p:cNvSpPr>
          <p:nvPr userDrawn="1"/>
        </p:nvSpPr>
        <p:spPr bwMode="auto">
          <a:xfrm>
            <a:off x="12102362" y="5437333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5" name="Freeform 5"/>
          <p:cNvSpPr>
            <a:spLocks/>
          </p:cNvSpPr>
          <p:nvPr userDrawn="1"/>
        </p:nvSpPr>
        <p:spPr bwMode="auto">
          <a:xfrm>
            <a:off x="12255608" y="5437333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6" name="TextBox 39"/>
          <p:cNvSpPr txBox="1"/>
          <p:nvPr userDrawn="1"/>
        </p:nvSpPr>
        <p:spPr>
          <a:xfrm>
            <a:off x="11949113" y="5619122"/>
            <a:ext cx="621766" cy="86593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4377" fontAlgn="auto">
              <a:spcBef>
                <a:spcPts val="1045"/>
              </a:spcBef>
              <a:spcAft>
                <a:spcPts val="0"/>
              </a:spcAft>
            </a:pPr>
            <a:r>
              <a:rPr lang="en-US" sz="9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9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9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9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9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9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9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9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9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9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</a:p>
        </p:txBody>
      </p:sp>
      <p:sp>
        <p:nvSpPr>
          <p:cNvPr id="68" name="Freeform 5"/>
          <p:cNvSpPr>
            <a:spLocks/>
          </p:cNvSpPr>
          <p:nvPr userDrawn="1"/>
        </p:nvSpPr>
        <p:spPr bwMode="auto">
          <a:xfrm>
            <a:off x="12411753" y="25872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BD78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9" name="Freeform 5"/>
          <p:cNvSpPr>
            <a:spLocks/>
          </p:cNvSpPr>
          <p:nvPr userDrawn="1"/>
        </p:nvSpPr>
        <p:spPr bwMode="auto">
          <a:xfrm>
            <a:off x="12411753" y="537757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7A23C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0" name="Freeform 5"/>
          <p:cNvSpPr>
            <a:spLocks/>
          </p:cNvSpPr>
          <p:nvPr userDrawn="1"/>
        </p:nvSpPr>
        <p:spPr bwMode="auto">
          <a:xfrm>
            <a:off x="12411753" y="86222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86DB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1" name="Freeform 5"/>
          <p:cNvSpPr>
            <a:spLocks/>
          </p:cNvSpPr>
          <p:nvPr userDrawn="1"/>
        </p:nvSpPr>
        <p:spPr bwMode="auto">
          <a:xfrm>
            <a:off x="12411753" y="113250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B51F7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2" name="Freeform 71"/>
          <p:cNvSpPr>
            <a:spLocks/>
          </p:cNvSpPr>
          <p:nvPr userDrawn="1"/>
        </p:nvSpPr>
        <p:spPr bwMode="auto">
          <a:xfrm>
            <a:off x="12411753" y="144158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95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3" name="Freeform 5"/>
          <p:cNvSpPr>
            <a:spLocks/>
          </p:cNvSpPr>
          <p:nvPr userDrawn="1"/>
        </p:nvSpPr>
        <p:spPr bwMode="auto">
          <a:xfrm>
            <a:off x="12411753" y="171186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CC52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4" name="Freeform 5"/>
          <p:cNvSpPr>
            <a:spLocks/>
          </p:cNvSpPr>
          <p:nvPr userDrawn="1"/>
        </p:nvSpPr>
        <p:spPr bwMode="auto">
          <a:xfrm>
            <a:off x="12411753" y="200887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C8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5" name="Freeform 5"/>
          <p:cNvSpPr>
            <a:spLocks/>
          </p:cNvSpPr>
          <p:nvPr userDrawn="1"/>
        </p:nvSpPr>
        <p:spPr bwMode="auto">
          <a:xfrm>
            <a:off x="12411753" y="227915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CCC6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6" name="Freeform 5"/>
          <p:cNvSpPr>
            <a:spLocks/>
          </p:cNvSpPr>
          <p:nvPr userDrawn="1"/>
        </p:nvSpPr>
        <p:spPr bwMode="auto">
          <a:xfrm>
            <a:off x="12411753" y="256409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69D17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7" name="Freeform 5"/>
          <p:cNvSpPr>
            <a:spLocks/>
          </p:cNvSpPr>
          <p:nvPr userDrawn="1"/>
        </p:nvSpPr>
        <p:spPr bwMode="auto">
          <a:xfrm>
            <a:off x="12411753" y="283437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9E0B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8" name="Freeform 5"/>
          <p:cNvSpPr>
            <a:spLocks/>
          </p:cNvSpPr>
          <p:nvPr userDrawn="1"/>
        </p:nvSpPr>
        <p:spPr bwMode="auto">
          <a:xfrm>
            <a:off x="12411753" y="3155524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E6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9" name="Freeform 5"/>
          <p:cNvSpPr>
            <a:spLocks/>
          </p:cNvSpPr>
          <p:nvPr userDrawn="1"/>
        </p:nvSpPr>
        <p:spPr bwMode="auto">
          <a:xfrm>
            <a:off x="12411753" y="342580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AFC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80" name="Freeform 5"/>
          <p:cNvSpPr>
            <a:spLocks/>
          </p:cNvSpPr>
          <p:nvPr userDrawn="1"/>
        </p:nvSpPr>
        <p:spPr bwMode="auto">
          <a:xfrm>
            <a:off x="12411753" y="3734884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DEDEDE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81" name="Freeform 5"/>
          <p:cNvSpPr>
            <a:spLocks/>
          </p:cNvSpPr>
          <p:nvPr userDrawn="1"/>
        </p:nvSpPr>
        <p:spPr bwMode="auto">
          <a:xfrm>
            <a:off x="12411753" y="400516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9C9C9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0898116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70" r:id="rId1"/>
    <p:sldLayoutId id="2147484071" r:id="rId2"/>
    <p:sldLayoutId id="2147484072" r:id="rId3"/>
    <p:sldLayoutId id="2147484073" r:id="rId4"/>
    <p:sldLayoutId id="2147484074" r:id="rId5"/>
    <p:sldLayoutId id="2147484075" r:id="rId6"/>
    <p:sldLayoutId id="2147484076" r:id="rId7"/>
    <p:sldLayoutId id="2147484077" r:id="rId8"/>
    <p:sldLayoutId id="2147484078" r:id="rId9"/>
    <p:sldLayoutId id="2147484079" r:id="rId10"/>
    <p:sldLayoutId id="2147484080" r:id="rId11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defTabSz="594377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2700" b="0" i="0" kern="1200" noProof="0">
          <a:solidFill>
            <a:srgbClr val="FF7900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407" indent="-239407" algn="l" defTabSz="59437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4684" indent="-229084" algn="l" defTabSz="59437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4684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3774" indent="-229084" algn="l" defTabSz="59437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3774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2866" indent="-229084" algn="l" defTabSz="59437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2866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1950" indent="-229084" algn="l" defTabSz="59437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1950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69165" indent="-297188" algn="l" defTabSz="59437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63549" indent="-297188" algn="l" defTabSz="59437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57936" indent="-297188" algn="l" defTabSz="59437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52331" indent="-297188" algn="l" defTabSz="59437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43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4377" algn="l" defTabSz="5943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8787" algn="l" defTabSz="5943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3180" algn="l" defTabSz="5943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7569" algn="l" defTabSz="5943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71970" algn="l" defTabSz="5943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66357" algn="l" defTabSz="5943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60747" algn="l" defTabSz="5943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55137" algn="l" defTabSz="5943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4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82" y="1854687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2038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81813" y="1855207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01" tIns="46801" rIns="46801" bIns="46801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01" tIns="46801" rIns="46801" bIns="46801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01" tIns="46801" rIns="46801" bIns="46801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01" tIns="46801" rIns="46801" bIns="46801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01" tIns="46801" rIns="46801" bIns="46801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01" tIns="46801" rIns="46801" bIns="46801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01" tIns="46801" rIns="46801" bIns="46801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9223673" y="6781910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4313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77" tIns="59439" rIns="118877" bIns="59439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77" tIns="59439" rIns="118877" bIns="59439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77" tIns="59439" rIns="118877" bIns="59439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77" tIns="59439" rIns="118877" bIns="59439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77" tIns="59439" rIns="118877" bIns="59439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77" tIns="59439" rIns="118877" bIns="59439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77" tIns="59439" rIns="118877" bIns="59439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77" tIns="59439" rIns="118877" bIns="59439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77" tIns="59439" rIns="118877" bIns="59439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77" tIns="59439" rIns="118877" bIns="59439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77" tIns="59439" rIns="118877" bIns="59439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77" tIns="59439" rIns="118877" bIns="59439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5469681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82" r:id="rId1"/>
    <p:sldLayoutId id="2147484083" r:id="rId2"/>
    <p:sldLayoutId id="2147484084" r:id="rId3"/>
    <p:sldLayoutId id="2147484085" r:id="rId4"/>
  </p:sldLayoutIdLst>
  <p:hf sldNum="0" hdr="0" ftr="0" dt="0"/>
  <p:txStyles>
    <p:titleStyle>
      <a:lvl1pPr algn="l" defTabSz="594313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381" indent="-239381" algn="l" defTabSz="59431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4630" indent="-229061" algn="l" defTabSz="59431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4630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3695" indent="-229061" algn="l" defTabSz="59431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3695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2760" indent="-229061" algn="l" defTabSz="59431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2760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1817" indent="-229061" algn="l" defTabSz="59431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1817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68792" indent="-297154" algn="l" defTabSz="59431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63112" indent="-297154" algn="l" defTabSz="59431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57433" indent="-297154" algn="l" defTabSz="59431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51760" indent="-297154" algn="l" defTabSz="59431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431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4313" algn="l" defTabSz="59431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8653" algn="l" defTabSz="59431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2980" algn="l" defTabSz="59431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7300" algn="l" defTabSz="59431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71633" algn="l" defTabSz="59431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65953" algn="l" defTabSz="59431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60277" algn="l" defTabSz="59431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54599" algn="l" defTabSz="59431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4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82" y="1854729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2080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81813" y="1855249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34" tIns="46634" rIns="46634" bIns="46634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34" tIns="46634" rIns="46634" bIns="46634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34" tIns="46634" rIns="46634" bIns="46634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34" tIns="46634" rIns="46634" bIns="46634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34" tIns="46634" rIns="46634" bIns="46634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34" tIns="46634" rIns="46634" bIns="46634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34" tIns="46634" rIns="46634" bIns="46634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9223673" y="6781953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2149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7706870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87" r:id="rId1"/>
    <p:sldLayoutId id="2147484088" r:id="rId2"/>
    <p:sldLayoutId id="2147484089" r:id="rId3"/>
    <p:sldLayoutId id="2147484090" r:id="rId4"/>
  </p:sldLayoutIdLst>
  <p:hf sldNum="0" hdr="0" ftr="0" dt="0"/>
  <p:txStyles>
    <p:titleStyle>
      <a:lvl1pPr algn="l" defTabSz="592149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8518" indent="-238518" algn="l" defTabSz="59214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2916" indent="-228231" algn="l" defTabSz="59214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2916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1150" indent="-228231" algn="l" defTabSz="59214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1150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29386" indent="-228231" algn="l" defTabSz="59214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29386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57600" indent="-228231" algn="l" defTabSz="59214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57600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56977" indent="-296068" algn="l" defTabSz="592149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49145" indent="-296068" algn="l" defTabSz="592149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41324" indent="-296068" algn="l" defTabSz="592149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33500" indent="-296068" algn="l" defTabSz="592149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2149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4352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76537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68711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60888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53058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45240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37417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4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1273577194"/>
              </p:ext>
            </p:extLst>
          </p:nvPr>
        </p:nvGraphicFramePr>
        <p:xfrm>
          <a:off x="1" y="2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50151" name="Slide do think-cell" r:id="rId16" imgW="0" imgH="0" progId="TCLayout.ActiveDocument.1">
                  <p:embed/>
                </p:oleObj>
              </mc:Choice>
              <mc:Fallback>
                <p:oleObj name="Slide do think-cell" r:id="rId16" imgW="0" imgH="0" progId="TCLayout.ActiveDocument.1">
                  <p:embed/>
                  <p:pic>
                    <p:nvPicPr>
                      <p:cNvPr id="0" name="AutoShape 52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2"/>
                        <a:ext cx="211676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10776432" y="36518"/>
            <a:ext cx="876339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87123"/>
            <a:endParaRPr lang="pt-BR" sz="8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10519874" y="1932900"/>
            <a:ext cx="267220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10682583" y="4106726"/>
            <a:ext cx="234679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936841" y="1951039"/>
            <a:ext cx="5736421" cy="11060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ext styles</a:t>
            </a:r>
          </a:p>
          <a:p>
            <a:pPr lvl="1"/>
            <a:r>
              <a:rPr lang="pt-BR" noProof="0" smtClean="0"/>
              <a:t>Second level</a:t>
            </a:r>
          </a:p>
          <a:p>
            <a:pPr lvl="2"/>
            <a:r>
              <a:rPr lang="pt-BR" noProof="0" smtClean="0"/>
              <a:t>Third level</a:t>
            </a:r>
          </a:p>
          <a:p>
            <a:pPr lvl="3"/>
            <a:r>
              <a:rPr lang="pt-BR" noProof="0" smtClean="0"/>
              <a:t>Fourth level</a:t>
            </a:r>
          </a:p>
          <a:p>
            <a:pPr lvl="4"/>
            <a:r>
              <a:rPr lang="pt-BR" noProof="0" smtClean="0"/>
              <a:t>Fifth level</a:t>
            </a:r>
            <a:endParaRPr lang="pt-BR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211676" y="230292"/>
            <a:ext cx="10530036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58865" y="26992"/>
            <a:ext cx="886083" cy="2212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pt-BR" sz="1400" smtClean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TRACKER</a:t>
            </a:r>
            <a:endParaRPr lang="pt-BR" sz="1400" dirty="0">
              <a:solidFill>
                <a:srgbClr val="80808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58886" y="621826"/>
            <a:ext cx="11491891" cy="281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pt-BR" sz="1800" smtClean="0">
                <a:solidFill>
                  <a:srgbClr val="D5E7FF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Unit of measure</a:t>
            </a:r>
            <a:endParaRPr lang="pt-BR" sz="1800" dirty="0" smtClean="0">
              <a:solidFill>
                <a:srgbClr val="D5E7FF">
                  <a:lumMod val="75000"/>
                </a:srgbClr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158761" y="6265569"/>
            <a:ext cx="11398753" cy="358776"/>
            <a:chOff x="75" y="3877"/>
            <a:chExt cx="5385" cy="226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877"/>
              <a:ext cx="5385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pt-BR" sz="100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1 Footnote</a:t>
              </a:r>
              <a:endParaRPr lang="pt-BR" sz="1000" dirty="0" smtClean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06"/>
              <a:ext cx="4323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t" anchorCtr="0">
              <a:spAutoFit/>
            </a:bodyPr>
            <a:lstStyle/>
            <a:p>
              <a:pPr marL="604031" indent="-604031" defTabSz="887123">
                <a:tabLst>
                  <a:tab pos="607161" algn="l"/>
                </a:tabLst>
              </a:pPr>
              <a:r>
                <a:rPr lang="pt-BR" sz="1000" dirty="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FONTE: </a:t>
              </a:r>
              <a:r>
                <a:rPr lang="pt-BR" sz="1000" dirty="0" err="1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ource</a:t>
              </a:r>
              <a:endParaRPr lang="pt-BR" sz="1000" dirty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936840" y="1123953"/>
            <a:ext cx="5685618" cy="511174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 hidden="1"/>
            <p:cNvSpPr>
              <a:spLocks noChangeArrowheads="1"/>
            </p:cNvSpPr>
            <p:nvPr/>
          </p:nvSpPr>
          <p:spPr bwMode="auto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pt-BR" b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itle</a:t>
              </a:r>
            </a:p>
            <a:p>
              <a:r>
                <a:rPr lang="pt-BR" smtClean="0">
                  <a:solidFill>
                    <a:srgbClr val="80808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Unit of measure</a:t>
              </a:r>
              <a:endParaRPr lang="pt-BR" dirty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28" name="Group 27"/>
          <p:cNvGrpSpPr/>
          <p:nvPr userDrawn="1"/>
        </p:nvGrpSpPr>
        <p:grpSpPr>
          <a:xfrm>
            <a:off x="11335740" y="60963"/>
            <a:ext cx="613376" cy="655256"/>
            <a:chOff x="5526523" y="2325890"/>
            <a:chExt cx="3423032" cy="3656747"/>
          </a:xfrm>
        </p:grpSpPr>
        <p:sp>
          <p:nvSpPr>
            <p:cNvPr id="29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30" name="Group 29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31" name="Donut 30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2" name="Oval 31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3" name="Oval 32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9590037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94" r:id="rId1"/>
    <p:sldLayoutId id="2147484095" r:id="rId2"/>
    <p:sldLayoutId id="2147484096" r:id="rId3"/>
    <p:sldLayoutId id="2147484097" r:id="rId4"/>
    <p:sldLayoutId id="2147484098" r:id="rId5"/>
    <p:sldLayoutId id="2147484099" r:id="rId6"/>
    <p:sldLayoutId id="2147484100" r:id="rId7"/>
    <p:sldLayoutId id="2147484101" r:id="rId8"/>
    <p:sldLayoutId id="2147484103" r:id="rId9"/>
    <p:sldLayoutId id="2147484104" r:id="rId10"/>
    <p:sldLayoutId id="2147484105" r:id="rId11"/>
    <p:sldLayoutId id="2147484106" r:id="rId12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defTabSz="887123" rtl="0" eaLnBrk="1" fontAlgn="base" hangingPunct="1">
        <a:spcBef>
          <a:spcPct val="0"/>
        </a:spcBef>
        <a:spcAft>
          <a:spcPct val="0"/>
        </a:spcAft>
        <a:tabLst>
          <a:tab pos="267416" algn="l"/>
        </a:tabLst>
        <a:defRPr lang="en-US" sz="2000" b="1" baseline="0" noProof="0" dirty="0" smtClean="0">
          <a:solidFill>
            <a:schemeClr val="accent4"/>
          </a:solidFill>
          <a:latin typeface="Arial" panose="020B0604020202020204" pitchFamily="34" charset="0"/>
          <a:ea typeface="+mj-ea"/>
          <a:cs typeface="Arial" panose="020B0604020202020204" pitchFamily="34" charset="0"/>
          <a:sym typeface="Arial" panose="020B0604020202020204" pitchFamily="34" charset="0"/>
        </a:defRPr>
      </a:lvl1pPr>
      <a:lvl2pPr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2pPr>
      <a:lvl3pPr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3pPr>
      <a:lvl4pPr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4pPr>
      <a:lvl5pPr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5pPr>
      <a:lvl6pPr marL="453033"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6pPr>
      <a:lvl7pPr marL="906015"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7pPr>
      <a:lvl8pPr marL="1359002"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8pPr>
      <a:lvl9pPr marL="1812015"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87123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400" baseline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1pPr>
      <a:lvl2pPr marL="191923" indent="-191923" algn="l" defTabSz="887123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15000"/>
        <a:buFont typeface="Simplon BP Regular" pitchFamily="2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2pPr>
      <a:lvl3pPr marL="453033" indent="-259508" algn="l" defTabSz="887123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charset="0"/>
        <a:buChar char="–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3pPr>
      <a:lvl4pPr marL="608726" indent="-154184" algn="l" defTabSz="887123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pitchFamily="34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4pPr>
      <a:lvl5pPr marL="742907" indent="-128987" algn="l" defTabSz="887123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89000"/>
        <a:buFont typeface="Arial" charset="0"/>
        <a:buChar char="-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5pPr>
      <a:lvl6pPr marL="742907" indent="-128987" algn="l" defTabSz="88712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2907" indent="-128987" algn="l" defTabSz="88712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2907" indent="-128987" algn="l" defTabSz="88712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2907" indent="-128987" algn="l" defTabSz="88712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3033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06015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59002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12015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65017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18012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71019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24024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83729086"/>
              </p:ext>
            </p:extLst>
          </p:nvPr>
        </p:nvGraphicFramePr>
        <p:xfrm>
          <a:off x="1" y="2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56293" name="Slide do think-cell" r:id="rId16" imgW="0" imgH="0" progId="TCLayout.ActiveDocument.1">
                  <p:embed/>
                </p:oleObj>
              </mc:Choice>
              <mc:Fallback>
                <p:oleObj name="Slide do think-cell" r:id="rId16" imgW="0" imgH="0" progId="TCLayout.ActiveDocument.1">
                  <p:embed/>
                  <p:pic>
                    <p:nvPicPr>
                      <p:cNvPr id="0" name="AutoShape 51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2"/>
                        <a:ext cx="211676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10776432" y="36518"/>
            <a:ext cx="876339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87123"/>
            <a:endParaRPr lang="pt-BR" sz="8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10519874" y="1932900"/>
            <a:ext cx="267220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10682583" y="4106726"/>
            <a:ext cx="234679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936841" y="1951039"/>
            <a:ext cx="5736421" cy="11060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ext styles</a:t>
            </a:r>
          </a:p>
          <a:p>
            <a:pPr lvl="1"/>
            <a:r>
              <a:rPr lang="pt-BR" noProof="0" smtClean="0"/>
              <a:t>Second level</a:t>
            </a:r>
          </a:p>
          <a:p>
            <a:pPr lvl="2"/>
            <a:r>
              <a:rPr lang="pt-BR" noProof="0" smtClean="0"/>
              <a:t>Third level</a:t>
            </a:r>
          </a:p>
          <a:p>
            <a:pPr lvl="3"/>
            <a:r>
              <a:rPr lang="pt-BR" noProof="0" smtClean="0"/>
              <a:t>Fourth level</a:t>
            </a:r>
          </a:p>
          <a:p>
            <a:pPr lvl="4"/>
            <a:r>
              <a:rPr lang="pt-BR" noProof="0" smtClean="0"/>
              <a:t>Fifth level</a:t>
            </a:r>
            <a:endParaRPr lang="pt-BR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211676" y="230292"/>
            <a:ext cx="10530036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58865" y="26992"/>
            <a:ext cx="886083" cy="2212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pt-BR" sz="1400" smtClean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TRACKER</a:t>
            </a:r>
            <a:endParaRPr lang="pt-BR" sz="1400" dirty="0">
              <a:solidFill>
                <a:srgbClr val="80808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58886" y="621826"/>
            <a:ext cx="11491891" cy="281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pt-BR" sz="1800" smtClean="0">
                <a:solidFill>
                  <a:srgbClr val="D5E7FF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Unit of measure</a:t>
            </a:r>
            <a:endParaRPr lang="pt-BR" sz="1800" dirty="0" smtClean="0">
              <a:solidFill>
                <a:srgbClr val="D5E7FF">
                  <a:lumMod val="75000"/>
                </a:srgbClr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158761" y="6265569"/>
            <a:ext cx="11398753" cy="358776"/>
            <a:chOff x="75" y="3877"/>
            <a:chExt cx="5385" cy="226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877"/>
              <a:ext cx="5385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pt-BR" sz="100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1 Footnote</a:t>
              </a:r>
              <a:endParaRPr lang="pt-BR" sz="1000" dirty="0" smtClean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06"/>
              <a:ext cx="4323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t" anchorCtr="0">
              <a:spAutoFit/>
            </a:bodyPr>
            <a:lstStyle/>
            <a:p>
              <a:pPr marL="604031" indent="-604031" defTabSz="887123">
                <a:tabLst>
                  <a:tab pos="607161" algn="l"/>
                </a:tabLst>
              </a:pPr>
              <a:r>
                <a:rPr lang="pt-BR" sz="1000" dirty="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FONTE: </a:t>
              </a:r>
              <a:r>
                <a:rPr lang="pt-BR" sz="1000" dirty="0" err="1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ource</a:t>
              </a:r>
              <a:endParaRPr lang="pt-BR" sz="1000" dirty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936840" y="1123953"/>
            <a:ext cx="5685618" cy="511174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 hidden="1"/>
            <p:cNvSpPr>
              <a:spLocks noChangeArrowheads="1"/>
            </p:cNvSpPr>
            <p:nvPr/>
          </p:nvSpPr>
          <p:spPr bwMode="auto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pt-BR" b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itle</a:t>
              </a:r>
            </a:p>
            <a:p>
              <a:r>
                <a:rPr lang="pt-BR" smtClean="0">
                  <a:solidFill>
                    <a:srgbClr val="80808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Unit of measure</a:t>
              </a:r>
              <a:endParaRPr lang="pt-BR" dirty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28" name="Group 27"/>
          <p:cNvGrpSpPr/>
          <p:nvPr userDrawn="1"/>
        </p:nvGrpSpPr>
        <p:grpSpPr>
          <a:xfrm>
            <a:off x="11335740" y="60963"/>
            <a:ext cx="613376" cy="655256"/>
            <a:chOff x="5526523" y="2325890"/>
            <a:chExt cx="3423032" cy="3656747"/>
          </a:xfrm>
        </p:grpSpPr>
        <p:sp>
          <p:nvSpPr>
            <p:cNvPr id="29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30" name="Group 29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31" name="Donut 30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2" name="Oval 31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3" name="Oval 32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12473301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09" r:id="rId1"/>
    <p:sldLayoutId id="2147484110" r:id="rId2"/>
    <p:sldLayoutId id="2147484111" r:id="rId3"/>
    <p:sldLayoutId id="2147484112" r:id="rId4"/>
    <p:sldLayoutId id="2147484113" r:id="rId5"/>
    <p:sldLayoutId id="2147484114" r:id="rId6"/>
    <p:sldLayoutId id="2147484115" r:id="rId7"/>
    <p:sldLayoutId id="2147484116" r:id="rId8"/>
    <p:sldLayoutId id="2147484117" r:id="rId9"/>
    <p:sldLayoutId id="2147484119" r:id="rId10"/>
    <p:sldLayoutId id="2147484120" r:id="rId11"/>
    <p:sldLayoutId id="2147484121" r:id="rId12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defTabSz="887123" rtl="0" eaLnBrk="1" fontAlgn="base" hangingPunct="1">
        <a:spcBef>
          <a:spcPct val="0"/>
        </a:spcBef>
        <a:spcAft>
          <a:spcPct val="0"/>
        </a:spcAft>
        <a:tabLst>
          <a:tab pos="267416" algn="l"/>
        </a:tabLst>
        <a:defRPr lang="en-US" sz="2000" b="1" baseline="0" noProof="0" dirty="0" smtClean="0">
          <a:solidFill>
            <a:schemeClr val="accent4"/>
          </a:solidFill>
          <a:latin typeface="Arial" panose="020B0604020202020204" pitchFamily="34" charset="0"/>
          <a:ea typeface="+mj-ea"/>
          <a:cs typeface="Arial" panose="020B0604020202020204" pitchFamily="34" charset="0"/>
          <a:sym typeface="Arial" panose="020B0604020202020204" pitchFamily="34" charset="0"/>
        </a:defRPr>
      </a:lvl1pPr>
      <a:lvl2pPr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2pPr>
      <a:lvl3pPr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3pPr>
      <a:lvl4pPr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4pPr>
      <a:lvl5pPr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5pPr>
      <a:lvl6pPr marL="453033"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6pPr>
      <a:lvl7pPr marL="906015"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7pPr>
      <a:lvl8pPr marL="1359002"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8pPr>
      <a:lvl9pPr marL="1812015"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87123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400" baseline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1pPr>
      <a:lvl2pPr marL="191923" indent="-191923" algn="l" defTabSz="887123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15000"/>
        <a:buFont typeface="Simplon BP Regular" pitchFamily="2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2pPr>
      <a:lvl3pPr marL="453033" indent="-259508" algn="l" defTabSz="887123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charset="0"/>
        <a:buChar char="–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3pPr>
      <a:lvl4pPr marL="608726" indent="-154184" algn="l" defTabSz="887123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pitchFamily="34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4pPr>
      <a:lvl5pPr marL="742907" indent="-128987" algn="l" defTabSz="887123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89000"/>
        <a:buFont typeface="Arial" charset="0"/>
        <a:buChar char="-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5pPr>
      <a:lvl6pPr marL="742907" indent="-128987" algn="l" defTabSz="88712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2907" indent="-128987" algn="l" defTabSz="88712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2907" indent="-128987" algn="l" defTabSz="88712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2907" indent="-128987" algn="l" defTabSz="88712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3033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06015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59002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12015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65017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18012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71019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24024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1978" y="358972"/>
            <a:ext cx="7338636" cy="102481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1855226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16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9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Freeform 28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2" name="TextBox 39"/>
          <p:cNvSpPr txBox="1"/>
          <p:nvPr userDrawn="1"/>
        </p:nvSpPr>
        <p:spPr>
          <a:xfrm>
            <a:off x="9223673" y="6781928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3363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3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9789816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23" r:id="rId1"/>
    <p:sldLayoutId id="2147484124" r:id="rId2"/>
    <p:sldLayoutId id="2147484125" r:id="rId3"/>
    <p:sldLayoutId id="2147484126" r:id="rId4"/>
    <p:sldLayoutId id="2147484127" r:id="rId5"/>
    <p:sldLayoutId id="2147484128" r:id="rId6"/>
    <p:sldLayoutId id="2147484129" r:id="rId7"/>
    <p:sldLayoutId id="2147484130" r:id="rId8"/>
  </p:sldLayoutIdLst>
  <p:hf sldNum="0" hdr="0" ftr="0" dt="0"/>
  <p:txStyles>
    <p:titleStyle>
      <a:lvl1pPr algn="l" defTabSz="593363" rtl="0" eaLnBrk="1" latinLnBrk="0" hangingPunct="1">
        <a:lnSpc>
          <a:spcPts val="5486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A037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005" indent="-239005" algn="l" defTabSz="59336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3881" indent="-228695" algn="l" defTabSz="59336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3881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2579" indent="-228695" algn="l" defTabSz="59336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2579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1282" indent="-228695" algn="l" defTabSz="59336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1282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59973" indent="-228695" algn="l" defTabSz="59336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59973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63617" indent="-296677" algn="l" defTabSz="59336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56998" indent="-296677" algn="l" defTabSz="59336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50378" indent="-296677" algn="l" defTabSz="59336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43767" indent="-296677" algn="l" defTabSz="59336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3363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6768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0158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3541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66928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60307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53688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47078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4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82" y="1854703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2053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81813" y="1855222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9223673" y="6781924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3568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87782323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32" r:id="rId1"/>
    <p:sldLayoutId id="2147484133" r:id="rId2"/>
    <p:sldLayoutId id="2147484134" r:id="rId3"/>
    <p:sldLayoutId id="2147484135" r:id="rId4"/>
  </p:sldLayoutIdLst>
  <p:hf sldNum="0" hdr="0" ftr="0" dt="0"/>
  <p:txStyles>
    <p:titleStyle>
      <a:lvl1pPr algn="l" defTabSz="593568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086" indent="-239086" algn="l" defTabSz="59356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4041" indent="-228773" algn="l" defTabSz="59356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4041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2818" indent="-228773" algn="l" defTabSz="59356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2818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1601" indent="-228773" algn="l" defTabSz="59356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1601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0369" indent="-228773" algn="l" defTabSz="59356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0369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64727" indent="-296779" algn="l" defTabSz="59356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58307" indent="-296779" algn="l" defTabSz="59356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51888" indent="-296779" algn="l" defTabSz="59356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45481" indent="-296779" algn="l" defTabSz="59356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3568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7172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0762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4346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67935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61514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55098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48689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82" y="1854733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en-US"/>
              <a:t>Click to edit Master text styles</a:t>
            </a:r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en-US"/>
              <a:t>Second level</a:t>
            </a:r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en-US"/>
              <a:t>Third level</a:t>
            </a:r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en-US"/>
              <a:t>Fourth level</a:t>
            </a:r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en-US"/>
              <a:t>Fifth 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2104" y="359015"/>
            <a:ext cx="10725159" cy="102481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/>
              <a:t>Click</a:t>
            </a:r>
            <a:r>
              <a:rPr lang="pt-PT" dirty="0"/>
              <a:t> to </a:t>
            </a:r>
            <a:r>
              <a:rPr lang="pt-PT" dirty="0" err="1"/>
              <a:t>edit</a:t>
            </a:r>
            <a:r>
              <a:rPr lang="pt-PT" dirty="0"/>
              <a:t> </a:t>
            </a:r>
            <a:r>
              <a:rPr lang="pt-PT" dirty="0" err="1"/>
              <a:t>title</a:t>
            </a:r>
            <a:r>
              <a:rPr lang="pt-PT" dirty="0"/>
              <a:t> </a:t>
            </a:r>
            <a:r>
              <a:rPr lang="pt-PT" dirty="0" err="1"/>
              <a:t>style</a:t>
            </a:r>
            <a:endParaRPr lang="en-US" dirty="0"/>
          </a:p>
        </p:txBody>
      </p:sp>
      <p:sp>
        <p:nvSpPr>
          <p:cNvPr id="13" name="TextBox 12"/>
          <p:cNvSpPr txBox="1"/>
          <p:nvPr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-281813" y="1855258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-281813" y="4207646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</a:p>
        </p:txBody>
      </p:sp>
      <p:sp>
        <p:nvSpPr>
          <p:cNvPr id="17" name="Freeform 16"/>
          <p:cNvSpPr>
            <a:spLocks/>
          </p:cNvSpPr>
          <p:nvPr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</a:p>
        </p:txBody>
      </p:sp>
      <p:sp>
        <p:nvSpPr>
          <p:cNvPr id="18" name="Freeform 5"/>
          <p:cNvSpPr>
            <a:spLocks/>
          </p:cNvSpPr>
          <p:nvPr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</a:p>
        </p:txBody>
      </p:sp>
      <p:sp>
        <p:nvSpPr>
          <p:cNvPr id="19" name="Freeform 5"/>
          <p:cNvSpPr>
            <a:spLocks/>
          </p:cNvSpPr>
          <p:nvPr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</a:p>
        </p:txBody>
      </p:sp>
      <p:sp>
        <p:nvSpPr>
          <p:cNvPr id="29" name="Freeform 28"/>
          <p:cNvSpPr>
            <a:spLocks/>
          </p:cNvSpPr>
          <p:nvPr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</a:p>
        </p:txBody>
      </p:sp>
      <p:sp>
        <p:nvSpPr>
          <p:cNvPr id="30" name="Freeform 5"/>
          <p:cNvSpPr>
            <a:spLocks/>
          </p:cNvSpPr>
          <p:nvPr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</a:p>
        </p:txBody>
      </p:sp>
      <p:sp>
        <p:nvSpPr>
          <p:cNvPr id="31" name="Freeform 5"/>
          <p:cNvSpPr>
            <a:spLocks/>
          </p:cNvSpPr>
          <p:nvPr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</a:p>
        </p:txBody>
      </p:sp>
      <p:sp>
        <p:nvSpPr>
          <p:cNvPr id="32" name="TextBox 39"/>
          <p:cNvSpPr txBox="1"/>
          <p:nvPr/>
        </p:nvSpPr>
        <p:spPr>
          <a:xfrm>
            <a:off x="9223673" y="6781955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1947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3" name="Freeform 5"/>
          <p:cNvSpPr>
            <a:spLocks/>
          </p:cNvSpPr>
          <p:nvPr/>
        </p:nvSpPr>
        <p:spPr bwMode="auto">
          <a:xfrm>
            <a:off x="-10960" y="6748323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/>
        </p:nvSpPr>
        <p:spPr bwMode="auto">
          <a:xfrm>
            <a:off x="3149540" y="6748323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/>
        </p:nvSpPr>
        <p:spPr bwMode="auto">
          <a:xfrm>
            <a:off x="6279959" y="6748323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3" name="Freeform 5"/>
          <p:cNvSpPr>
            <a:spLocks/>
          </p:cNvSpPr>
          <p:nvPr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" name="Freeform 5"/>
          <p:cNvSpPr>
            <a:spLocks/>
          </p:cNvSpPr>
          <p:nvPr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05158902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1" r:id="rId1"/>
    <p:sldLayoutId id="2147483702" r:id="rId2"/>
    <p:sldLayoutId id="2147483703" r:id="rId3"/>
    <p:sldLayoutId id="2147483704" r:id="rId4"/>
    <p:sldLayoutId id="2147483705" r:id="rId5"/>
  </p:sldLayoutIdLst>
  <p:hf sldNum="0" hdr="0" ftr="0" dt="0"/>
  <p:txStyles>
    <p:titleStyle>
      <a:lvl1pPr algn="l" defTabSz="591947" rtl="0" eaLnBrk="1" latinLnBrk="0" hangingPunct="1">
        <a:lnSpc>
          <a:spcPts val="5486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chemeClr val="accent1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8434" indent="-238434" algn="l" defTabSz="59194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2756" indent="-228154" algn="l" defTabSz="59194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2756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0913" indent="-228154" algn="l" defTabSz="59194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0913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29070" indent="-228154" algn="l" defTabSz="59194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29070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57207" indent="-228154" algn="l" defTabSz="59194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57207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55872" indent="-295965" algn="l" defTabSz="59194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47841" indent="-295965" algn="l" defTabSz="59194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39815" indent="-295965" algn="l" defTabSz="59194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31791" indent="-295965" algn="l" defTabSz="59194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1947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3950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75935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67908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59881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51854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43833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35810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5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82" y="1854703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2053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81813" y="1855222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9223673" y="6781924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3568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8924263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37" r:id="rId1"/>
    <p:sldLayoutId id="2147484138" r:id="rId2"/>
    <p:sldLayoutId id="2147484139" r:id="rId3"/>
    <p:sldLayoutId id="2147484140" r:id="rId4"/>
  </p:sldLayoutIdLst>
  <p:hf sldNum="0" hdr="0" ftr="0" dt="0"/>
  <p:txStyles>
    <p:titleStyle>
      <a:lvl1pPr algn="l" defTabSz="593568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086" indent="-239086" algn="l" defTabSz="59356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4041" indent="-228773" algn="l" defTabSz="59356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4041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2818" indent="-228773" algn="l" defTabSz="59356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2818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1601" indent="-228773" algn="l" defTabSz="59356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1601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0369" indent="-228773" algn="l" defTabSz="59356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0369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64727" indent="-296779" algn="l" defTabSz="59356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58307" indent="-296779" algn="l" defTabSz="59356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51888" indent="-296779" algn="l" defTabSz="59356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45481" indent="-296779" algn="l" defTabSz="59356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3568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7172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0762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4346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67935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61514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55098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48689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5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1978" y="358972"/>
            <a:ext cx="7338636" cy="102481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1855226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16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9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Freeform 28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2" name="TextBox 39"/>
          <p:cNvSpPr txBox="1"/>
          <p:nvPr userDrawn="1"/>
        </p:nvSpPr>
        <p:spPr>
          <a:xfrm>
            <a:off x="9223673" y="6781928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3363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3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3412723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42" r:id="rId1"/>
    <p:sldLayoutId id="2147484143" r:id="rId2"/>
    <p:sldLayoutId id="2147484144" r:id="rId3"/>
    <p:sldLayoutId id="2147484145" r:id="rId4"/>
    <p:sldLayoutId id="2147484146" r:id="rId5"/>
    <p:sldLayoutId id="2147484147" r:id="rId6"/>
    <p:sldLayoutId id="2147484148" r:id="rId7"/>
    <p:sldLayoutId id="2147484149" r:id="rId8"/>
  </p:sldLayoutIdLst>
  <p:hf sldNum="0" hdr="0" ftr="0" dt="0"/>
  <p:txStyles>
    <p:titleStyle>
      <a:lvl1pPr algn="l" defTabSz="593363" rtl="0" eaLnBrk="1" latinLnBrk="0" hangingPunct="1">
        <a:lnSpc>
          <a:spcPts val="5486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A037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005" indent="-239005" algn="l" defTabSz="59336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3881" indent="-228695" algn="l" defTabSz="59336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3881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2579" indent="-228695" algn="l" defTabSz="59336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2579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1282" indent="-228695" algn="l" defTabSz="59336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1282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59973" indent="-228695" algn="l" defTabSz="59336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59973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63617" indent="-296677" algn="l" defTabSz="59336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56998" indent="-296677" algn="l" defTabSz="59336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50378" indent="-296677" algn="l" defTabSz="59336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43767" indent="-296677" algn="l" defTabSz="59336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3363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6768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0158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3541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66928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60307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53688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47078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5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4174983232"/>
              </p:ext>
            </p:extLst>
          </p:nvPr>
        </p:nvGraphicFramePr>
        <p:xfrm>
          <a:off x="1" y="2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71646" name="Slide do think-cell" r:id="rId13" imgW="0" imgH="0" progId="TCLayout.ActiveDocument.1">
                  <p:embed/>
                </p:oleObj>
              </mc:Choice>
              <mc:Fallback>
                <p:oleObj name="Slide do think-cell" r:id="rId13" imgW="0" imgH="0" progId="TCLayout.ActiveDocument.1">
                  <p:embed/>
                  <p:pic>
                    <p:nvPicPr>
                      <p:cNvPr id="0" name="AutoShape 51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2"/>
                        <a:ext cx="211676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10776432" y="36518"/>
            <a:ext cx="876339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87123"/>
            <a:endParaRPr lang="pt-BR" sz="8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10519874" y="1932900"/>
            <a:ext cx="267220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10682583" y="4106726"/>
            <a:ext cx="234679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936841" y="1951039"/>
            <a:ext cx="5736421" cy="11060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ext styles</a:t>
            </a:r>
          </a:p>
          <a:p>
            <a:pPr lvl="1"/>
            <a:r>
              <a:rPr lang="pt-BR" noProof="0" smtClean="0"/>
              <a:t>Second level</a:t>
            </a:r>
          </a:p>
          <a:p>
            <a:pPr lvl="2"/>
            <a:r>
              <a:rPr lang="pt-BR" noProof="0" smtClean="0"/>
              <a:t>Third level</a:t>
            </a:r>
          </a:p>
          <a:p>
            <a:pPr lvl="3"/>
            <a:r>
              <a:rPr lang="pt-BR" noProof="0" smtClean="0"/>
              <a:t>Fourth level</a:t>
            </a:r>
          </a:p>
          <a:p>
            <a:pPr lvl="4"/>
            <a:r>
              <a:rPr lang="pt-BR" noProof="0" smtClean="0"/>
              <a:t>Fifth level</a:t>
            </a:r>
            <a:endParaRPr lang="pt-BR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211676" y="230292"/>
            <a:ext cx="10530036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58865" y="26992"/>
            <a:ext cx="886083" cy="2212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pt-BR" sz="1400" smtClean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TRACKER</a:t>
            </a:r>
            <a:endParaRPr lang="pt-BR" sz="1400" dirty="0">
              <a:solidFill>
                <a:srgbClr val="80808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58886" y="621826"/>
            <a:ext cx="11491891" cy="281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pt-BR" sz="1800" smtClean="0">
                <a:solidFill>
                  <a:srgbClr val="D5E7FF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Unit of measure</a:t>
            </a:r>
            <a:endParaRPr lang="pt-BR" sz="1800" dirty="0" smtClean="0">
              <a:solidFill>
                <a:srgbClr val="D5E7FF">
                  <a:lumMod val="75000"/>
                </a:srgbClr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158761" y="6265569"/>
            <a:ext cx="11398753" cy="358776"/>
            <a:chOff x="75" y="3877"/>
            <a:chExt cx="5385" cy="226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877"/>
              <a:ext cx="5385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pt-BR" sz="100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1 Footnote</a:t>
              </a:r>
              <a:endParaRPr lang="pt-BR" sz="1000" dirty="0" smtClean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06"/>
              <a:ext cx="4323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t" anchorCtr="0">
              <a:spAutoFit/>
            </a:bodyPr>
            <a:lstStyle/>
            <a:p>
              <a:pPr marL="604031" indent="-604031" defTabSz="887123">
                <a:tabLst>
                  <a:tab pos="607161" algn="l"/>
                </a:tabLst>
              </a:pPr>
              <a:r>
                <a:rPr lang="pt-BR" sz="1000" dirty="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FONTE: </a:t>
              </a:r>
              <a:r>
                <a:rPr lang="pt-BR" sz="1000" dirty="0" err="1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ource</a:t>
              </a:r>
              <a:endParaRPr lang="pt-BR" sz="1000" dirty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936840" y="1123953"/>
            <a:ext cx="5685618" cy="511174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 hidden="1"/>
            <p:cNvSpPr>
              <a:spLocks noChangeArrowheads="1"/>
            </p:cNvSpPr>
            <p:nvPr/>
          </p:nvSpPr>
          <p:spPr bwMode="auto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pt-BR" b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itle</a:t>
              </a:r>
            </a:p>
            <a:p>
              <a:r>
                <a:rPr lang="pt-BR" smtClean="0">
                  <a:solidFill>
                    <a:srgbClr val="80808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Unit of measure</a:t>
              </a:r>
              <a:endParaRPr lang="pt-BR" dirty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28" name="Group 27"/>
          <p:cNvGrpSpPr/>
          <p:nvPr userDrawn="1"/>
        </p:nvGrpSpPr>
        <p:grpSpPr>
          <a:xfrm>
            <a:off x="11335740" y="60963"/>
            <a:ext cx="613376" cy="655256"/>
            <a:chOff x="5526523" y="2325890"/>
            <a:chExt cx="3423032" cy="3656747"/>
          </a:xfrm>
        </p:grpSpPr>
        <p:sp>
          <p:nvSpPr>
            <p:cNvPr id="29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30" name="Group 29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31" name="Donut 30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2" name="Oval 31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3" name="Oval 32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5266246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52" r:id="rId1"/>
    <p:sldLayoutId id="2147484153" r:id="rId2"/>
    <p:sldLayoutId id="2147484154" r:id="rId3"/>
    <p:sldLayoutId id="2147484155" r:id="rId4"/>
    <p:sldLayoutId id="2147484156" r:id="rId5"/>
    <p:sldLayoutId id="2147484157" r:id="rId6"/>
    <p:sldLayoutId id="2147484158" r:id="rId7"/>
    <p:sldLayoutId id="2147484159" r:id="rId8"/>
    <p:sldLayoutId id="2147484160" r:id="rId9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defTabSz="887123" rtl="0" eaLnBrk="1" fontAlgn="base" hangingPunct="1">
        <a:spcBef>
          <a:spcPct val="0"/>
        </a:spcBef>
        <a:spcAft>
          <a:spcPct val="0"/>
        </a:spcAft>
        <a:tabLst>
          <a:tab pos="267416" algn="l"/>
        </a:tabLst>
        <a:defRPr lang="en-US" sz="2000" b="1" baseline="0" noProof="0" dirty="0" smtClean="0">
          <a:solidFill>
            <a:schemeClr val="accent4"/>
          </a:solidFill>
          <a:latin typeface="Arial" panose="020B0604020202020204" pitchFamily="34" charset="0"/>
          <a:ea typeface="+mj-ea"/>
          <a:cs typeface="Arial" panose="020B0604020202020204" pitchFamily="34" charset="0"/>
          <a:sym typeface="Arial" panose="020B0604020202020204" pitchFamily="34" charset="0"/>
        </a:defRPr>
      </a:lvl1pPr>
      <a:lvl2pPr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2pPr>
      <a:lvl3pPr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3pPr>
      <a:lvl4pPr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4pPr>
      <a:lvl5pPr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5pPr>
      <a:lvl6pPr marL="453033"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6pPr>
      <a:lvl7pPr marL="906015"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7pPr>
      <a:lvl8pPr marL="1359002"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8pPr>
      <a:lvl9pPr marL="1812015"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87123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400" baseline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1pPr>
      <a:lvl2pPr marL="191923" indent="-191923" algn="l" defTabSz="887123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15000"/>
        <a:buFont typeface="Simplon BP Regular" pitchFamily="2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2pPr>
      <a:lvl3pPr marL="453033" indent="-259508" algn="l" defTabSz="887123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charset="0"/>
        <a:buChar char="–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3pPr>
      <a:lvl4pPr marL="608726" indent="-154184" algn="l" defTabSz="887123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pitchFamily="34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4pPr>
      <a:lvl5pPr marL="742907" indent="-128987" algn="l" defTabSz="887123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89000"/>
        <a:buFont typeface="Arial" charset="0"/>
        <a:buChar char="-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5pPr>
      <a:lvl6pPr marL="742907" indent="-128987" algn="l" defTabSz="88712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2907" indent="-128987" algn="l" defTabSz="88712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2907" indent="-128987" algn="l" defTabSz="88712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2907" indent="-128987" algn="l" defTabSz="88712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3033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06015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59002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12015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65017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18012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71019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24024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654476736"/>
              </p:ext>
            </p:extLst>
          </p:nvPr>
        </p:nvGraphicFramePr>
        <p:xfrm>
          <a:off x="2077" y="2077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75741" name="Slide do think-cell" r:id="rId12" imgW="0" imgH="0" progId="TCLayout.ActiveDocument.1">
                  <p:embed/>
                </p:oleObj>
              </mc:Choice>
              <mc:Fallback>
                <p:oleObj name="Slide do think-cell" r:id="rId12" imgW="0" imgH="0" progId="TCLayout.ActiveDocument.1">
                  <p:embed/>
                  <p:pic>
                    <p:nvPicPr>
                      <p:cNvPr id="0" name="AutoShape 51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77" y="2077"/>
                        <a:ext cx="2074" cy="20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1978" y="359001"/>
            <a:ext cx="7338636" cy="102481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1855253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16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9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Freeform 28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2" name="TextBox 39"/>
          <p:cNvSpPr txBox="1"/>
          <p:nvPr userDrawn="1"/>
        </p:nvSpPr>
        <p:spPr>
          <a:xfrm>
            <a:off x="9223673" y="6781955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1947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3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1798932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64" r:id="rId1"/>
    <p:sldLayoutId id="2147484165" r:id="rId2"/>
    <p:sldLayoutId id="2147484166" r:id="rId3"/>
    <p:sldLayoutId id="2147484167" r:id="rId4"/>
    <p:sldLayoutId id="2147484168" r:id="rId5"/>
    <p:sldLayoutId id="2147484169" r:id="rId6"/>
    <p:sldLayoutId id="2147484170" r:id="rId7"/>
    <p:sldLayoutId id="2147484171" r:id="rId8"/>
  </p:sldLayoutIdLst>
  <p:hf sldNum="0" hdr="0" ftr="0" dt="0"/>
  <p:txStyles>
    <p:titleStyle>
      <a:lvl1pPr algn="l" defTabSz="591947" rtl="0" eaLnBrk="1" latinLnBrk="0" hangingPunct="1">
        <a:lnSpc>
          <a:spcPts val="5486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A037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8434" indent="-238434" algn="l" defTabSz="59194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2756" indent="-228154" algn="l" defTabSz="59194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2756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0913" indent="-228154" algn="l" defTabSz="59194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0913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29070" indent="-228154" algn="l" defTabSz="59194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29070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57207" indent="-228154" algn="l" defTabSz="59194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57207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55872" indent="-295965" algn="l" defTabSz="59194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47841" indent="-295965" algn="l" defTabSz="59194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39815" indent="-295965" algn="l" defTabSz="59194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31791" indent="-295965" algn="l" defTabSz="59194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1947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3950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75935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67908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59881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51854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43833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35810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5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1602952321"/>
              </p:ext>
            </p:extLst>
          </p:nvPr>
        </p:nvGraphicFramePr>
        <p:xfrm>
          <a:off x="2077" y="2077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76762" name="Slide do think-cell" r:id="rId12" imgW="0" imgH="0" progId="TCLayout.ActiveDocument.1">
                  <p:embed/>
                </p:oleObj>
              </mc:Choice>
              <mc:Fallback>
                <p:oleObj name="Slide do think-cell" r:id="rId12" imgW="0" imgH="0" progId="TCLayout.ActiveDocument.1">
                  <p:embed/>
                  <p:pic>
                    <p:nvPicPr>
                      <p:cNvPr id="0" name="AutoShape 50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77" y="2077"/>
                        <a:ext cx="2074" cy="20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1978" y="359001"/>
            <a:ext cx="7338636" cy="102481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1855253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16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9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Freeform 28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2" name="TextBox 39"/>
          <p:cNvSpPr txBox="1"/>
          <p:nvPr userDrawn="1"/>
        </p:nvSpPr>
        <p:spPr>
          <a:xfrm>
            <a:off x="9223673" y="6781955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1947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3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44347625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73" r:id="rId1"/>
    <p:sldLayoutId id="2147484174" r:id="rId2"/>
    <p:sldLayoutId id="2147484175" r:id="rId3"/>
    <p:sldLayoutId id="2147484176" r:id="rId4"/>
    <p:sldLayoutId id="2147484177" r:id="rId5"/>
    <p:sldLayoutId id="2147484178" r:id="rId6"/>
    <p:sldLayoutId id="2147484179" r:id="rId7"/>
    <p:sldLayoutId id="2147484180" r:id="rId8"/>
  </p:sldLayoutIdLst>
  <p:hf sldNum="0" hdr="0" ftr="0" dt="0"/>
  <p:txStyles>
    <p:titleStyle>
      <a:lvl1pPr algn="l" defTabSz="591947" rtl="0" eaLnBrk="1" latinLnBrk="0" hangingPunct="1">
        <a:lnSpc>
          <a:spcPts val="5486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A037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8434" indent="-238434" algn="l" defTabSz="59194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2756" indent="-228154" algn="l" defTabSz="59194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2756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0913" indent="-228154" algn="l" defTabSz="59194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0913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29070" indent="-228154" algn="l" defTabSz="59194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29070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57207" indent="-228154" algn="l" defTabSz="59194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57207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55872" indent="-295965" algn="l" defTabSz="59194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47841" indent="-295965" algn="l" defTabSz="59194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39815" indent="-295965" algn="l" defTabSz="59194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31791" indent="-295965" algn="l" defTabSz="59194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1947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3950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75935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67908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59881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51854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43833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35810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5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2843008544"/>
              </p:ext>
            </p:extLst>
          </p:nvPr>
        </p:nvGraphicFramePr>
        <p:xfrm>
          <a:off x="2077" y="2077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77786" name="Slide do think-cell" r:id="rId12" imgW="0" imgH="0" progId="TCLayout.ActiveDocument.1">
                  <p:embed/>
                </p:oleObj>
              </mc:Choice>
              <mc:Fallback>
                <p:oleObj name="Slide do think-cell" r:id="rId12" imgW="0" imgH="0" progId="TCLayout.ActiveDocument.1">
                  <p:embed/>
                  <p:pic>
                    <p:nvPicPr>
                      <p:cNvPr id="0" name="AutoShape 50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77" y="2077"/>
                        <a:ext cx="2074" cy="20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1978" y="359001"/>
            <a:ext cx="7338636" cy="102481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1855253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16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9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Freeform 28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2" name="TextBox 39"/>
          <p:cNvSpPr txBox="1"/>
          <p:nvPr userDrawn="1"/>
        </p:nvSpPr>
        <p:spPr>
          <a:xfrm>
            <a:off x="9223673" y="6781955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1947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3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7209066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82" r:id="rId1"/>
    <p:sldLayoutId id="2147484183" r:id="rId2"/>
    <p:sldLayoutId id="2147484184" r:id="rId3"/>
    <p:sldLayoutId id="2147484185" r:id="rId4"/>
    <p:sldLayoutId id="2147484186" r:id="rId5"/>
    <p:sldLayoutId id="2147484187" r:id="rId6"/>
    <p:sldLayoutId id="2147484188" r:id="rId7"/>
    <p:sldLayoutId id="2147484189" r:id="rId8"/>
  </p:sldLayoutIdLst>
  <p:hf sldNum="0" hdr="0" ftr="0" dt="0"/>
  <p:txStyles>
    <p:titleStyle>
      <a:lvl1pPr algn="l" defTabSz="591947" rtl="0" eaLnBrk="1" latinLnBrk="0" hangingPunct="1">
        <a:lnSpc>
          <a:spcPts val="5486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A037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8434" indent="-238434" algn="l" defTabSz="59194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2756" indent="-228154" algn="l" defTabSz="59194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2756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0913" indent="-228154" algn="l" defTabSz="59194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0913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29070" indent="-228154" algn="l" defTabSz="59194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29070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57207" indent="-228154" algn="l" defTabSz="59194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57207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55872" indent="-295965" algn="l" defTabSz="59194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47841" indent="-295965" algn="l" defTabSz="59194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39815" indent="-295965" algn="l" defTabSz="59194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31791" indent="-295965" algn="l" defTabSz="59194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1947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3950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75935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67908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59881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51854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43833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35810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5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1156073192"/>
              </p:ext>
            </p:extLst>
          </p:nvPr>
        </p:nvGraphicFramePr>
        <p:xfrm>
          <a:off x="2077" y="2077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78807" name="Slide do think-cell" r:id="rId12" imgW="0" imgH="0" progId="TCLayout.ActiveDocument.1">
                  <p:embed/>
                </p:oleObj>
              </mc:Choice>
              <mc:Fallback>
                <p:oleObj name="Slide do think-cell" r:id="rId12" imgW="0" imgH="0" progId="TCLayout.ActiveDocument.1">
                  <p:embed/>
                  <p:pic>
                    <p:nvPicPr>
                      <p:cNvPr id="0" name="AutoShape 50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77" y="2077"/>
                        <a:ext cx="2074" cy="20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1978" y="359001"/>
            <a:ext cx="7338636" cy="102481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1855253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16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9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Freeform 28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2" name="TextBox 39"/>
          <p:cNvSpPr txBox="1"/>
          <p:nvPr userDrawn="1"/>
        </p:nvSpPr>
        <p:spPr>
          <a:xfrm>
            <a:off x="9223673" y="6781955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1947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3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2648535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92" r:id="rId1"/>
    <p:sldLayoutId id="2147484193" r:id="rId2"/>
    <p:sldLayoutId id="2147484194" r:id="rId3"/>
    <p:sldLayoutId id="2147484195" r:id="rId4"/>
    <p:sldLayoutId id="2147484196" r:id="rId5"/>
    <p:sldLayoutId id="2147484197" r:id="rId6"/>
    <p:sldLayoutId id="2147484198" r:id="rId7"/>
    <p:sldLayoutId id="2147484199" r:id="rId8"/>
  </p:sldLayoutIdLst>
  <p:hf sldNum="0" hdr="0" ftr="0" dt="0"/>
  <p:txStyles>
    <p:titleStyle>
      <a:lvl1pPr algn="l" defTabSz="591947" rtl="0" eaLnBrk="1" latinLnBrk="0" hangingPunct="1">
        <a:lnSpc>
          <a:spcPts val="5486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A037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8434" indent="-238434" algn="l" defTabSz="59194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2756" indent="-228154" algn="l" defTabSz="59194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2756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0913" indent="-228154" algn="l" defTabSz="59194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0913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29070" indent="-228154" algn="l" defTabSz="59194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29070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57207" indent="-228154" algn="l" defTabSz="59194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57207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55872" indent="-295965" algn="l" defTabSz="59194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47841" indent="-295965" algn="l" defTabSz="59194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39815" indent="-295965" algn="l" defTabSz="59194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31791" indent="-295965" algn="l" defTabSz="59194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1947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3950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75935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67908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59881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51854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43833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35810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5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3416522109"/>
              </p:ext>
            </p:extLst>
          </p:nvPr>
        </p:nvGraphicFramePr>
        <p:xfrm>
          <a:off x="1" y="2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79818" name="Slide do think-cell" r:id="rId12" imgW="0" imgH="0" progId="TCLayout.ActiveDocument.1">
                  <p:embed/>
                </p:oleObj>
              </mc:Choice>
              <mc:Fallback>
                <p:oleObj name="Slide do think-cell" r:id="rId12" imgW="0" imgH="0" progId="TCLayout.ActiveDocument.1">
                  <p:embed/>
                  <p:pic>
                    <p:nvPicPr>
                      <p:cNvPr id="0" name="AutoShape 49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2"/>
                        <a:ext cx="211676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10776432" y="36518"/>
            <a:ext cx="876339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87123"/>
            <a:endParaRPr lang="pt-BR" sz="8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10519874" y="1932900"/>
            <a:ext cx="267220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10682583" y="4106726"/>
            <a:ext cx="234679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936841" y="1951039"/>
            <a:ext cx="5736421" cy="11060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ext styles</a:t>
            </a:r>
          </a:p>
          <a:p>
            <a:pPr lvl="1"/>
            <a:r>
              <a:rPr lang="pt-BR" noProof="0" smtClean="0"/>
              <a:t>Second level</a:t>
            </a:r>
          </a:p>
          <a:p>
            <a:pPr lvl="2"/>
            <a:r>
              <a:rPr lang="pt-BR" noProof="0" smtClean="0"/>
              <a:t>Third level</a:t>
            </a:r>
          </a:p>
          <a:p>
            <a:pPr lvl="3"/>
            <a:r>
              <a:rPr lang="pt-BR" noProof="0" smtClean="0"/>
              <a:t>Fourth level</a:t>
            </a:r>
          </a:p>
          <a:p>
            <a:pPr lvl="4"/>
            <a:r>
              <a:rPr lang="pt-BR" noProof="0" smtClean="0"/>
              <a:t>Fifth level</a:t>
            </a:r>
            <a:endParaRPr lang="pt-BR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211676" y="230292"/>
            <a:ext cx="10530036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58865" y="26992"/>
            <a:ext cx="886083" cy="2212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pt-BR" sz="1400" smtClean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TRACKER</a:t>
            </a:r>
            <a:endParaRPr lang="pt-BR" sz="1400" dirty="0">
              <a:solidFill>
                <a:srgbClr val="80808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58886" y="621826"/>
            <a:ext cx="11491891" cy="281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pt-BR" sz="1800" smtClean="0">
                <a:solidFill>
                  <a:srgbClr val="D5E7FF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Unit of measure</a:t>
            </a:r>
            <a:endParaRPr lang="pt-BR" sz="1800" dirty="0" smtClean="0">
              <a:solidFill>
                <a:srgbClr val="D5E7FF">
                  <a:lumMod val="75000"/>
                </a:srgbClr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158761" y="6265569"/>
            <a:ext cx="11398753" cy="358776"/>
            <a:chOff x="75" y="3877"/>
            <a:chExt cx="5385" cy="226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877"/>
              <a:ext cx="5385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pt-BR" sz="100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1 Footnote</a:t>
              </a:r>
              <a:endParaRPr lang="pt-BR" sz="1000" dirty="0" smtClean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06"/>
              <a:ext cx="4323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t" anchorCtr="0">
              <a:spAutoFit/>
            </a:bodyPr>
            <a:lstStyle/>
            <a:p>
              <a:pPr marL="604031" indent="-604031" defTabSz="887123">
                <a:tabLst>
                  <a:tab pos="607161" algn="l"/>
                </a:tabLst>
              </a:pPr>
              <a:r>
                <a:rPr lang="pt-BR" sz="1000" dirty="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FONTE: </a:t>
              </a:r>
              <a:r>
                <a:rPr lang="pt-BR" sz="1000" dirty="0" err="1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ource</a:t>
              </a:r>
              <a:endParaRPr lang="pt-BR" sz="1000" dirty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936840" y="1123953"/>
            <a:ext cx="5685618" cy="511174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 hidden="1"/>
            <p:cNvSpPr>
              <a:spLocks noChangeArrowheads="1"/>
            </p:cNvSpPr>
            <p:nvPr/>
          </p:nvSpPr>
          <p:spPr bwMode="auto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pt-BR" b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itle</a:t>
              </a:r>
            </a:p>
            <a:p>
              <a:r>
                <a:rPr lang="pt-BR" smtClean="0">
                  <a:solidFill>
                    <a:srgbClr val="80808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Unit of measure</a:t>
              </a:r>
              <a:endParaRPr lang="pt-BR" dirty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28" name="Group 27"/>
          <p:cNvGrpSpPr/>
          <p:nvPr userDrawn="1"/>
        </p:nvGrpSpPr>
        <p:grpSpPr>
          <a:xfrm>
            <a:off x="11335740" y="60963"/>
            <a:ext cx="613376" cy="655256"/>
            <a:chOff x="5526523" y="2325890"/>
            <a:chExt cx="3423032" cy="3656747"/>
          </a:xfrm>
        </p:grpSpPr>
        <p:sp>
          <p:nvSpPr>
            <p:cNvPr id="29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30" name="Group 29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31" name="Donut 30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2" name="Oval 31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3" name="Oval 32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79126497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03" r:id="rId1"/>
    <p:sldLayoutId id="2147484204" r:id="rId2"/>
    <p:sldLayoutId id="2147484205" r:id="rId3"/>
    <p:sldLayoutId id="2147484206" r:id="rId4"/>
    <p:sldLayoutId id="2147484207" r:id="rId5"/>
    <p:sldLayoutId id="2147484208" r:id="rId6"/>
    <p:sldLayoutId id="2147484209" r:id="rId7"/>
    <p:sldLayoutId id="2147484210" r:id="rId8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defTabSz="887123" rtl="0" eaLnBrk="1" fontAlgn="base" hangingPunct="1">
        <a:spcBef>
          <a:spcPct val="0"/>
        </a:spcBef>
        <a:spcAft>
          <a:spcPct val="0"/>
        </a:spcAft>
        <a:tabLst>
          <a:tab pos="267416" algn="l"/>
        </a:tabLst>
        <a:defRPr lang="en-US" sz="2000" b="1" baseline="0" noProof="0" dirty="0" smtClean="0">
          <a:solidFill>
            <a:schemeClr val="accent4"/>
          </a:solidFill>
          <a:latin typeface="Arial" panose="020B0604020202020204" pitchFamily="34" charset="0"/>
          <a:ea typeface="+mj-ea"/>
          <a:cs typeface="Arial" panose="020B0604020202020204" pitchFamily="34" charset="0"/>
          <a:sym typeface="Arial" panose="020B0604020202020204" pitchFamily="34" charset="0"/>
        </a:defRPr>
      </a:lvl1pPr>
      <a:lvl2pPr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2pPr>
      <a:lvl3pPr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3pPr>
      <a:lvl4pPr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4pPr>
      <a:lvl5pPr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5pPr>
      <a:lvl6pPr marL="453033"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6pPr>
      <a:lvl7pPr marL="906015"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7pPr>
      <a:lvl8pPr marL="1359002"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8pPr>
      <a:lvl9pPr marL="1812015"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87123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400" baseline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1pPr>
      <a:lvl2pPr marL="191923" indent="-191923" algn="l" defTabSz="887123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15000"/>
        <a:buFont typeface="Simplon BP Regular" pitchFamily="2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2pPr>
      <a:lvl3pPr marL="453033" indent="-259508" algn="l" defTabSz="887123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charset="0"/>
        <a:buChar char="–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3pPr>
      <a:lvl4pPr marL="608726" indent="-154184" algn="l" defTabSz="887123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pitchFamily="34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4pPr>
      <a:lvl5pPr marL="742907" indent="-128987" algn="l" defTabSz="887123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89000"/>
        <a:buFont typeface="Arial" charset="0"/>
        <a:buChar char="-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5pPr>
      <a:lvl6pPr marL="742907" indent="-128987" algn="l" defTabSz="88712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2907" indent="-128987" algn="l" defTabSz="88712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2907" indent="-128987" algn="l" defTabSz="88712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2907" indent="-128987" algn="l" defTabSz="88712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3033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06015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59002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12015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65017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18012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71019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24024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1654200972"/>
              </p:ext>
            </p:extLst>
          </p:nvPr>
        </p:nvGraphicFramePr>
        <p:xfrm>
          <a:off x="1" y="2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83912" name="Slide do think-cell" r:id="rId15" imgW="0" imgH="0" progId="TCLayout.ActiveDocument.1">
                  <p:embed/>
                </p:oleObj>
              </mc:Choice>
              <mc:Fallback>
                <p:oleObj name="Slide do think-cell" r:id="rId15" imgW="0" imgH="0" progId="TCLayout.ActiveDocument.1">
                  <p:embed/>
                  <p:pic>
                    <p:nvPicPr>
                      <p:cNvPr id="0" name="AutoShape 48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2"/>
                        <a:ext cx="211676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10776432" y="36518"/>
            <a:ext cx="876339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87123"/>
            <a:endParaRPr lang="pt-BR" sz="8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10519874" y="1932900"/>
            <a:ext cx="267220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10682583" y="4106726"/>
            <a:ext cx="234679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936841" y="1951039"/>
            <a:ext cx="5736421" cy="11060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ext styles</a:t>
            </a:r>
          </a:p>
          <a:p>
            <a:pPr lvl="1"/>
            <a:r>
              <a:rPr lang="pt-BR" noProof="0" smtClean="0"/>
              <a:t>Second level</a:t>
            </a:r>
          </a:p>
          <a:p>
            <a:pPr lvl="2"/>
            <a:r>
              <a:rPr lang="pt-BR" noProof="0" smtClean="0"/>
              <a:t>Third level</a:t>
            </a:r>
          </a:p>
          <a:p>
            <a:pPr lvl="3"/>
            <a:r>
              <a:rPr lang="pt-BR" noProof="0" smtClean="0"/>
              <a:t>Fourth level</a:t>
            </a:r>
          </a:p>
          <a:p>
            <a:pPr lvl="4"/>
            <a:r>
              <a:rPr lang="pt-BR" noProof="0" smtClean="0"/>
              <a:t>Fifth level</a:t>
            </a:r>
            <a:endParaRPr lang="pt-BR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211676" y="230292"/>
            <a:ext cx="10530036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58865" y="26992"/>
            <a:ext cx="886083" cy="2212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pt-BR" sz="1400" smtClean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TRACKER</a:t>
            </a:r>
            <a:endParaRPr lang="pt-BR" sz="1400" dirty="0">
              <a:solidFill>
                <a:srgbClr val="80808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58886" y="621826"/>
            <a:ext cx="11491891" cy="281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pt-BR" sz="1800" smtClean="0">
                <a:solidFill>
                  <a:srgbClr val="D5E7FF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Unit of measure</a:t>
            </a:r>
            <a:endParaRPr lang="pt-BR" sz="1800" dirty="0" smtClean="0">
              <a:solidFill>
                <a:srgbClr val="D5E7FF">
                  <a:lumMod val="75000"/>
                </a:srgbClr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158761" y="6265569"/>
            <a:ext cx="11398753" cy="358776"/>
            <a:chOff x="75" y="3877"/>
            <a:chExt cx="5385" cy="226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877"/>
              <a:ext cx="5385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pt-BR" sz="100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1 Footnote</a:t>
              </a:r>
              <a:endParaRPr lang="pt-BR" sz="1000" dirty="0" smtClean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06"/>
              <a:ext cx="4323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t" anchorCtr="0">
              <a:spAutoFit/>
            </a:bodyPr>
            <a:lstStyle/>
            <a:p>
              <a:pPr marL="604031" indent="-604031" defTabSz="887123">
                <a:tabLst>
                  <a:tab pos="607161" algn="l"/>
                </a:tabLst>
              </a:pPr>
              <a:r>
                <a:rPr lang="pt-BR" sz="1000" dirty="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FONTE: </a:t>
              </a:r>
              <a:r>
                <a:rPr lang="pt-BR" sz="1000" dirty="0" err="1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ource</a:t>
              </a:r>
              <a:endParaRPr lang="pt-BR" sz="1000" dirty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936840" y="1123953"/>
            <a:ext cx="5685618" cy="511174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 hidden="1"/>
            <p:cNvSpPr>
              <a:spLocks noChangeArrowheads="1"/>
            </p:cNvSpPr>
            <p:nvPr/>
          </p:nvSpPr>
          <p:spPr bwMode="auto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pt-BR" b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itle</a:t>
              </a:r>
            </a:p>
            <a:p>
              <a:r>
                <a:rPr lang="pt-BR" smtClean="0">
                  <a:solidFill>
                    <a:srgbClr val="80808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Unit of measure</a:t>
              </a:r>
              <a:endParaRPr lang="pt-BR" dirty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28" name="Group 27"/>
          <p:cNvGrpSpPr/>
          <p:nvPr userDrawn="1"/>
        </p:nvGrpSpPr>
        <p:grpSpPr>
          <a:xfrm>
            <a:off x="11335740" y="60963"/>
            <a:ext cx="613376" cy="655256"/>
            <a:chOff x="5526523" y="2325890"/>
            <a:chExt cx="3423032" cy="3656747"/>
          </a:xfrm>
        </p:grpSpPr>
        <p:sp>
          <p:nvSpPr>
            <p:cNvPr id="29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30" name="Group 29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31" name="Donut 30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2" name="Oval 31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3" name="Oval 32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8925702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13" r:id="rId1"/>
    <p:sldLayoutId id="2147484214" r:id="rId2"/>
    <p:sldLayoutId id="2147484215" r:id="rId3"/>
    <p:sldLayoutId id="2147484216" r:id="rId4"/>
    <p:sldLayoutId id="2147484217" r:id="rId5"/>
    <p:sldLayoutId id="2147484218" r:id="rId6"/>
    <p:sldLayoutId id="2147484219" r:id="rId7"/>
    <p:sldLayoutId id="2147484220" r:id="rId8"/>
    <p:sldLayoutId id="2147484221" r:id="rId9"/>
    <p:sldLayoutId id="2147484222" r:id="rId10"/>
    <p:sldLayoutId id="2147484224" r:id="rId11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defTabSz="887123" rtl="0" eaLnBrk="1" fontAlgn="base" hangingPunct="1">
        <a:spcBef>
          <a:spcPct val="0"/>
        </a:spcBef>
        <a:spcAft>
          <a:spcPct val="0"/>
        </a:spcAft>
        <a:tabLst>
          <a:tab pos="267416" algn="l"/>
        </a:tabLst>
        <a:defRPr lang="en-US" sz="2000" b="1" baseline="0" noProof="0" dirty="0" smtClean="0">
          <a:solidFill>
            <a:schemeClr val="accent4"/>
          </a:solidFill>
          <a:latin typeface="Arial" panose="020B0604020202020204" pitchFamily="34" charset="0"/>
          <a:ea typeface="+mj-ea"/>
          <a:cs typeface="Arial" panose="020B0604020202020204" pitchFamily="34" charset="0"/>
          <a:sym typeface="Arial" panose="020B0604020202020204" pitchFamily="34" charset="0"/>
        </a:defRPr>
      </a:lvl1pPr>
      <a:lvl2pPr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2pPr>
      <a:lvl3pPr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3pPr>
      <a:lvl4pPr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4pPr>
      <a:lvl5pPr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5pPr>
      <a:lvl6pPr marL="453033"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6pPr>
      <a:lvl7pPr marL="906015"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7pPr>
      <a:lvl8pPr marL="1359002"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8pPr>
      <a:lvl9pPr marL="1812015"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87123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400" baseline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1pPr>
      <a:lvl2pPr marL="191923" indent="-191923" algn="l" defTabSz="887123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15000"/>
        <a:buFont typeface="Simplon BP Regular" pitchFamily="2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2pPr>
      <a:lvl3pPr marL="453033" indent="-259508" algn="l" defTabSz="887123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charset="0"/>
        <a:buChar char="–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3pPr>
      <a:lvl4pPr marL="608726" indent="-154184" algn="l" defTabSz="887123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pitchFamily="34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4pPr>
      <a:lvl5pPr marL="742907" indent="-128987" algn="l" defTabSz="887123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89000"/>
        <a:buFont typeface="Arial" charset="0"/>
        <a:buChar char="-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5pPr>
      <a:lvl6pPr marL="742907" indent="-128987" algn="l" defTabSz="88712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2907" indent="-128987" algn="l" defTabSz="88712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2907" indent="-128987" algn="l" defTabSz="88712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2907" indent="-128987" algn="l" defTabSz="88712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3033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06015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59002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12015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65017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18012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71019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24024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1978" y="358998"/>
            <a:ext cx="7338636" cy="102481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2014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1855253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2014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2014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23" tIns="46623" rIns="46623" bIns="46623" numCol="1" anchor="t" anchorCtr="0" compatLnSpc="1">
            <a:prstTxWarp prst="textNoShape">
              <a:avLst/>
            </a:prstTxWarp>
          </a:bodyPr>
          <a:lstStyle/>
          <a:p>
            <a:pPr defTabSz="59201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201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201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16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23" tIns="46623" rIns="46623" bIns="46623" numCol="1" anchor="t" anchorCtr="0" compatLnSpc="1">
            <a:prstTxWarp prst="textNoShape">
              <a:avLst/>
            </a:prstTxWarp>
          </a:bodyPr>
          <a:lstStyle/>
          <a:p>
            <a:pPr defTabSz="59201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201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201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23" tIns="46623" rIns="46623" bIns="46623" numCol="1" anchor="t" anchorCtr="0" compatLnSpc="1">
            <a:prstTxWarp prst="textNoShape">
              <a:avLst/>
            </a:prstTxWarp>
          </a:bodyPr>
          <a:lstStyle/>
          <a:p>
            <a:pPr defTabSz="59201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201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201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9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23" tIns="46623" rIns="46623" bIns="46623" numCol="1" anchor="t" anchorCtr="0" compatLnSpc="1">
            <a:prstTxWarp prst="textNoShape">
              <a:avLst/>
            </a:prstTxWarp>
          </a:bodyPr>
          <a:lstStyle/>
          <a:p>
            <a:pPr defTabSz="59201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201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201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Freeform 28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23" tIns="46623" rIns="46623" bIns="46623" numCol="1" anchor="t" anchorCtr="0" compatLnSpc="1">
            <a:prstTxWarp prst="textNoShape">
              <a:avLst/>
            </a:prstTxWarp>
          </a:bodyPr>
          <a:lstStyle/>
          <a:p>
            <a:pPr defTabSz="59201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201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201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23" tIns="46623" rIns="46623" bIns="46623" numCol="1" anchor="t" anchorCtr="0" compatLnSpc="1">
            <a:prstTxWarp prst="textNoShape">
              <a:avLst/>
            </a:prstTxWarp>
          </a:bodyPr>
          <a:lstStyle/>
          <a:p>
            <a:pPr defTabSz="59201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201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201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23" tIns="46623" rIns="46623" bIns="46623" numCol="1" anchor="t" anchorCtr="0" compatLnSpc="1">
            <a:prstTxWarp prst="textNoShape">
              <a:avLst/>
            </a:prstTxWarp>
          </a:bodyPr>
          <a:lstStyle/>
          <a:p>
            <a:pPr defTabSz="59201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201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2014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2" name="TextBox 39"/>
          <p:cNvSpPr txBox="1"/>
          <p:nvPr userDrawn="1"/>
        </p:nvSpPr>
        <p:spPr>
          <a:xfrm>
            <a:off x="9223673" y="6781954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2014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29" tIns="59216" rIns="118429" bIns="59216" numCol="1" anchor="t" anchorCtr="0" compatLnSpc="1">
            <a:prstTxWarp prst="textNoShape">
              <a:avLst/>
            </a:prstTxWarp>
          </a:bodyPr>
          <a:lstStyle/>
          <a:p>
            <a:pPr defTabSz="59201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29" tIns="59216" rIns="118429" bIns="59216" numCol="1" anchor="t" anchorCtr="0" compatLnSpc="1">
            <a:prstTxWarp prst="textNoShape">
              <a:avLst/>
            </a:prstTxWarp>
          </a:bodyPr>
          <a:lstStyle/>
          <a:p>
            <a:pPr defTabSz="59201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29" tIns="59216" rIns="118429" bIns="59216" numCol="1" anchor="t" anchorCtr="0" compatLnSpc="1">
            <a:prstTxWarp prst="textNoShape">
              <a:avLst/>
            </a:prstTxWarp>
          </a:bodyPr>
          <a:lstStyle/>
          <a:p>
            <a:pPr defTabSz="59201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29" tIns="59216" rIns="118429" bIns="59216" numCol="1" anchor="t" anchorCtr="0" compatLnSpc="1">
            <a:prstTxWarp prst="textNoShape">
              <a:avLst/>
            </a:prstTxWarp>
          </a:bodyPr>
          <a:lstStyle/>
          <a:p>
            <a:pPr defTabSz="59201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29" tIns="59216" rIns="118429" bIns="59216" numCol="1" anchor="t" anchorCtr="0" compatLnSpc="1">
            <a:prstTxWarp prst="textNoShape">
              <a:avLst/>
            </a:prstTxWarp>
          </a:bodyPr>
          <a:lstStyle/>
          <a:p>
            <a:pPr defTabSz="59201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29" tIns="59216" rIns="118429" bIns="59216" numCol="1" anchor="t" anchorCtr="0" compatLnSpc="1">
            <a:prstTxWarp prst="textNoShape">
              <a:avLst/>
            </a:prstTxWarp>
          </a:bodyPr>
          <a:lstStyle/>
          <a:p>
            <a:pPr defTabSz="59201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29" tIns="59216" rIns="118429" bIns="59216" numCol="1" anchor="t" anchorCtr="0" compatLnSpc="1">
            <a:prstTxWarp prst="textNoShape">
              <a:avLst/>
            </a:prstTxWarp>
          </a:bodyPr>
          <a:lstStyle/>
          <a:p>
            <a:pPr defTabSz="59201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29" tIns="59216" rIns="118429" bIns="59216" numCol="1" anchor="t" anchorCtr="0" compatLnSpc="1">
            <a:prstTxWarp prst="textNoShape">
              <a:avLst/>
            </a:prstTxWarp>
          </a:bodyPr>
          <a:lstStyle/>
          <a:p>
            <a:pPr defTabSz="59201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29" tIns="59216" rIns="118429" bIns="59216" numCol="1" anchor="t" anchorCtr="0" compatLnSpc="1">
            <a:prstTxWarp prst="textNoShape">
              <a:avLst/>
            </a:prstTxWarp>
          </a:bodyPr>
          <a:lstStyle/>
          <a:p>
            <a:pPr defTabSz="59201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29" tIns="59216" rIns="118429" bIns="59216" numCol="1" anchor="t" anchorCtr="0" compatLnSpc="1">
            <a:prstTxWarp prst="textNoShape">
              <a:avLst/>
            </a:prstTxWarp>
          </a:bodyPr>
          <a:lstStyle/>
          <a:p>
            <a:pPr defTabSz="59201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3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29" tIns="59216" rIns="118429" bIns="59216" numCol="1" anchor="t" anchorCtr="0" compatLnSpc="1">
            <a:prstTxWarp prst="textNoShape">
              <a:avLst/>
            </a:prstTxWarp>
          </a:bodyPr>
          <a:lstStyle/>
          <a:p>
            <a:pPr defTabSz="59201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29" tIns="59216" rIns="118429" bIns="59216" numCol="1" anchor="t" anchorCtr="0" compatLnSpc="1">
            <a:prstTxWarp prst="textNoShape">
              <a:avLst/>
            </a:prstTxWarp>
          </a:bodyPr>
          <a:lstStyle/>
          <a:p>
            <a:pPr defTabSz="592014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25430173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26" r:id="rId1"/>
    <p:sldLayoutId id="2147484227" r:id="rId2"/>
    <p:sldLayoutId id="2147484228" r:id="rId3"/>
    <p:sldLayoutId id="2147484229" r:id="rId4"/>
    <p:sldLayoutId id="2147484230" r:id="rId5"/>
    <p:sldLayoutId id="2147484231" r:id="rId6"/>
    <p:sldLayoutId id="2147484232" r:id="rId7"/>
    <p:sldLayoutId id="2147484233" r:id="rId8"/>
  </p:sldLayoutIdLst>
  <p:hf sldNum="0" hdr="0" ftr="0" dt="0"/>
  <p:txStyles>
    <p:titleStyle>
      <a:lvl1pPr algn="l" defTabSz="592014" rtl="0" eaLnBrk="1" latinLnBrk="0" hangingPunct="1">
        <a:lnSpc>
          <a:spcPts val="5486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A037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8464" indent="-238464" algn="l" defTabSz="59201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2810" indent="-228180" algn="l" defTabSz="59201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2810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0990" indent="-228180" algn="l" defTabSz="59201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0990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29176" indent="-228180" algn="l" defTabSz="59201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29176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57336" indent="-228180" algn="l" defTabSz="592014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57336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56240" indent="-295999" algn="l" defTabSz="592014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48275" indent="-295999" algn="l" defTabSz="592014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40318" indent="-295999" algn="l" defTabSz="592014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32360" indent="-295999" algn="l" defTabSz="592014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201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2014" algn="l" defTabSz="59201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4084" algn="l" defTabSz="59201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76135" algn="l" defTabSz="59201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68176" algn="l" defTabSz="59201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60216" algn="l" defTabSz="59201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52253" algn="l" defTabSz="59201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44302" algn="l" defTabSz="59201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36345" algn="l" defTabSz="59201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3678197128"/>
              </p:ext>
            </p:extLst>
          </p:nvPr>
        </p:nvGraphicFramePr>
        <p:xfrm>
          <a:off x="1" y="2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07078" name="Slide do think-cell" r:id="rId13" imgW="0" imgH="0" progId="TCLayout.ActiveDocument.1">
                  <p:embed/>
                </p:oleObj>
              </mc:Choice>
              <mc:Fallback>
                <p:oleObj name="Slide do think-cell" r:id="rId13" imgW="0" imgH="0" progId="TCLayout.ActiveDocument.1">
                  <p:embed/>
                  <p:pic>
                    <p:nvPicPr>
                      <p:cNvPr id="0" name="AutoShape 80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2"/>
                        <a:ext cx="211676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10776432" y="36518"/>
            <a:ext cx="876339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87223"/>
            <a:endParaRPr lang="pt-BR" sz="800" dirty="0">
              <a:solidFill>
                <a:srgbClr val="000000"/>
              </a:solidFill>
              <a:latin typeface="Arial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10557650" y="1932900"/>
            <a:ext cx="2596865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/02/2017 08:07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10682583" y="4106726"/>
            <a:ext cx="234679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936841" y="1951039"/>
            <a:ext cx="5736421" cy="11060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ext styles</a:t>
            </a:r>
          </a:p>
          <a:p>
            <a:pPr lvl="1"/>
            <a:r>
              <a:rPr lang="pt-BR" noProof="0" smtClean="0"/>
              <a:t>Second level</a:t>
            </a:r>
          </a:p>
          <a:p>
            <a:pPr lvl="2"/>
            <a:r>
              <a:rPr lang="pt-BR" noProof="0" smtClean="0"/>
              <a:t>Third level</a:t>
            </a:r>
          </a:p>
          <a:p>
            <a:pPr lvl="3"/>
            <a:r>
              <a:rPr lang="pt-BR" noProof="0" smtClean="0"/>
              <a:t>Fourth level</a:t>
            </a:r>
          </a:p>
          <a:p>
            <a:pPr lvl="4"/>
            <a:r>
              <a:rPr lang="pt-BR" noProof="0" smtClean="0"/>
              <a:t>Fifth level</a:t>
            </a:r>
            <a:endParaRPr lang="pt-BR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211676" y="230291"/>
            <a:ext cx="10530036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58862" y="26992"/>
            <a:ext cx="886083" cy="2212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pt-BR" sz="1400">
                <a:solidFill>
                  <a:srgbClr val="808080"/>
                </a:solidFill>
                <a:latin typeface="Arial"/>
                <a:cs typeface="Arial" panose="020B0604020202020204" pitchFamily="34" charset="0"/>
                <a:sym typeface="Arial" panose="020B0604020202020204" pitchFamily="34" charset="0"/>
              </a:rPr>
              <a:t>TRACKER</a:t>
            </a:r>
            <a:endParaRPr lang="pt-BR" sz="1400" dirty="0">
              <a:solidFill>
                <a:srgbClr val="808080"/>
              </a:solidFill>
              <a:latin typeface="Arial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58880" y="621837"/>
            <a:ext cx="11491891" cy="281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pt-BR" sz="1800" smtClean="0">
                <a:solidFill>
                  <a:srgbClr val="D5E7FF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Unit of measure</a:t>
            </a:r>
            <a:endParaRPr lang="pt-BR" sz="1800" dirty="0" smtClean="0">
              <a:solidFill>
                <a:srgbClr val="D5E7FF">
                  <a:lumMod val="75000"/>
                </a:srgbClr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158761" y="6265574"/>
            <a:ext cx="11398753" cy="358776"/>
            <a:chOff x="75" y="3877"/>
            <a:chExt cx="5385" cy="226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877"/>
              <a:ext cx="5385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pt-BR" sz="100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1 Footnote</a:t>
              </a:r>
              <a:endParaRPr lang="pt-BR" sz="1000" dirty="0" smtClean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06"/>
              <a:ext cx="4323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t" anchorCtr="0">
              <a:spAutoFit/>
            </a:bodyPr>
            <a:lstStyle/>
            <a:p>
              <a:pPr marL="604099" indent="-604099" defTabSz="887223">
                <a:tabLst>
                  <a:tab pos="607229" algn="l"/>
                </a:tabLst>
              </a:pPr>
              <a:r>
                <a:rPr lang="pt-BR" sz="1000" dirty="0">
                  <a:solidFill>
                    <a:srgbClr val="4D4D4D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FONTE: </a:t>
              </a:r>
              <a:r>
                <a:rPr lang="pt-BR" sz="1000" dirty="0" err="1">
                  <a:solidFill>
                    <a:srgbClr val="4D4D4D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Source</a:t>
              </a:r>
              <a:endParaRPr lang="pt-BR" sz="1000" dirty="0">
                <a:solidFill>
                  <a:srgbClr val="4D4D4D"/>
                </a:solidFill>
                <a:latin typeface="Arial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936840" y="1123960"/>
            <a:ext cx="5685618" cy="511174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 hidden="1"/>
            <p:cNvSpPr>
              <a:spLocks noChangeArrowheads="1"/>
            </p:cNvSpPr>
            <p:nvPr/>
          </p:nvSpPr>
          <p:spPr bwMode="auto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pt-BR" b="1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Title</a:t>
              </a:r>
            </a:p>
            <a:p>
              <a:r>
                <a:rPr lang="pt-BR">
                  <a:solidFill>
                    <a:srgbClr val="80808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Unit of measure</a:t>
              </a:r>
              <a:endParaRPr lang="pt-BR" dirty="0">
                <a:solidFill>
                  <a:srgbClr val="808080"/>
                </a:solidFill>
                <a:latin typeface="Arial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28" name="Group 27"/>
          <p:cNvGrpSpPr/>
          <p:nvPr userDrawn="1"/>
        </p:nvGrpSpPr>
        <p:grpSpPr>
          <a:xfrm>
            <a:off x="11335740" y="60963"/>
            <a:ext cx="613376" cy="655256"/>
            <a:chOff x="5526523" y="2325890"/>
            <a:chExt cx="3423032" cy="3656747"/>
          </a:xfrm>
        </p:grpSpPr>
        <p:sp>
          <p:nvSpPr>
            <p:cNvPr id="29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30" name="Group 29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31" name="Donut 30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2" name="Oval 31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3" name="Oval 32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2919152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8" r:id="rId1"/>
    <p:sldLayoutId id="2147483709" r:id="rId2"/>
    <p:sldLayoutId id="2147483710" r:id="rId3"/>
    <p:sldLayoutId id="2147483711" r:id="rId4"/>
    <p:sldLayoutId id="2147483712" r:id="rId5"/>
    <p:sldLayoutId id="2147483713" r:id="rId6"/>
    <p:sldLayoutId id="2147483714" r:id="rId7"/>
    <p:sldLayoutId id="2147483715" r:id="rId8"/>
    <p:sldLayoutId id="2147483716" r:id="rId9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defTabSz="887223" rtl="0" eaLnBrk="1" fontAlgn="base" hangingPunct="1">
        <a:spcBef>
          <a:spcPct val="0"/>
        </a:spcBef>
        <a:spcAft>
          <a:spcPct val="0"/>
        </a:spcAft>
        <a:tabLst>
          <a:tab pos="267446" algn="l"/>
        </a:tabLst>
        <a:defRPr lang="en-US" sz="2000" b="1" baseline="0" noProof="0" dirty="0" smtClean="0">
          <a:solidFill>
            <a:schemeClr val="accent4"/>
          </a:solidFill>
          <a:latin typeface="Arial" panose="020B0604020202020204" pitchFamily="34" charset="0"/>
          <a:ea typeface="+mj-ea"/>
          <a:cs typeface="Arial" panose="020B0604020202020204" pitchFamily="34" charset="0"/>
          <a:sym typeface="Arial" panose="020B0604020202020204" pitchFamily="34" charset="0"/>
        </a:defRPr>
      </a:lvl1pPr>
      <a:lvl2pPr algn="l" defTabSz="8872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2pPr>
      <a:lvl3pPr algn="l" defTabSz="8872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3pPr>
      <a:lvl4pPr algn="l" defTabSz="8872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4pPr>
      <a:lvl5pPr algn="l" defTabSz="8872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5pPr>
      <a:lvl6pPr marL="453084" algn="l" defTabSz="8872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6pPr>
      <a:lvl7pPr marL="906118" algn="l" defTabSz="8872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7pPr>
      <a:lvl8pPr marL="1359159" algn="l" defTabSz="8872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8pPr>
      <a:lvl9pPr marL="1812219" algn="l" defTabSz="8872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87223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400" baseline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1pPr>
      <a:lvl2pPr marL="191944" indent="-191944" algn="l" defTabSz="887223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15000"/>
        <a:buFont typeface="Simplon BP Regular" pitchFamily="2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2pPr>
      <a:lvl3pPr marL="453084" indent="-259538" algn="l" defTabSz="887223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charset="0"/>
        <a:buChar char="–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3pPr>
      <a:lvl4pPr marL="608793" indent="-154201" algn="l" defTabSz="887223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pitchFamily="34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4pPr>
      <a:lvl5pPr marL="742991" indent="-129000" algn="l" defTabSz="887223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89000"/>
        <a:buFont typeface="Arial" charset="0"/>
        <a:buChar char="-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5pPr>
      <a:lvl6pPr marL="742991" indent="-129000" algn="l" defTabSz="88722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2991" indent="-129000" algn="l" defTabSz="88722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2991" indent="-129000" algn="l" defTabSz="88722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2991" indent="-129000" algn="l" defTabSz="88722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061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3084" algn="l" defTabSz="9061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06118" algn="l" defTabSz="9061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59159" algn="l" defTabSz="9061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12219" algn="l" defTabSz="9061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65273" algn="l" defTabSz="9061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18319" algn="l" defTabSz="9061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71377" algn="l" defTabSz="9061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24436" algn="l" defTabSz="9061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82" y="1854733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2084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81813" y="1855253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9223673" y="6781955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1947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2739420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35" r:id="rId1"/>
    <p:sldLayoutId id="2147484236" r:id="rId2"/>
    <p:sldLayoutId id="2147484237" r:id="rId3"/>
    <p:sldLayoutId id="2147484238" r:id="rId4"/>
  </p:sldLayoutIdLst>
  <p:hf sldNum="0" hdr="0" ftr="0" dt="0"/>
  <p:txStyles>
    <p:titleStyle>
      <a:lvl1pPr algn="l" defTabSz="591947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8434" indent="-238434" algn="l" defTabSz="59194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2756" indent="-228154" algn="l" defTabSz="59194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2756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0913" indent="-228154" algn="l" defTabSz="59194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0913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29070" indent="-228154" algn="l" defTabSz="59194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29070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57207" indent="-228154" algn="l" defTabSz="59194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57207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55872" indent="-295965" algn="l" defTabSz="59194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47841" indent="-295965" algn="l" defTabSz="59194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39815" indent="-295965" algn="l" defTabSz="59194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31791" indent="-295965" algn="l" defTabSz="59194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1947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3950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75935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67908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59881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51854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43833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35810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6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82" y="1854670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2020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81813" y="1855192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69" tIns="46869" rIns="46869" bIns="46869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69" tIns="46869" rIns="46869" bIns="46869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69" tIns="46869" rIns="46869" bIns="46869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69" tIns="46869" rIns="46869" bIns="46869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69" tIns="46869" rIns="46869" bIns="46869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69" tIns="46869" rIns="46869" bIns="46869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519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519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69" tIns="46869" rIns="46869" bIns="46869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9223673" y="6781894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5190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051" tIns="59524" rIns="119051" bIns="59524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51" tIns="59524" rIns="119051" bIns="59524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51" tIns="59524" rIns="119051" bIns="59524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51" tIns="59524" rIns="119051" bIns="59524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051" tIns="59524" rIns="119051" bIns="59524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51" tIns="59524" rIns="119051" bIns="59524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51" tIns="59524" rIns="119051" bIns="59524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51" tIns="59524" rIns="119051" bIns="59524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051" tIns="59524" rIns="119051" bIns="59524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51" tIns="59524" rIns="119051" bIns="59524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51" tIns="59524" rIns="119051" bIns="59524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51" tIns="59524" rIns="119051" bIns="59524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63214781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40" r:id="rId1"/>
    <p:sldLayoutId id="2147484241" r:id="rId2"/>
    <p:sldLayoutId id="2147484242" r:id="rId3"/>
    <p:sldLayoutId id="2147484243" r:id="rId4"/>
  </p:sldLayoutIdLst>
  <p:hf sldNum="0" hdr="0" ftr="0" dt="0"/>
  <p:txStyles>
    <p:titleStyle>
      <a:lvl1pPr algn="l" defTabSz="595190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732" indent="-239732" algn="l" defTabSz="595190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5329" indent="-229398" algn="l" defTabSz="595190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5329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4729" indent="-229398" algn="l" defTabSz="595190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4729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4136" indent="-229398" algn="l" defTabSz="595190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4136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3533" indent="-229398" algn="l" defTabSz="595190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3533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73606" indent="-297593" algn="l" defTabSz="595190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68800" indent="-297593" algn="l" defTabSz="595190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63998" indent="-297593" algn="l" defTabSz="595190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59195" indent="-297593" algn="l" defTabSz="595190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51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5190" algn="l" defTabSz="5951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90402" algn="l" defTabSz="5951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5600" algn="l" defTabSz="5951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80801" algn="l" defTabSz="5951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76008" algn="l" defTabSz="5951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71203" algn="l" defTabSz="5951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66402" algn="l" defTabSz="5951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61600" algn="l" defTabSz="5951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6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82" y="1854703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2053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81813" y="1855222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9223673" y="6781924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3568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6402220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45" r:id="rId1"/>
    <p:sldLayoutId id="2147484246" r:id="rId2"/>
    <p:sldLayoutId id="2147484247" r:id="rId3"/>
    <p:sldLayoutId id="2147484248" r:id="rId4"/>
  </p:sldLayoutIdLst>
  <p:hf sldNum="0" hdr="0" ftr="0" dt="0"/>
  <p:txStyles>
    <p:titleStyle>
      <a:lvl1pPr algn="l" defTabSz="593568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086" indent="-239086" algn="l" defTabSz="59356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4041" indent="-228773" algn="l" defTabSz="59356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4041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2818" indent="-228773" algn="l" defTabSz="59356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2818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1601" indent="-228773" algn="l" defTabSz="59356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1601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0369" indent="-228773" algn="l" defTabSz="59356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0369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64727" indent="-296779" algn="l" defTabSz="59356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58307" indent="-296779" algn="l" defTabSz="59356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51888" indent="-296779" algn="l" defTabSz="59356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45481" indent="-296779" algn="l" defTabSz="59356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3568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7172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0762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4346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67935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61514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55098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48689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6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1978" y="358972"/>
            <a:ext cx="7338636" cy="102481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1855226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16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9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Freeform 28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2" name="TextBox 39"/>
          <p:cNvSpPr txBox="1"/>
          <p:nvPr userDrawn="1"/>
        </p:nvSpPr>
        <p:spPr>
          <a:xfrm>
            <a:off x="9223673" y="6781928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3363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3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8652780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50" r:id="rId1"/>
    <p:sldLayoutId id="2147484251" r:id="rId2"/>
    <p:sldLayoutId id="2147484252" r:id="rId3"/>
    <p:sldLayoutId id="2147484253" r:id="rId4"/>
    <p:sldLayoutId id="2147484254" r:id="rId5"/>
    <p:sldLayoutId id="2147484255" r:id="rId6"/>
    <p:sldLayoutId id="2147484256" r:id="rId7"/>
    <p:sldLayoutId id="2147484257" r:id="rId8"/>
  </p:sldLayoutIdLst>
  <p:hf sldNum="0" hdr="0" ftr="0" dt="0"/>
  <p:txStyles>
    <p:titleStyle>
      <a:lvl1pPr algn="l" defTabSz="593363" rtl="0" eaLnBrk="1" latinLnBrk="0" hangingPunct="1">
        <a:lnSpc>
          <a:spcPts val="5486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A037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005" indent="-239005" algn="l" defTabSz="59336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3881" indent="-228695" algn="l" defTabSz="59336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3881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2579" indent="-228695" algn="l" defTabSz="59336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2579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1282" indent="-228695" algn="l" defTabSz="59336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1282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59973" indent="-228695" algn="l" defTabSz="59336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59973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63617" indent="-296677" algn="l" defTabSz="59336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56998" indent="-296677" algn="l" defTabSz="59336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50378" indent="-296677" algn="l" defTabSz="59336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43767" indent="-296677" algn="l" defTabSz="59336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3363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6768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0158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3541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66928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60307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53688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47078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6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82" y="1854733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2084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81813" y="1855253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9223673" y="6781955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1947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5179904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60" r:id="rId1"/>
    <p:sldLayoutId id="2147484261" r:id="rId2"/>
    <p:sldLayoutId id="2147484262" r:id="rId3"/>
    <p:sldLayoutId id="2147484263" r:id="rId4"/>
  </p:sldLayoutIdLst>
  <p:hf sldNum="0" hdr="0" ftr="0" dt="0"/>
  <p:txStyles>
    <p:titleStyle>
      <a:lvl1pPr algn="l" defTabSz="591947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8434" indent="-238434" algn="l" defTabSz="59194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2756" indent="-228154" algn="l" defTabSz="59194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2756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0913" indent="-228154" algn="l" defTabSz="59194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0913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29070" indent="-228154" algn="l" defTabSz="59194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29070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57207" indent="-228154" algn="l" defTabSz="59194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57207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55872" indent="-295965" algn="l" defTabSz="59194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47841" indent="-295965" algn="l" defTabSz="59194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39815" indent="-295965" algn="l" defTabSz="59194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31791" indent="-295965" algn="l" defTabSz="59194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1947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3950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75935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67908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59881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51854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43833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35810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6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3404358994"/>
              </p:ext>
            </p:extLst>
          </p:nvPr>
        </p:nvGraphicFramePr>
        <p:xfrm>
          <a:off x="1" y="2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80721" name="Slide do think-cell" r:id="rId12" imgW="0" imgH="0" progId="TCLayout.ActiveDocument.1">
                  <p:embed/>
                </p:oleObj>
              </mc:Choice>
              <mc:Fallback>
                <p:oleObj name="Slide do think-cell" r:id="rId12" imgW="0" imgH="0" progId="TCLayout.ActiveDocument.1">
                  <p:embed/>
                  <p:pic>
                    <p:nvPicPr>
                      <p:cNvPr id="0" name="AutoShape 43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2"/>
                        <a:ext cx="211676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10776432" y="36518"/>
            <a:ext cx="876339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3879"/>
            <a:endParaRPr lang="pt-BR" sz="8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10519874" y="1932900"/>
            <a:ext cx="267220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10682583" y="4106726"/>
            <a:ext cx="234679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936841" y="1951039"/>
            <a:ext cx="5736421" cy="11060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ext styles</a:t>
            </a:r>
          </a:p>
          <a:p>
            <a:pPr lvl="1"/>
            <a:r>
              <a:rPr lang="pt-BR" noProof="0" smtClean="0"/>
              <a:t>Second level</a:t>
            </a:r>
          </a:p>
          <a:p>
            <a:pPr lvl="2"/>
            <a:r>
              <a:rPr lang="pt-BR" noProof="0" smtClean="0"/>
              <a:t>Third level</a:t>
            </a:r>
          </a:p>
          <a:p>
            <a:pPr lvl="3"/>
            <a:r>
              <a:rPr lang="pt-BR" noProof="0" smtClean="0"/>
              <a:t>Fourth level</a:t>
            </a:r>
          </a:p>
          <a:p>
            <a:pPr lvl="4"/>
            <a:r>
              <a:rPr lang="pt-BR" noProof="0" smtClean="0"/>
              <a:t>Fifth level</a:t>
            </a:r>
            <a:endParaRPr lang="pt-BR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211676" y="230206"/>
            <a:ext cx="10530036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58776" y="26992"/>
            <a:ext cx="886083" cy="2212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pt-BR" sz="1400" smtClean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TRACKER</a:t>
            </a:r>
            <a:endParaRPr lang="pt-BR" sz="1400" dirty="0">
              <a:solidFill>
                <a:srgbClr val="80808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58798" y="621826"/>
            <a:ext cx="11491891" cy="281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pt-BR" sz="1800" smtClean="0">
                <a:solidFill>
                  <a:srgbClr val="D5E7FF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Unit of measure</a:t>
            </a:r>
            <a:endParaRPr lang="pt-BR" sz="1800" dirty="0" smtClean="0">
              <a:solidFill>
                <a:srgbClr val="D5E7FF">
                  <a:lumMod val="75000"/>
                </a:srgbClr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158761" y="6266357"/>
            <a:ext cx="11398753" cy="358776"/>
            <a:chOff x="75" y="3877"/>
            <a:chExt cx="5385" cy="226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877"/>
              <a:ext cx="5385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pt-BR" sz="100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1 Footnote</a:t>
              </a:r>
              <a:endParaRPr lang="pt-BR" sz="1000" dirty="0" smtClean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06"/>
              <a:ext cx="4323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t" anchorCtr="0">
              <a:spAutoFit/>
            </a:bodyPr>
            <a:lstStyle/>
            <a:p>
              <a:pPr marL="608601" indent="-608601" defTabSz="893879">
                <a:tabLst>
                  <a:tab pos="611771" algn="l"/>
                </a:tabLst>
              </a:pPr>
              <a:r>
                <a:rPr lang="pt-BR" sz="1000" dirty="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FONTE: </a:t>
              </a:r>
              <a:r>
                <a:rPr lang="pt-BR" sz="1000" dirty="0" err="1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ource</a:t>
              </a:r>
              <a:endParaRPr lang="pt-BR" sz="1000" dirty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936840" y="1123953"/>
            <a:ext cx="5685618" cy="511174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 hidden="1"/>
            <p:cNvSpPr>
              <a:spLocks noChangeArrowheads="1"/>
            </p:cNvSpPr>
            <p:nvPr/>
          </p:nvSpPr>
          <p:spPr bwMode="auto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pt-BR" b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itle</a:t>
              </a:r>
            </a:p>
            <a:p>
              <a:r>
                <a:rPr lang="pt-BR" smtClean="0">
                  <a:solidFill>
                    <a:srgbClr val="80808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Unit of measure</a:t>
              </a:r>
              <a:endParaRPr lang="pt-BR" dirty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28" name="Group 27"/>
          <p:cNvGrpSpPr/>
          <p:nvPr userDrawn="1"/>
        </p:nvGrpSpPr>
        <p:grpSpPr>
          <a:xfrm>
            <a:off x="11335740" y="60963"/>
            <a:ext cx="613376" cy="655256"/>
            <a:chOff x="5526523" y="2325890"/>
            <a:chExt cx="3423032" cy="3656747"/>
          </a:xfrm>
        </p:grpSpPr>
        <p:sp>
          <p:nvSpPr>
            <p:cNvPr id="29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30" name="Group 29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31" name="Donut 30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2" name="Oval 31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3" name="Oval 32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42267851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66" r:id="rId1"/>
    <p:sldLayoutId id="2147484267" r:id="rId2"/>
    <p:sldLayoutId id="2147484268" r:id="rId3"/>
    <p:sldLayoutId id="2147484269" r:id="rId4"/>
    <p:sldLayoutId id="2147484270" r:id="rId5"/>
    <p:sldLayoutId id="2147484271" r:id="rId6"/>
    <p:sldLayoutId id="2147484272" r:id="rId7"/>
    <p:sldLayoutId id="2147484273" r:id="rId8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defTabSz="893879" rtl="0" eaLnBrk="1" fontAlgn="base" hangingPunct="1">
        <a:spcBef>
          <a:spcPct val="0"/>
        </a:spcBef>
        <a:spcAft>
          <a:spcPct val="0"/>
        </a:spcAft>
        <a:tabLst>
          <a:tab pos="269438" algn="l"/>
        </a:tabLst>
        <a:defRPr lang="en-US" sz="2000" b="1" baseline="0" noProof="0" dirty="0" smtClean="0">
          <a:solidFill>
            <a:schemeClr val="accent4"/>
          </a:solidFill>
          <a:latin typeface="Arial" panose="020B0604020202020204" pitchFamily="34" charset="0"/>
          <a:ea typeface="+mj-ea"/>
          <a:cs typeface="Arial" panose="020B0604020202020204" pitchFamily="34" charset="0"/>
          <a:sym typeface="Arial" panose="020B0604020202020204" pitchFamily="34" charset="0"/>
        </a:defRPr>
      </a:lvl1pPr>
      <a:lvl2pPr algn="l" defTabSz="893879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2pPr>
      <a:lvl3pPr algn="l" defTabSz="893879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3pPr>
      <a:lvl4pPr algn="l" defTabSz="893879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4pPr>
      <a:lvl5pPr algn="l" defTabSz="893879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5pPr>
      <a:lvl6pPr marL="456454" algn="l" defTabSz="893879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6pPr>
      <a:lvl7pPr marL="912902" algn="l" defTabSz="893879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7pPr>
      <a:lvl8pPr marL="1369348" algn="l" defTabSz="893879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8pPr>
      <a:lvl9pPr marL="1825805" algn="l" defTabSz="893879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3879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400" baseline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1pPr>
      <a:lvl2pPr marL="193362" indent="-193362" algn="l" defTabSz="893879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15000"/>
        <a:buFont typeface="Simplon BP Regular" pitchFamily="2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2pPr>
      <a:lvl3pPr marL="456454" indent="-261503" algn="l" defTabSz="893879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charset="0"/>
        <a:buChar char="–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3pPr>
      <a:lvl4pPr marL="613358" indent="-155325" algn="l" defTabSz="893879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pitchFamily="34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4pPr>
      <a:lvl5pPr marL="748581" indent="-129962" algn="l" defTabSz="893879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89000"/>
        <a:buFont typeface="Arial" charset="0"/>
        <a:buChar char="-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5pPr>
      <a:lvl6pPr marL="748581" indent="-129962" algn="l" defTabSz="89387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8581" indent="-129962" algn="l" defTabSz="89387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8581" indent="-129962" algn="l" defTabSz="89387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8581" indent="-129962" algn="l" defTabSz="89387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290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454" algn="l" defTabSz="91290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2902" algn="l" defTabSz="91290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9348" algn="l" defTabSz="91290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5805" algn="l" defTabSz="91290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2250" algn="l" defTabSz="91290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38697" algn="l" defTabSz="91290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5156" algn="l" defTabSz="91290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1612" algn="l" defTabSz="91290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221922442"/>
              </p:ext>
            </p:extLst>
          </p:nvPr>
        </p:nvGraphicFramePr>
        <p:xfrm>
          <a:off x="2077" y="2077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84813" name="Slide do think-cell" r:id="rId12" imgW="0" imgH="0" progId="TCLayout.ActiveDocument.1">
                  <p:embed/>
                </p:oleObj>
              </mc:Choice>
              <mc:Fallback>
                <p:oleObj name="Slide do think-cell" r:id="rId12" imgW="0" imgH="0" progId="TCLayout.ActiveDocument.1">
                  <p:embed/>
                  <p:pic>
                    <p:nvPicPr>
                      <p:cNvPr id="0" name="AutoShape 43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77" y="2077"/>
                        <a:ext cx="2074" cy="20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1978" y="359001"/>
            <a:ext cx="7338636" cy="102481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1855253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16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9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Freeform 28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2" name="TextBox 39"/>
          <p:cNvSpPr txBox="1"/>
          <p:nvPr userDrawn="1"/>
        </p:nvSpPr>
        <p:spPr>
          <a:xfrm>
            <a:off x="9223673" y="6781955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1947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3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3627411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76" r:id="rId1"/>
    <p:sldLayoutId id="2147484277" r:id="rId2"/>
    <p:sldLayoutId id="2147484278" r:id="rId3"/>
    <p:sldLayoutId id="2147484279" r:id="rId4"/>
    <p:sldLayoutId id="2147484280" r:id="rId5"/>
    <p:sldLayoutId id="2147484281" r:id="rId6"/>
    <p:sldLayoutId id="2147484282" r:id="rId7"/>
    <p:sldLayoutId id="2147484283" r:id="rId8"/>
  </p:sldLayoutIdLst>
  <p:hf sldNum="0" hdr="0" ftr="0" dt="0"/>
  <p:txStyles>
    <p:titleStyle>
      <a:lvl1pPr algn="l" defTabSz="591947" rtl="0" eaLnBrk="1" latinLnBrk="0" hangingPunct="1">
        <a:lnSpc>
          <a:spcPts val="5486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A037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8434" indent="-238434" algn="l" defTabSz="59194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2756" indent="-228154" algn="l" defTabSz="59194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2756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0913" indent="-228154" algn="l" defTabSz="59194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0913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29070" indent="-228154" algn="l" defTabSz="59194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29070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57207" indent="-228154" algn="l" defTabSz="59194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57207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55872" indent="-295965" algn="l" defTabSz="59194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47841" indent="-295965" algn="l" defTabSz="59194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39815" indent="-295965" algn="l" defTabSz="59194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31791" indent="-295965" algn="l" defTabSz="59194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1947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3950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75935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67908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59881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51854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43833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35810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6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3961913830"/>
              </p:ext>
            </p:extLst>
          </p:nvPr>
        </p:nvGraphicFramePr>
        <p:xfrm>
          <a:off x="1" y="2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87885" name="Slide do think-cell" r:id="rId12" imgW="0" imgH="0" progId="TCLayout.ActiveDocument.1">
                  <p:embed/>
                </p:oleObj>
              </mc:Choice>
              <mc:Fallback>
                <p:oleObj name="Slide do think-cell" r:id="rId12" imgW="0" imgH="0" progId="TCLayout.ActiveDocument.1">
                  <p:embed/>
                  <p:pic>
                    <p:nvPicPr>
                      <p:cNvPr id="0" name="AutoShape 43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2"/>
                        <a:ext cx="211676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10776432" y="36518"/>
            <a:ext cx="876339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3879"/>
            <a:endParaRPr lang="pt-BR" sz="8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10519874" y="1932900"/>
            <a:ext cx="267220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10682583" y="4106726"/>
            <a:ext cx="234679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936841" y="1951039"/>
            <a:ext cx="5736421" cy="11060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ext styles</a:t>
            </a:r>
          </a:p>
          <a:p>
            <a:pPr lvl="1"/>
            <a:r>
              <a:rPr lang="pt-BR" noProof="0" smtClean="0"/>
              <a:t>Second level</a:t>
            </a:r>
          </a:p>
          <a:p>
            <a:pPr lvl="2"/>
            <a:r>
              <a:rPr lang="pt-BR" noProof="0" smtClean="0"/>
              <a:t>Third level</a:t>
            </a:r>
          </a:p>
          <a:p>
            <a:pPr lvl="3"/>
            <a:r>
              <a:rPr lang="pt-BR" noProof="0" smtClean="0"/>
              <a:t>Fourth level</a:t>
            </a:r>
          </a:p>
          <a:p>
            <a:pPr lvl="4"/>
            <a:r>
              <a:rPr lang="pt-BR" noProof="0" smtClean="0"/>
              <a:t>Fifth level</a:t>
            </a:r>
            <a:endParaRPr lang="pt-BR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211676" y="230206"/>
            <a:ext cx="10530036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58776" y="26992"/>
            <a:ext cx="886083" cy="2212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pt-BR" sz="1400" smtClean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TRACKER</a:t>
            </a:r>
            <a:endParaRPr lang="pt-BR" sz="1400" dirty="0">
              <a:solidFill>
                <a:srgbClr val="80808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58798" y="621826"/>
            <a:ext cx="11491891" cy="281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pt-BR" sz="1800" smtClean="0">
                <a:solidFill>
                  <a:srgbClr val="D5E7FF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Unit of measure</a:t>
            </a:r>
            <a:endParaRPr lang="pt-BR" sz="1800" dirty="0" smtClean="0">
              <a:solidFill>
                <a:srgbClr val="D5E7FF">
                  <a:lumMod val="75000"/>
                </a:srgbClr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158761" y="6266357"/>
            <a:ext cx="11398753" cy="358776"/>
            <a:chOff x="75" y="3877"/>
            <a:chExt cx="5385" cy="226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877"/>
              <a:ext cx="5385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pt-BR" sz="100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1 Footnote</a:t>
              </a:r>
              <a:endParaRPr lang="pt-BR" sz="1000" dirty="0" smtClean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06"/>
              <a:ext cx="4323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t" anchorCtr="0">
              <a:spAutoFit/>
            </a:bodyPr>
            <a:lstStyle/>
            <a:p>
              <a:pPr marL="608601" indent="-608601" defTabSz="893879">
                <a:tabLst>
                  <a:tab pos="611771" algn="l"/>
                </a:tabLst>
              </a:pPr>
              <a:r>
                <a:rPr lang="pt-BR" sz="1000" dirty="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FONTE: </a:t>
              </a:r>
              <a:r>
                <a:rPr lang="pt-BR" sz="1000" dirty="0" err="1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ource</a:t>
              </a:r>
              <a:endParaRPr lang="pt-BR" sz="1000" dirty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936840" y="1123953"/>
            <a:ext cx="5685618" cy="511174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 hidden="1"/>
            <p:cNvSpPr>
              <a:spLocks noChangeArrowheads="1"/>
            </p:cNvSpPr>
            <p:nvPr/>
          </p:nvSpPr>
          <p:spPr bwMode="auto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pt-BR" b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itle</a:t>
              </a:r>
            </a:p>
            <a:p>
              <a:r>
                <a:rPr lang="pt-BR" smtClean="0">
                  <a:solidFill>
                    <a:srgbClr val="80808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Unit of measure</a:t>
              </a:r>
              <a:endParaRPr lang="pt-BR" dirty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28" name="Group 27"/>
          <p:cNvGrpSpPr/>
          <p:nvPr userDrawn="1"/>
        </p:nvGrpSpPr>
        <p:grpSpPr>
          <a:xfrm>
            <a:off x="11335740" y="60963"/>
            <a:ext cx="613376" cy="655256"/>
            <a:chOff x="5526523" y="2325890"/>
            <a:chExt cx="3423032" cy="3656747"/>
          </a:xfrm>
        </p:grpSpPr>
        <p:sp>
          <p:nvSpPr>
            <p:cNvPr id="29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30" name="Group 29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31" name="Donut 30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2" name="Oval 31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3" name="Oval 32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36238571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86" r:id="rId1"/>
    <p:sldLayoutId id="2147484287" r:id="rId2"/>
    <p:sldLayoutId id="2147484288" r:id="rId3"/>
    <p:sldLayoutId id="2147484289" r:id="rId4"/>
    <p:sldLayoutId id="2147484290" r:id="rId5"/>
    <p:sldLayoutId id="2147484291" r:id="rId6"/>
    <p:sldLayoutId id="2147484292" r:id="rId7"/>
    <p:sldLayoutId id="2147484293" r:id="rId8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defTabSz="893879" rtl="0" eaLnBrk="1" fontAlgn="base" hangingPunct="1">
        <a:spcBef>
          <a:spcPct val="0"/>
        </a:spcBef>
        <a:spcAft>
          <a:spcPct val="0"/>
        </a:spcAft>
        <a:tabLst>
          <a:tab pos="269438" algn="l"/>
        </a:tabLst>
        <a:defRPr lang="en-US" sz="2000" b="1" baseline="0" noProof="0" dirty="0" smtClean="0">
          <a:solidFill>
            <a:schemeClr val="accent4"/>
          </a:solidFill>
          <a:latin typeface="Arial" panose="020B0604020202020204" pitchFamily="34" charset="0"/>
          <a:ea typeface="+mj-ea"/>
          <a:cs typeface="Arial" panose="020B0604020202020204" pitchFamily="34" charset="0"/>
          <a:sym typeface="Arial" panose="020B0604020202020204" pitchFamily="34" charset="0"/>
        </a:defRPr>
      </a:lvl1pPr>
      <a:lvl2pPr algn="l" defTabSz="893879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2pPr>
      <a:lvl3pPr algn="l" defTabSz="893879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3pPr>
      <a:lvl4pPr algn="l" defTabSz="893879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4pPr>
      <a:lvl5pPr algn="l" defTabSz="893879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5pPr>
      <a:lvl6pPr marL="456454" algn="l" defTabSz="893879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6pPr>
      <a:lvl7pPr marL="912902" algn="l" defTabSz="893879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7pPr>
      <a:lvl8pPr marL="1369348" algn="l" defTabSz="893879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8pPr>
      <a:lvl9pPr marL="1825805" algn="l" defTabSz="893879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3879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400" baseline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1pPr>
      <a:lvl2pPr marL="193362" indent="-193362" algn="l" defTabSz="893879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15000"/>
        <a:buFont typeface="Simplon BP Regular" pitchFamily="2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2pPr>
      <a:lvl3pPr marL="456454" indent="-261503" algn="l" defTabSz="893879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charset="0"/>
        <a:buChar char="–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3pPr>
      <a:lvl4pPr marL="613358" indent="-155325" algn="l" defTabSz="893879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pitchFamily="34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4pPr>
      <a:lvl5pPr marL="748581" indent="-129962" algn="l" defTabSz="893879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89000"/>
        <a:buFont typeface="Arial" charset="0"/>
        <a:buChar char="-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5pPr>
      <a:lvl6pPr marL="748581" indent="-129962" algn="l" defTabSz="89387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8581" indent="-129962" algn="l" defTabSz="89387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8581" indent="-129962" algn="l" defTabSz="89387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8581" indent="-129962" algn="l" defTabSz="89387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290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454" algn="l" defTabSz="91290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2902" algn="l" defTabSz="91290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9348" algn="l" defTabSz="91290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5805" algn="l" defTabSz="91290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2250" algn="l" defTabSz="91290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38697" algn="l" defTabSz="91290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5156" algn="l" defTabSz="91290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1612" algn="l" defTabSz="91290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1720554413"/>
              </p:ext>
            </p:extLst>
          </p:nvPr>
        </p:nvGraphicFramePr>
        <p:xfrm>
          <a:off x="1" y="2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91977" name="Slide do think-cell" r:id="rId14" imgW="0" imgH="0" progId="TCLayout.ActiveDocument.1">
                  <p:embed/>
                </p:oleObj>
              </mc:Choice>
              <mc:Fallback>
                <p:oleObj name="Slide do think-cell" r:id="rId14" imgW="0" imgH="0" progId="TCLayout.ActiveDocument.1">
                  <p:embed/>
                  <p:pic>
                    <p:nvPicPr>
                      <p:cNvPr id="0" name="AutoShape 42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2"/>
                        <a:ext cx="211676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10776432" y="36518"/>
            <a:ext cx="876339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87123"/>
            <a:endParaRPr lang="pt-BR" sz="8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10519874" y="1932900"/>
            <a:ext cx="267220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10682583" y="4106726"/>
            <a:ext cx="234679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936841" y="1951039"/>
            <a:ext cx="5736421" cy="11060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ext styles</a:t>
            </a:r>
          </a:p>
          <a:p>
            <a:pPr lvl="1"/>
            <a:r>
              <a:rPr lang="pt-BR" noProof="0" smtClean="0"/>
              <a:t>Second level</a:t>
            </a:r>
          </a:p>
          <a:p>
            <a:pPr lvl="2"/>
            <a:r>
              <a:rPr lang="pt-BR" noProof="0" smtClean="0"/>
              <a:t>Third level</a:t>
            </a:r>
          </a:p>
          <a:p>
            <a:pPr lvl="3"/>
            <a:r>
              <a:rPr lang="pt-BR" noProof="0" smtClean="0"/>
              <a:t>Fourth level</a:t>
            </a:r>
          </a:p>
          <a:p>
            <a:pPr lvl="4"/>
            <a:r>
              <a:rPr lang="pt-BR" noProof="0" smtClean="0"/>
              <a:t>Fifth level</a:t>
            </a:r>
            <a:endParaRPr lang="pt-BR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211676" y="230292"/>
            <a:ext cx="10530036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58865" y="26992"/>
            <a:ext cx="886083" cy="2212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pt-BR" sz="1400" smtClean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TRACKER</a:t>
            </a:r>
            <a:endParaRPr lang="pt-BR" sz="1400" dirty="0">
              <a:solidFill>
                <a:srgbClr val="80808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58886" y="621826"/>
            <a:ext cx="11491891" cy="281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pt-BR" sz="1800" smtClean="0">
                <a:solidFill>
                  <a:srgbClr val="D5E7FF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Unit of measure</a:t>
            </a:r>
            <a:endParaRPr lang="pt-BR" sz="1800" dirty="0" smtClean="0">
              <a:solidFill>
                <a:srgbClr val="D5E7FF">
                  <a:lumMod val="75000"/>
                </a:srgbClr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158761" y="6265569"/>
            <a:ext cx="11398753" cy="358776"/>
            <a:chOff x="75" y="3877"/>
            <a:chExt cx="5385" cy="226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877"/>
              <a:ext cx="5385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pt-BR" sz="100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1 Footnote</a:t>
              </a:r>
              <a:endParaRPr lang="pt-BR" sz="1000" dirty="0" smtClean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06"/>
              <a:ext cx="4323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t" anchorCtr="0">
              <a:spAutoFit/>
            </a:bodyPr>
            <a:lstStyle/>
            <a:p>
              <a:pPr marL="604031" indent="-604031" defTabSz="887123">
                <a:tabLst>
                  <a:tab pos="607161" algn="l"/>
                </a:tabLst>
              </a:pPr>
              <a:r>
                <a:rPr lang="pt-BR" sz="1000" dirty="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FONTE: </a:t>
              </a:r>
              <a:r>
                <a:rPr lang="pt-BR" sz="1000" dirty="0" err="1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ource</a:t>
              </a:r>
              <a:endParaRPr lang="pt-BR" sz="1000" dirty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936840" y="1123953"/>
            <a:ext cx="5685618" cy="511174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 hidden="1"/>
            <p:cNvSpPr>
              <a:spLocks noChangeArrowheads="1"/>
            </p:cNvSpPr>
            <p:nvPr/>
          </p:nvSpPr>
          <p:spPr bwMode="auto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pt-BR" b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itle</a:t>
              </a:r>
            </a:p>
            <a:p>
              <a:r>
                <a:rPr lang="pt-BR" smtClean="0">
                  <a:solidFill>
                    <a:srgbClr val="80808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Unit of measure</a:t>
              </a:r>
              <a:endParaRPr lang="pt-BR" dirty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28" name="Group 27"/>
          <p:cNvGrpSpPr/>
          <p:nvPr userDrawn="1"/>
        </p:nvGrpSpPr>
        <p:grpSpPr>
          <a:xfrm>
            <a:off x="11335740" y="60963"/>
            <a:ext cx="613376" cy="655256"/>
            <a:chOff x="5526523" y="2325890"/>
            <a:chExt cx="3423032" cy="3656747"/>
          </a:xfrm>
        </p:grpSpPr>
        <p:sp>
          <p:nvSpPr>
            <p:cNvPr id="29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30" name="Group 29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31" name="Donut 30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2" name="Oval 31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3" name="Oval 32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8591360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95" r:id="rId1"/>
    <p:sldLayoutId id="2147484296" r:id="rId2"/>
    <p:sldLayoutId id="2147484297" r:id="rId3"/>
    <p:sldLayoutId id="2147484298" r:id="rId4"/>
    <p:sldLayoutId id="2147484299" r:id="rId5"/>
    <p:sldLayoutId id="2147484300" r:id="rId6"/>
    <p:sldLayoutId id="2147484301" r:id="rId7"/>
    <p:sldLayoutId id="2147484302" r:id="rId8"/>
    <p:sldLayoutId id="2147484304" r:id="rId9"/>
    <p:sldLayoutId id="2147484305" r:id="rId10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defTabSz="887123" rtl="0" eaLnBrk="1" fontAlgn="base" hangingPunct="1">
        <a:spcBef>
          <a:spcPct val="0"/>
        </a:spcBef>
        <a:spcAft>
          <a:spcPct val="0"/>
        </a:spcAft>
        <a:tabLst>
          <a:tab pos="267416" algn="l"/>
        </a:tabLst>
        <a:defRPr lang="en-US" sz="2000" b="1" baseline="0" noProof="0" dirty="0" smtClean="0">
          <a:solidFill>
            <a:schemeClr val="accent4"/>
          </a:solidFill>
          <a:latin typeface="Arial" panose="020B0604020202020204" pitchFamily="34" charset="0"/>
          <a:ea typeface="+mj-ea"/>
          <a:cs typeface="Arial" panose="020B0604020202020204" pitchFamily="34" charset="0"/>
          <a:sym typeface="Arial" panose="020B0604020202020204" pitchFamily="34" charset="0"/>
        </a:defRPr>
      </a:lvl1pPr>
      <a:lvl2pPr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2pPr>
      <a:lvl3pPr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3pPr>
      <a:lvl4pPr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4pPr>
      <a:lvl5pPr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5pPr>
      <a:lvl6pPr marL="453033"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6pPr>
      <a:lvl7pPr marL="906015"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7pPr>
      <a:lvl8pPr marL="1359002"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8pPr>
      <a:lvl9pPr marL="1812015"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87123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400" baseline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1pPr>
      <a:lvl2pPr marL="191923" indent="-191923" algn="l" defTabSz="887123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15000"/>
        <a:buFont typeface="Simplon BP Regular" pitchFamily="2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2pPr>
      <a:lvl3pPr marL="453033" indent="-259508" algn="l" defTabSz="887123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charset="0"/>
        <a:buChar char="–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3pPr>
      <a:lvl4pPr marL="608726" indent="-154184" algn="l" defTabSz="887123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pitchFamily="34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4pPr>
      <a:lvl5pPr marL="742907" indent="-128987" algn="l" defTabSz="887123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89000"/>
        <a:buFont typeface="Arial" charset="0"/>
        <a:buChar char="-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5pPr>
      <a:lvl6pPr marL="742907" indent="-128987" algn="l" defTabSz="88712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2907" indent="-128987" algn="l" defTabSz="88712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2907" indent="-128987" algn="l" defTabSz="88712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2907" indent="-128987" algn="l" defTabSz="88712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3033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06015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59002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12015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65017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18012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71019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24024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1978" y="358972"/>
            <a:ext cx="7338636" cy="102481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1855226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16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9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Freeform 28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2" name="TextBox 39"/>
          <p:cNvSpPr txBox="1"/>
          <p:nvPr userDrawn="1"/>
        </p:nvSpPr>
        <p:spPr>
          <a:xfrm>
            <a:off x="9223673" y="6781928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3363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3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3070123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07" r:id="rId1"/>
    <p:sldLayoutId id="2147484308" r:id="rId2"/>
    <p:sldLayoutId id="2147484309" r:id="rId3"/>
    <p:sldLayoutId id="2147484310" r:id="rId4"/>
    <p:sldLayoutId id="2147484311" r:id="rId5"/>
    <p:sldLayoutId id="2147484312" r:id="rId6"/>
    <p:sldLayoutId id="2147484313" r:id="rId7"/>
    <p:sldLayoutId id="2147484314" r:id="rId8"/>
  </p:sldLayoutIdLst>
  <p:hf sldNum="0" hdr="0" ftr="0" dt="0"/>
  <p:txStyles>
    <p:titleStyle>
      <a:lvl1pPr algn="l" defTabSz="593363" rtl="0" eaLnBrk="1" latinLnBrk="0" hangingPunct="1">
        <a:lnSpc>
          <a:spcPts val="5486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A037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005" indent="-239005" algn="l" defTabSz="59336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3881" indent="-228695" algn="l" defTabSz="59336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3881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2579" indent="-228695" algn="l" defTabSz="59336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2579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1282" indent="-228695" algn="l" defTabSz="59336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1282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59973" indent="-228695" algn="l" defTabSz="59336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59973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63617" indent="-296677" algn="l" defTabSz="59336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56998" indent="-296677" algn="l" defTabSz="59336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50378" indent="-296677" algn="l" defTabSz="59336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43767" indent="-296677" algn="l" defTabSz="59336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3363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6768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0158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3541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66928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60307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53688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47078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/>
          </p:nvPr>
        </p:nvGraphicFramePr>
        <p:xfrm>
          <a:off x="1" y="2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12197" name="Slide do think-cell" r:id="rId12" imgW="0" imgH="0" progId="TCLayout.ActiveDocument.1">
                  <p:embed/>
                </p:oleObj>
              </mc:Choice>
              <mc:Fallback>
                <p:oleObj name="Slide do think-cell" r:id="rId12" imgW="0" imgH="0" progId="TCLayout.ActiveDocument.1">
                  <p:embed/>
                  <p:pic>
                    <p:nvPicPr>
                      <p:cNvPr id="0" name="AutoShape 80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2"/>
                        <a:ext cx="211676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10776432" y="36518"/>
            <a:ext cx="876339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678912"/>
            <a:endParaRPr lang="pt-BR" sz="700" dirty="0">
              <a:solidFill>
                <a:srgbClr val="000000"/>
              </a:solidFill>
              <a:latin typeface="Arial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10936668" y="1948289"/>
            <a:ext cx="1838645" cy="769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5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/02/2017 12:16 E. South America Standard Time</a:t>
            </a:r>
            <a:endParaRPr lang="pt-BR" sz="1200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11024826" y="4122115"/>
            <a:ext cx="1662315" cy="769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5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sz="1200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936841" y="1951056"/>
            <a:ext cx="5736421" cy="76944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ext styles</a:t>
            </a:r>
          </a:p>
          <a:p>
            <a:pPr lvl="1"/>
            <a:r>
              <a:rPr lang="pt-BR" noProof="0" smtClean="0"/>
              <a:t>Second level</a:t>
            </a:r>
          </a:p>
          <a:p>
            <a:pPr lvl="2"/>
            <a:r>
              <a:rPr lang="pt-BR" noProof="0" smtClean="0"/>
              <a:t>Third level</a:t>
            </a:r>
          </a:p>
          <a:p>
            <a:pPr lvl="3"/>
            <a:r>
              <a:rPr lang="pt-BR" noProof="0" smtClean="0"/>
              <a:t>Fourth level</a:t>
            </a:r>
          </a:p>
          <a:p>
            <a:pPr lvl="4"/>
            <a:r>
              <a:rPr lang="pt-BR" noProof="0" smtClean="0"/>
              <a:t>Fifth level</a:t>
            </a:r>
            <a:endParaRPr lang="pt-BR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211676" y="230288"/>
            <a:ext cx="10530036" cy="2212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58773" y="27000"/>
            <a:ext cx="612347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pt-BR" sz="1000" smtClean="0">
                <a:solidFill>
                  <a:srgbClr val="808080"/>
                </a:solidFill>
                <a:latin typeface="Arial"/>
                <a:cs typeface="Arial" panose="020B0604020202020204" pitchFamily="34" charset="0"/>
                <a:sym typeface="Arial" panose="020B0604020202020204" pitchFamily="34" charset="0"/>
              </a:rPr>
              <a:t>TRACKER</a:t>
            </a:r>
            <a:endParaRPr lang="pt-BR" sz="1000" dirty="0">
              <a:solidFill>
                <a:srgbClr val="808080"/>
              </a:solidFill>
              <a:latin typeface="Arial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58875" y="621835"/>
            <a:ext cx="11491891" cy="2212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pt-BR" sz="1400" smtClean="0">
                <a:solidFill>
                  <a:srgbClr val="D5E7FF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Unit of measure</a:t>
            </a:r>
            <a:endParaRPr lang="pt-BR" sz="1400" dirty="0" smtClean="0">
              <a:solidFill>
                <a:srgbClr val="D5E7FF">
                  <a:lumMod val="75000"/>
                </a:srgbClr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158761" y="6296680"/>
            <a:ext cx="11398753" cy="298453"/>
            <a:chOff x="75" y="3896"/>
            <a:chExt cx="5385" cy="188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896"/>
              <a:ext cx="5385" cy="7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pt-BR" sz="80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1 Footnote</a:t>
              </a:r>
              <a:endParaRPr lang="pt-BR" sz="800" dirty="0" smtClean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06"/>
              <a:ext cx="4323" cy="7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t" anchorCtr="0">
              <a:spAutoFit/>
            </a:bodyPr>
            <a:lstStyle/>
            <a:p>
              <a:pPr marL="462240" indent="-462240" defTabSz="678912">
                <a:tabLst>
                  <a:tab pos="464643" algn="l"/>
                </a:tabLst>
              </a:pPr>
              <a:r>
                <a:rPr lang="pt-BR" sz="800" dirty="0" smtClean="0">
                  <a:solidFill>
                    <a:srgbClr val="4D4D4D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FONTE: </a:t>
              </a:r>
              <a:r>
                <a:rPr lang="pt-BR" sz="800" dirty="0" err="1" smtClean="0">
                  <a:solidFill>
                    <a:srgbClr val="4D4D4D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Source</a:t>
              </a:r>
              <a:endParaRPr lang="pt-BR" sz="800" dirty="0">
                <a:solidFill>
                  <a:srgbClr val="4D4D4D"/>
                </a:solidFill>
                <a:latin typeface="Arial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936840" y="1247782"/>
            <a:ext cx="5685618" cy="387351"/>
            <a:chOff x="915" y="786"/>
            <a:chExt cx="2686" cy="244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 hidden="1"/>
            <p:cNvSpPr>
              <a:spLocks noChangeArrowheads="1"/>
            </p:cNvSpPr>
            <p:nvPr/>
          </p:nvSpPr>
          <p:spPr bwMode="auto">
            <a:xfrm>
              <a:off x="915" y="786"/>
              <a:ext cx="2686" cy="244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pt-BR" sz="1200" b="1" smtClean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Title</a:t>
              </a:r>
            </a:p>
            <a:p>
              <a:r>
                <a:rPr lang="pt-BR" sz="1200" smtClean="0">
                  <a:solidFill>
                    <a:srgbClr val="80808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Unit of measure</a:t>
              </a:r>
              <a:endParaRPr lang="pt-BR" sz="1200" dirty="0">
                <a:solidFill>
                  <a:srgbClr val="808080"/>
                </a:solidFill>
                <a:latin typeface="Arial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28" name="Group 27"/>
          <p:cNvGrpSpPr/>
          <p:nvPr userDrawn="1"/>
        </p:nvGrpSpPr>
        <p:grpSpPr>
          <a:xfrm>
            <a:off x="11335740" y="60963"/>
            <a:ext cx="613376" cy="655256"/>
            <a:chOff x="5526523" y="2325890"/>
            <a:chExt cx="3423032" cy="3656747"/>
          </a:xfrm>
        </p:grpSpPr>
        <p:sp>
          <p:nvSpPr>
            <p:cNvPr id="29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sz="1200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30" name="Group 29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31" name="Donut 30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sz="1200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2" name="Oval 31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sz="1200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3" name="Oval 32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sz="1200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5186081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8" r:id="rId1"/>
    <p:sldLayoutId id="2147483719" r:id="rId2"/>
    <p:sldLayoutId id="2147483720" r:id="rId3"/>
    <p:sldLayoutId id="2147483721" r:id="rId4"/>
    <p:sldLayoutId id="2147483722" r:id="rId5"/>
    <p:sldLayoutId id="2147483723" r:id="rId6"/>
    <p:sldLayoutId id="2147483724" r:id="rId7"/>
    <p:sldLayoutId id="2147483725" r:id="rId8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defTabSz="678912" rtl="0" eaLnBrk="1" fontAlgn="base" hangingPunct="1">
        <a:spcBef>
          <a:spcPct val="0"/>
        </a:spcBef>
        <a:spcAft>
          <a:spcPct val="0"/>
        </a:spcAft>
        <a:tabLst>
          <a:tab pos="204625" algn="l"/>
        </a:tabLst>
        <a:defRPr lang="en-US" sz="1400" b="1" baseline="0" noProof="0" dirty="0" smtClean="0">
          <a:solidFill>
            <a:schemeClr val="accent4"/>
          </a:solidFill>
          <a:latin typeface="Arial" panose="020B0604020202020204" pitchFamily="34" charset="0"/>
          <a:ea typeface="+mj-ea"/>
          <a:cs typeface="Arial" panose="020B0604020202020204" pitchFamily="34" charset="0"/>
          <a:sym typeface="Arial" panose="020B0604020202020204" pitchFamily="34" charset="0"/>
        </a:defRPr>
      </a:lvl1pPr>
      <a:lvl2pPr algn="l" defTabSz="678912" rtl="0" eaLnBrk="1" fontAlgn="base" hangingPunct="1">
        <a:spcBef>
          <a:spcPct val="0"/>
        </a:spcBef>
        <a:spcAft>
          <a:spcPct val="0"/>
        </a:spcAft>
        <a:defRPr sz="1400" b="1">
          <a:solidFill>
            <a:schemeClr val="tx2"/>
          </a:solidFill>
          <a:latin typeface="Arial" charset="0"/>
        </a:defRPr>
      </a:lvl2pPr>
      <a:lvl3pPr algn="l" defTabSz="678912" rtl="0" eaLnBrk="1" fontAlgn="base" hangingPunct="1">
        <a:spcBef>
          <a:spcPct val="0"/>
        </a:spcBef>
        <a:spcAft>
          <a:spcPct val="0"/>
        </a:spcAft>
        <a:defRPr sz="1400" b="1">
          <a:solidFill>
            <a:schemeClr val="tx2"/>
          </a:solidFill>
          <a:latin typeface="Arial" charset="0"/>
        </a:defRPr>
      </a:lvl3pPr>
      <a:lvl4pPr algn="l" defTabSz="678912" rtl="0" eaLnBrk="1" fontAlgn="base" hangingPunct="1">
        <a:spcBef>
          <a:spcPct val="0"/>
        </a:spcBef>
        <a:spcAft>
          <a:spcPct val="0"/>
        </a:spcAft>
        <a:defRPr sz="1400" b="1">
          <a:solidFill>
            <a:schemeClr val="tx2"/>
          </a:solidFill>
          <a:latin typeface="Arial" charset="0"/>
        </a:defRPr>
      </a:lvl4pPr>
      <a:lvl5pPr algn="l" defTabSz="678912" rtl="0" eaLnBrk="1" fontAlgn="base" hangingPunct="1">
        <a:spcBef>
          <a:spcPct val="0"/>
        </a:spcBef>
        <a:spcAft>
          <a:spcPct val="0"/>
        </a:spcAft>
        <a:defRPr sz="1400" b="1">
          <a:solidFill>
            <a:schemeClr val="tx2"/>
          </a:solidFill>
          <a:latin typeface="Arial" charset="0"/>
        </a:defRPr>
      </a:lvl5pPr>
      <a:lvl6pPr marL="346686" algn="l" defTabSz="678912" rtl="0" eaLnBrk="1" fontAlgn="base" hangingPunct="1">
        <a:spcBef>
          <a:spcPct val="0"/>
        </a:spcBef>
        <a:spcAft>
          <a:spcPct val="0"/>
        </a:spcAft>
        <a:defRPr sz="1400" b="1">
          <a:solidFill>
            <a:schemeClr val="tx2"/>
          </a:solidFill>
          <a:latin typeface="Arial" charset="0"/>
        </a:defRPr>
      </a:lvl6pPr>
      <a:lvl7pPr marL="693353" algn="l" defTabSz="678912" rtl="0" eaLnBrk="1" fontAlgn="base" hangingPunct="1">
        <a:spcBef>
          <a:spcPct val="0"/>
        </a:spcBef>
        <a:spcAft>
          <a:spcPct val="0"/>
        </a:spcAft>
        <a:defRPr sz="1400" b="1">
          <a:solidFill>
            <a:schemeClr val="tx2"/>
          </a:solidFill>
          <a:latin typeface="Arial" charset="0"/>
        </a:defRPr>
      </a:lvl7pPr>
      <a:lvl8pPr marL="1040022" algn="l" defTabSz="678912" rtl="0" eaLnBrk="1" fontAlgn="base" hangingPunct="1">
        <a:spcBef>
          <a:spcPct val="0"/>
        </a:spcBef>
        <a:spcAft>
          <a:spcPct val="0"/>
        </a:spcAft>
        <a:defRPr sz="1400" b="1">
          <a:solidFill>
            <a:schemeClr val="tx2"/>
          </a:solidFill>
          <a:latin typeface="Arial" charset="0"/>
        </a:defRPr>
      </a:lvl8pPr>
      <a:lvl9pPr marL="1386708" algn="l" defTabSz="678912" rtl="0" eaLnBrk="1" fontAlgn="base" hangingPunct="1">
        <a:spcBef>
          <a:spcPct val="0"/>
        </a:spcBef>
        <a:spcAft>
          <a:spcPct val="0"/>
        </a:spcAft>
        <a:defRPr sz="14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678912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000" baseline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1pPr>
      <a:lvl2pPr marL="146836" indent="-146836" algn="l" defTabSz="678912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15000"/>
        <a:buFont typeface="Simplon BP Regular" pitchFamily="2" charset="0"/>
        <a:buChar char="•"/>
        <a:defRPr sz="10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2pPr>
      <a:lvl3pPr marL="346686" indent="-198624" algn="l" defTabSz="678912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charset="0"/>
        <a:buChar char="–"/>
        <a:defRPr sz="10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3pPr>
      <a:lvl4pPr marL="465850" indent="-117985" algn="l" defTabSz="678912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pitchFamily="34" charset="0"/>
        <a:buChar char="•"/>
        <a:defRPr sz="10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4pPr>
      <a:lvl5pPr marL="568583" indent="-98698" algn="l" defTabSz="678912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89000"/>
        <a:buFont typeface="Arial" charset="0"/>
        <a:buChar char="-"/>
        <a:defRPr sz="10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5pPr>
      <a:lvl6pPr marL="568583" indent="-98698" algn="l" defTabSz="67891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00" baseline="0">
          <a:solidFill>
            <a:schemeClr val="tx1"/>
          </a:solidFill>
          <a:latin typeface="+mn-lt"/>
        </a:defRPr>
      </a:lvl6pPr>
      <a:lvl7pPr marL="568583" indent="-98698" algn="l" defTabSz="67891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00" baseline="0">
          <a:solidFill>
            <a:schemeClr val="tx1"/>
          </a:solidFill>
          <a:latin typeface="+mn-lt"/>
        </a:defRPr>
      </a:lvl7pPr>
      <a:lvl8pPr marL="568583" indent="-98698" algn="l" defTabSz="67891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00" baseline="0">
          <a:solidFill>
            <a:schemeClr val="tx1"/>
          </a:solidFill>
          <a:latin typeface="+mn-lt"/>
        </a:defRPr>
      </a:lvl8pPr>
      <a:lvl9pPr marL="568583" indent="-98698" algn="l" defTabSz="67891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69335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6686" algn="l" defTabSz="69335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93353" algn="l" defTabSz="69335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40022" algn="l" defTabSz="69335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86708" algn="l" defTabSz="69335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33405" algn="l" defTabSz="69335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80065" algn="l" defTabSz="69335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426725" algn="l" defTabSz="69335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73421" algn="l" defTabSz="69335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82" y="1854703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2053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81813" y="1855222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9223673" y="6781924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3568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6341340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16" r:id="rId1"/>
    <p:sldLayoutId id="2147484317" r:id="rId2"/>
    <p:sldLayoutId id="2147484318" r:id="rId3"/>
    <p:sldLayoutId id="2147484319" r:id="rId4"/>
    <p:sldLayoutId id="2147484320" r:id="rId5"/>
    <p:sldLayoutId id="2147484321" r:id="rId6"/>
    <p:sldLayoutId id="2147484322" r:id="rId7"/>
    <p:sldLayoutId id="2147484323" r:id="rId8"/>
    <p:sldLayoutId id="2147484324" r:id="rId9"/>
    <p:sldLayoutId id="2147484325" r:id="rId10"/>
  </p:sldLayoutIdLst>
  <p:hf sldNum="0" hdr="0" ftr="0" dt="0"/>
  <p:txStyles>
    <p:titleStyle>
      <a:lvl1pPr algn="l" defTabSz="593568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086" indent="-239086" algn="l" defTabSz="59356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4041" indent="-228773" algn="l" defTabSz="59356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4041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2818" indent="-228773" algn="l" defTabSz="59356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2818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1601" indent="-228773" algn="l" defTabSz="59356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1601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0369" indent="-228773" algn="l" defTabSz="59356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0369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64727" indent="-296779" algn="l" defTabSz="59356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58307" indent="-296779" algn="l" defTabSz="59356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51888" indent="-296779" algn="l" defTabSz="59356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45481" indent="-296779" algn="l" defTabSz="59356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3568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7172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0762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4346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67935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61514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55098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48689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7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1090504438"/>
              </p:ext>
            </p:extLst>
          </p:nvPr>
        </p:nvGraphicFramePr>
        <p:xfrm>
          <a:off x="2077" y="2077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97097" name="Slide do think-cell" r:id="rId6" imgW="0" imgH="0" progId="TCLayout.ActiveDocument.1">
                  <p:embed/>
                </p:oleObj>
              </mc:Choice>
              <mc:Fallback>
                <p:oleObj name="Slide do think-cell" r:id="rId6" imgW="0" imgH="0" progId="TCLayout.ActiveDocument.1">
                  <p:embed/>
                  <p:pic>
                    <p:nvPicPr>
                      <p:cNvPr id="0" name="AutoShape 42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77" y="2077"/>
                        <a:ext cx="2074" cy="20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1978" y="358912"/>
            <a:ext cx="7338636" cy="102481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lvl="0">
              <a:lnSpc>
                <a:spcPct val="100000"/>
              </a:lnSpc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3" name="TextBox 12"/>
          <p:cNvSpPr txBox="1"/>
          <p:nvPr/>
        </p:nvSpPr>
        <p:spPr>
          <a:xfrm>
            <a:off x="-281813" y="7363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6545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-281813" y="1855164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6545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/>
        </p:nvSpPr>
        <p:spPr bwMode="auto">
          <a:xfrm>
            <a:off x="11944818" y="3078502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973" tIns="46973" rIns="46973" bIns="46973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16"/>
          <p:cNvSpPr>
            <a:spLocks/>
          </p:cNvSpPr>
          <p:nvPr/>
        </p:nvSpPr>
        <p:spPr bwMode="auto">
          <a:xfrm>
            <a:off x="11944818" y="2513906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973" tIns="46973" rIns="46973" bIns="46973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4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/>
        </p:nvSpPr>
        <p:spPr bwMode="auto">
          <a:xfrm>
            <a:off x="11944818" y="1949310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973" tIns="46973" rIns="46973" bIns="46973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9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9" name="Freeform 5"/>
          <p:cNvSpPr>
            <a:spLocks/>
          </p:cNvSpPr>
          <p:nvPr/>
        </p:nvSpPr>
        <p:spPr bwMode="auto">
          <a:xfrm>
            <a:off x="11944818" y="1384714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973" tIns="46973" rIns="46973" bIns="46973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0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Freeform 28"/>
          <p:cNvSpPr>
            <a:spLocks/>
          </p:cNvSpPr>
          <p:nvPr/>
        </p:nvSpPr>
        <p:spPr bwMode="auto">
          <a:xfrm>
            <a:off x="11944818" y="820118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973" tIns="46973" rIns="46973" bIns="46973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140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Freeform 5"/>
          <p:cNvSpPr>
            <a:spLocks/>
          </p:cNvSpPr>
          <p:nvPr/>
        </p:nvSpPr>
        <p:spPr bwMode="auto">
          <a:xfrm>
            <a:off x="11944818" y="258729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973" tIns="46973" rIns="46973" bIns="46973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6545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6545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1" name="Freeform 5"/>
          <p:cNvSpPr>
            <a:spLocks/>
          </p:cNvSpPr>
          <p:nvPr/>
        </p:nvSpPr>
        <p:spPr bwMode="auto">
          <a:xfrm>
            <a:off x="11944818" y="3643098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973" tIns="46973" rIns="46973" bIns="46973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6" name="Freeform 5"/>
          <p:cNvSpPr>
            <a:spLocks/>
          </p:cNvSpPr>
          <p:nvPr/>
        </p:nvSpPr>
        <p:spPr bwMode="auto">
          <a:xfrm>
            <a:off x="11949114" y="4301731"/>
            <a:ext cx="424105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313" tIns="59659" rIns="119313" bIns="59659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27" name="Freeform 5"/>
          <p:cNvSpPr>
            <a:spLocks/>
          </p:cNvSpPr>
          <p:nvPr/>
        </p:nvSpPr>
        <p:spPr bwMode="auto">
          <a:xfrm>
            <a:off x="11949112" y="4493139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313" tIns="59659" rIns="119313" bIns="59659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28" name="Freeform 5"/>
          <p:cNvSpPr>
            <a:spLocks/>
          </p:cNvSpPr>
          <p:nvPr/>
        </p:nvSpPr>
        <p:spPr bwMode="auto">
          <a:xfrm>
            <a:off x="12102362" y="4493138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313" tIns="59659" rIns="119313" bIns="59659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5" name="Freeform 5"/>
          <p:cNvSpPr>
            <a:spLocks/>
          </p:cNvSpPr>
          <p:nvPr/>
        </p:nvSpPr>
        <p:spPr bwMode="auto">
          <a:xfrm>
            <a:off x="12255608" y="4493135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313" tIns="59659" rIns="119313" bIns="59659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6" name="Freeform 5"/>
          <p:cNvSpPr>
            <a:spLocks/>
          </p:cNvSpPr>
          <p:nvPr/>
        </p:nvSpPr>
        <p:spPr bwMode="auto">
          <a:xfrm>
            <a:off x="11949114" y="4775433"/>
            <a:ext cx="424105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313" tIns="59659" rIns="119313" bIns="59659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7" name="Freeform 5"/>
          <p:cNvSpPr>
            <a:spLocks/>
          </p:cNvSpPr>
          <p:nvPr/>
        </p:nvSpPr>
        <p:spPr bwMode="auto">
          <a:xfrm>
            <a:off x="11949112" y="4982131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313" tIns="59659" rIns="119313" bIns="59659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8" name="Freeform 5"/>
          <p:cNvSpPr>
            <a:spLocks/>
          </p:cNvSpPr>
          <p:nvPr/>
        </p:nvSpPr>
        <p:spPr bwMode="auto">
          <a:xfrm>
            <a:off x="12102362" y="4982128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313" tIns="59659" rIns="119313" bIns="59659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9" name="Freeform 5"/>
          <p:cNvSpPr>
            <a:spLocks/>
          </p:cNvSpPr>
          <p:nvPr/>
        </p:nvSpPr>
        <p:spPr bwMode="auto">
          <a:xfrm>
            <a:off x="12255608" y="4982127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313" tIns="59659" rIns="119313" bIns="59659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0" name="Freeform 5"/>
          <p:cNvSpPr>
            <a:spLocks/>
          </p:cNvSpPr>
          <p:nvPr/>
        </p:nvSpPr>
        <p:spPr bwMode="auto">
          <a:xfrm>
            <a:off x="11949114" y="5245930"/>
            <a:ext cx="424105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313" tIns="59659" rIns="119313" bIns="59659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1" name="Freeform 5"/>
          <p:cNvSpPr>
            <a:spLocks/>
          </p:cNvSpPr>
          <p:nvPr/>
        </p:nvSpPr>
        <p:spPr bwMode="auto">
          <a:xfrm>
            <a:off x="11949112" y="5437334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313" tIns="59659" rIns="119313" bIns="59659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2" name="Freeform 5"/>
          <p:cNvSpPr>
            <a:spLocks/>
          </p:cNvSpPr>
          <p:nvPr/>
        </p:nvSpPr>
        <p:spPr bwMode="auto">
          <a:xfrm>
            <a:off x="12102362" y="5437333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313" tIns="59659" rIns="119313" bIns="59659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3" name="Freeform 5"/>
          <p:cNvSpPr>
            <a:spLocks/>
          </p:cNvSpPr>
          <p:nvPr/>
        </p:nvSpPr>
        <p:spPr bwMode="auto">
          <a:xfrm>
            <a:off x="12255608" y="5437333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313" tIns="59659" rIns="119313" bIns="59659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4" name="TextBox 39"/>
          <p:cNvSpPr txBox="1"/>
          <p:nvPr/>
        </p:nvSpPr>
        <p:spPr>
          <a:xfrm>
            <a:off x="11949128" y="5619122"/>
            <a:ext cx="603771" cy="86593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6545" fontAlgn="auto">
              <a:spcBef>
                <a:spcPts val="1045"/>
              </a:spcBef>
              <a:spcAft>
                <a:spcPts val="0"/>
              </a:spcAft>
            </a:pPr>
            <a:r>
              <a:rPr lang="en-US" sz="9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9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9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9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9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9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9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9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9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9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</a:p>
        </p:txBody>
      </p:sp>
      <p:sp>
        <p:nvSpPr>
          <p:cNvPr id="32" name="Freeform 5"/>
          <p:cNvSpPr>
            <a:spLocks/>
          </p:cNvSpPr>
          <p:nvPr/>
        </p:nvSpPr>
        <p:spPr bwMode="auto">
          <a:xfrm>
            <a:off x="12411753" y="25872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BD78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313" tIns="59659" rIns="119313" bIns="59659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Freeform 5"/>
          <p:cNvSpPr>
            <a:spLocks/>
          </p:cNvSpPr>
          <p:nvPr/>
        </p:nvSpPr>
        <p:spPr bwMode="auto">
          <a:xfrm>
            <a:off x="12411753" y="537757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7A23C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313" tIns="59659" rIns="119313" bIns="59659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/>
        </p:nvSpPr>
        <p:spPr bwMode="auto">
          <a:xfrm>
            <a:off x="12411753" y="86222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86DB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313" tIns="59659" rIns="119313" bIns="59659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/>
        </p:nvSpPr>
        <p:spPr bwMode="auto">
          <a:xfrm>
            <a:off x="12411753" y="113250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B51F7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313" tIns="59659" rIns="119313" bIns="59659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/>
        </p:nvSpPr>
        <p:spPr bwMode="auto">
          <a:xfrm>
            <a:off x="12411753" y="144158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95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313" tIns="59659" rIns="119313" bIns="59659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/>
        </p:nvSpPr>
        <p:spPr bwMode="auto">
          <a:xfrm>
            <a:off x="12411753" y="171186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CC52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313" tIns="59659" rIns="119313" bIns="59659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/>
        </p:nvSpPr>
        <p:spPr bwMode="auto">
          <a:xfrm>
            <a:off x="12411753" y="200887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C8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313" tIns="59659" rIns="119313" bIns="59659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/>
        </p:nvSpPr>
        <p:spPr bwMode="auto">
          <a:xfrm>
            <a:off x="12411753" y="227915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CCC6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313" tIns="59659" rIns="119313" bIns="59659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/>
        </p:nvSpPr>
        <p:spPr bwMode="auto">
          <a:xfrm>
            <a:off x="12411753" y="256409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69D17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313" tIns="59659" rIns="119313" bIns="59659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/>
        </p:nvSpPr>
        <p:spPr bwMode="auto">
          <a:xfrm>
            <a:off x="12411753" y="283437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9E0B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313" tIns="59659" rIns="119313" bIns="59659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/>
        </p:nvSpPr>
        <p:spPr bwMode="auto">
          <a:xfrm>
            <a:off x="12411753" y="3155524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E6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313" tIns="59659" rIns="119313" bIns="59659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3" name="Freeform 5"/>
          <p:cNvSpPr>
            <a:spLocks/>
          </p:cNvSpPr>
          <p:nvPr/>
        </p:nvSpPr>
        <p:spPr bwMode="auto">
          <a:xfrm>
            <a:off x="12411753" y="342580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AFC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313" tIns="59659" rIns="119313" bIns="59659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" name="Freeform 5"/>
          <p:cNvSpPr>
            <a:spLocks/>
          </p:cNvSpPr>
          <p:nvPr/>
        </p:nvSpPr>
        <p:spPr bwMode="auto">
          <a:xfrm>
            <a:off x="12411753" y="3734884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DEDEDE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313" tIns="59659" rIns="119313" bIns="59659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5" name="Freeform 5"/>
          <p:cNvSpPr>
            <a:spLocks/>
          </p:cNvSpPr>
          <p:nvPr/>
        </p:nvSpPr>
        <p:spPr bwMode="auto">
          <a:xfrm>
            <a:off x="12411753" y="400516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9C9C9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313" tIns="59659" rIns="119313" bIns="59659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9287768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27" r:id="rId1"/>
    <p:sldLayoutId id="2147484328" r:id="rId2"/>
  </p:sldLayoutIdLst>
  <p:hf sldNum="0" hdr="0" ftr="0" dt="0"/>
  <p:txStyles>
    <p:titleStyle>
      <a:lvl1pPr algn="l" defTabSz="596545" rtl="0" eaLnBrk="1" latinLnBrk="0" hangingPunct="1">
        <a:lnSpc>
          <a:spcPts val="5486"/>
        </a:lnSpc>
        <a:spcBef>
          <a:spcPct val="0"/>
        </a:spcBef>
        <a:spcAft>
          <a:spcPts val="0"/>
        </a:spcAft>
        <a:buNone/>
        <a:defRPr lang="en-US" sz="5500" b="0" i="0" kern="1200" noProof="0" dirty="0">
          <a:solidFill>
            <a:srgbClr val="A037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40276" indent="-240276" algn="l" defTabSz="596545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6408" indent="-229919" algn="l" defTabSz="596545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6408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6328" indent="-229919" algn="l" defTabSz="596545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6328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6252" indent="-229919" algn="l" defTabSz="596545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6252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6172" indent="-229919" algn="l" defTabSz="596545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6172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81026" indent="-298274" algn="l" defTabSz="596545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77572" indent="-298274" algn="l" defTabSz="596545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74117" indent="-298274" algn="l" defTabSz="596545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70665" indent="-298274" algn="l" defTabSz="596545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654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6545" algn="l" defTabSz="59654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93099" algn="l" defTabSz="59654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9650" algn="l" defTabSz="59654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86198" algn="l" defTabSz="59654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82751" algn="l" defTabSz="59654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79297" algn="l" defTabSz="59654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75846" algn="l" defTabSz="59654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72390" algn="l" defTabSz="59654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7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1978" y="358972"/>
            <a:ext cx="7338636" cy="102481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1855226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16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9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Freeform 28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2" name="TextBox 39"/>
          <p:cNvSpPr txBox="1"/>
          <p:nvPr userDrawn="1"/>
        </p:nvSpPr>
        <p:spPr>
          <a:xfrm>
            <a:off x="9223673" y="6781928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3363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3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7834399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31" r:id="rId1"/>
    <p:sldLayoutId id="2147484332" r:id="rId2"/>
    <p:sldLayoutId id="2147484333" r:id="rId3"/>
    <p:sldLayoutId id="2147484334" r:id="rId4"/>
    <p:sldLayoutId id="2147484335" r:id="rId5"/>
    <p:sldLayoutId id="2147484336" r:id="rId6"/>
    <p:sldLayoutId id="2147484337" r:id="rId7"/>
    <p:sldLayoutId id="2147484338" r:id="rId8"/>
  </p:sldLayoutIdLst>
  <p:hf sldNum="0" hdr="0" ftr="0" dt="0"/>
  <p:txStyles>
    <p:titleStyle>
      <a:lvl1pPr algn="l" defTabSz="593363" rtl="0" eaLnBrk="1" latinLnBrk="0" hangingPunct="1">
        <a:lnSpc>
          <a:spcPts val="5486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A037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005" indent="-239005" algn="l" defTabSz="59336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3881" indent="-228695" algn="l" defTabSz="59336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3881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2579" indent="-228695" algn="l" defTabSz="59336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2579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1282" indent="-228695" algn="l" defTabSz="59336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1282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59973" indent="-228695" algn="l" defTabSz="59336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59973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63617" indent="-296677" algn="l" defTabSz="59336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56998" indent="-296677" algn="l" defTabSz="59336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50378" indent="-296677" algn="l" defTabSz="59336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43767" indent="-296677" algn="l" defTabSz="59336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3363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6768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0158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3541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66928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60307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53688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47078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7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57621628"/>
              </p:ext>
            </p:extLst>
          </p:nvPr>
        </p:nvGraphicFramePr>
        <p:xfrm>
          <a:off x="1" y="2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98121" name="Slide do think-cell" r:id="rId12" imgW="0" imgH="0" progId="TCLayout.ActiveDocument.1">
                  <p:embed/>
                </p:oleObj>
              </mc:Choice>
              <mc:Fallback>
                <p:oleObj name="Slide do think-cell" r:id="rId12" imgW="0" imgH="0" progId="TCLayout.ActiveDocument.1">
                  <p:embed/>
                  <p:pic>
                    <p:nvPicPr>
                      <p:cNvPr id="0" name="AutoShape 42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2"/>
                        <a:ext cx="211676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10776432" y="36518"/>
            <a:ext cx="876339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3879"/>
            <a:endParaRPr lang="pt-BR" sz="8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10519874" y="1932900"/>
            <a:ext cx="267220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10682583" y="4106726"/>
            <a:ext cx="234679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936841" y="1951039"/>
            <a:ext cx="5736421" cy="11060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ext styles</a:t>
            </a:r>
          </a:p>
          <a:p>
            <a:pPr lvl="1"/>
            <a:r>
              <a:rPr lang="pt-BR" noProof="0" smtClean="0"/>
              <a:t>Second level</a:t>
            </a:r>
          </a:p>
          <a:p>
            <a:pPr lvl="2"/>
            <a:r>
              <a:rPr lang="pt-BR" noProof="0" smtClean="0"/>
              <a:t>Third level</a:t>
            </a:r>
          </a:p>
          <a:p>
            <a:pPr lvl="3"/>
            <a:r>
              <a:rPr lang="pt-BR" noProof="0" smtClean="0"/>
              <a:t>Fourth level</a:t>
            </a:r>
          </a:p>
          <a:p>
            <a:pPr lvl="4"/>
            <a:r>
              <a:rPr lang="pt-BR" noProof="0" smtClean="0"/>
              <a:t>Fifth level</a:t>
            </a:r>
            <a:endParaRPr lang="pt-BR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211676" y="230206"/>
            <a:ext cx="10530036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58776" y="26992"/>
            <a:ext cx="886083" cy="2212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pt-BR" sz="1400" smtClean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TRACKER</a:t>
            </a:r>
            <a:endParaRPr lang="pt-BR" sz="1400" dirty="0">
              <a:solidFill>
                <a:srgbClr val="80808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58798" y="621826"/>
            <a:ext cx="11491891" cy="281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pt-BR" sz="1800" smtClean="0">
                <a:solidFill>
                  <a:srgbClr val="D5E7FF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Unit of measure</a:t>
            </a:r>
            <a:endParaRPr lang="pt-BR" sz="1800" dirty="0" smtClean="0">
              <a:solidFill>
                <a:srgbClr val="D5E7FF">
                  <a:lumMod val="75000"/>
                </a:srgbClr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158761" y="6266357"/>
            <a:ext cx="11398753" cy="358776"/>
            <a:chOff x="75" y="3877"/>
            <a:chExt cx="5385" cy="226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877"/>
              <a:ext cx="5385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pt-BR" sz="100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1 Footnote</a:t>
              </a:r>
              <a:endParaRPr lang="pt-BR" sz="1000" dirty="0" smtClean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06"/>
              <a:ext cx="4323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t" anchorCtr="0">
              <a:spAutoFit/>
            </a:bodyPr>
            <a:lstStyle/>
            <a:p>
              <a:pPr marL="608601" indent="-608601" defTabSz="893879">
                <a:tabLst>
                  <a:tab pos="611771" algn="l"/>
                </a:tabLst>
              </a:pPr>
              <a:r>
                <a:rPr lang="pt-BR" sz="1000" dirty="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FONTE: </a:t>
              </a:r>
              <a:r>
                <a:rPr lang="pt-BR" sz="1000" dirty="0" err="1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ource</a:t>
              </a:r>
              <a:endParaRPr lang="pt-BR" sz="1000" dirty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936840" y="1123953"/>
            <a:ext cx="5685618" cy="511174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 hidden="1"/>
            <p:cNvSpPr>
              <a:spLocks noChangeArrowheads="1"/>
            </p:cNvSpPr>
            <p:nvPr/>
          </p:nvSpPr>
          <p:spPr bwMode="auto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pt-BR" b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itle</a:t>
              </a:r>
            </a:p>
            <a:p>
              <a:r>
                <a:rPr lang="pt-BR" smtClean="0">
                  <a:solidFill>
                    <a:srgbClr val="80808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Unit of measure</a:t>
              </a:r>
              <a:endParaRPr lang="pt-BR" dirty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28" name="Group 27"/>
          <p:cNvGrpSpPr/>
          <p:nvPr userDrawn="1"/>
        </p:nvGrpSpPr>
        <p:grpSpPr>
          <a:xfrm>
            <a:off x="11335740" y="60963"/>
            <a:ext cx="613376" cy="655256"/>
            <a:chOff x="5526523" y="2325890"/>
            <a:chExt cx="3423032" cy="3656747"/>
          </a:xfrm>
        </p:grpSpPr>
        <p:sp>
          <p:nvSpPr>
            <p:cNvPr id="29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30" name="Group 29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31" name="Donut 30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2" name="Oval 31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3" name="Oval 32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43023027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42" r:id="rId1"/>
    <p:sldLayoutId id="2147484343" r:id="rId2"/>
    <p:sldLayoutId id="2147484344" r:id="rId3"/>
    <p:sldLayoutId id="2147484345" r:id="rId4"/>
    <p:sldLayoutId id="2147484346" r:id="rId5"/>
    <p:sldLayoutId id="2147484347" r:id="rId6"/>
    <p:sldLayoutId id="2147484348" r:id="rId7"/>
    <p:sldLayoutId id="2147484349" r:id="rId8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defTabSz="893879" rtl="0" eaLnBrk="1" fontAlgn="base" hangingPunct="1">
        <a:spcBef>
          <a:spcPct val="0"/>
        </a:spcBef>
        <a:spcAft>
          <a:spcPct val="0"/>
        </a:spcAft>
        <a:tabLst>
          <a:tab pos="269438" algn="l"/>
        </a:tabLst>
        <a:defRPr lang="en-US" sz="2000" b="1" baseline="0" noProof="0" dirty="0" smtClean="0">
          <a:solidFill>
            <a:schemeClr val="accent4"/>
          </a:solidFill>
          <a:latin typeface="Arial" panose="020B0604020202020204" pitchFamily="34" charset="0"/>
          <a:ea typeface="+mj-ea"/>
          <a:cs typeface="Arial" panose="020B0604020202020204" pitchFamily="34" charset="0"/>
          <a:sym typeface="Arial" panose="020B0604020202020204" pitchFamily="34" charset="0"/>
        </a:defRPr>
      </a:lvl1pPr>
      <a:lvl2pPr algn="l" defTabSz="893879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2pPr>
      <a:lvl3pPr algn="l" defTabSz="893879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3pPr>
      <a:lvl4pPr algn="l" defTabSz="893879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4pPr>
      <a:lvl5pPr algn="l" defTabSz="893879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5pPr>
      <a:lvl6pPr marL="456454" algn="l" defTabSz="893879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6pPr>
      <a:lvl7pPr marL="912902" algn="l" defTabSz="893879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7pPr>
      <a:lvl8pPr marL="1369348" algn="l" defTabSz="893879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8pPr>
      <a:lvl9pPr marL="1825805" algn="l" defTabSz="893879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3879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400" baseline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1pPr>
      <a:lvl2pPr marL="193362" indent="-193362" algn="l" defTabSz="893879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15000"/>
        <a:buFont typeface="Simplon BP Regular" pitchFamily="2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2pPr>
      <a:lvl3pPr marL="456454" indent="-261503" algn="l" defTabSz="893879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charset="0"/>
        <a:buChar char="–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3pPr>
      <a:lvl4pPr marL="613358" indent="-155325" algn="l" defTabSz="893879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pitchFamily="34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4pPr>
      <a:lvl5pPr marL="748581" indent="-129962" algn="l" defTabSz="893879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89000"/>
        <a:buFont typeface="Arial" charset="0"/>
        <a:buChar char="-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5pPr>
      <a:lvl6pPr marL="748581" indent="-129962" algn="l" defTabSz="89387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8581" indent="-129962" algn="l" defTabSz="89387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8581" indent="-129962" algn="l" defTabSz="89387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8581" indent="-129962" algn="l" defTabSz="89387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290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454" algn="l" defTabSz="91290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2902" algn="l" defTabSz="91290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9348" algn="l" defTabSz="91290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5805" algn="l" defTabSz="91290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2250" algn="l" defTabSz="91290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38697" algn="l" defTabSz="91290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5156" algn="l" defTabSz="91290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1612" algn="l" defTabSz="91290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4210727221"/>
              </p:ext>
            </p:extLst>
          </p:nvPr>
        </p:nvGraphicFramePr>
        <p:xfrm>
          <a:off x="1" y="2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09380" name="Slide do think-cell" r:id="rId12" imgW="0" imgH="0" progId="TCLayout.ActiveDocument.1">
                  <p:embed/>
                </p:oleObj>
              </mc:Choice>
              <mc:Fallback>
                <p:oleObj name="Slide do think-cell" r:id="rId12" imgW="0" imgH="0" progId="TCLayout.ActiveDocument.1">
                  <p:embed/>
                  <p:pic>
                    <p:nvPicPr>
                      <p:cNvPr id="0" name="AutoShape 42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2"/>
                        <a:ext cx="211676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10776432" y="36518"/>
            <a:ext cx="876339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87123"/>
            <a:endParaRPr lang="pt-BR" sz="8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10519874" y="1932900"/>
            <a:ext cx="267220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10682583" y="4106726"/>
            <a:ext cx="234679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936841" y="1951039"/>
            <a:ext cx="5736421" cy="11060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ext styles</a:t>
            </a:r>
          </a:p>
          <a:p>
            <a:pPr lvl="1"/>
            <a:r>
              <a:rPr lang="pt-BR" noProof="0" smtClean="0"/>
              <a:t>Second level</a:t>
            </a:r>
          </a:p>
          <a:p>
            <a:pPr lvl="2"/>
            <a:r>
              <a:rPr lang="pt-BR" noProof="0" smtClean="0"/>
              <a:t>Third level</a:t>
            </a:r>
          </a:p>
          <a:p>
            <a:pPr lvl="3"/>
            <a:r>
              <a:rPr lang="pt-BR" noProof="0" smtClean="0"/>
              <a:t>Fourth level</a:t>
            </a:r>
          </a:p>
          <a:p>
            <a:pPr lvl="4"/>
            <a:r>
              <a:rPr lang="pt-BR" noProof="0" smtClean="0"/>
              <a:t>Fifth level</a:t>
            </a:r>
            <a:endParaRPr lang="pt-BR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211676" y="230292"/>
            <a:ext cx="10530036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58865" y="26992"/>
            <a:ext cx="886083" cy="2212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pt-BR" sz="1400" smtClean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TRACKER</a:t>
            </a:r>
            <a:endParaRPr lang="pt-BR" sz="1400" dirty="0">
              <a:solidFill>
                <a:srgbClr val="80808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58886" y="621826"/>
            <a:ext cx="11491891" cy="281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pt-BR" sz="1800" smtClean="0">
                <a:solidFill>
                  <a:srgbClr val="D5E7FF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Unit of measure</a:t>
            </a:r>
            <a:endParaRPr lang="pt-BR" sz="1800" dirty="0" smtClean="0">
              <a:solidFill>
                <a:srgbClr val="D5E7FF">
                  <a:lumMod val="75000"/>
                </a:srgbClr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158761" y="6265569"/>
            <a:ext cx="11398753" cy="358776"/>
            <a:chOff x="75" y="3877"/>
            <a:chExt cx="5385" cy="226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877"/>
              <a:ext cx="5385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pt-BR" sz="100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1 Footnote</a:t>
              </a:r>
              <a:endParaRPr lang="pt-BR" sz="1000" dirty="0" smtClean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06"/>
              <a:ext cx="4323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t" anchorCtr="0">
              <a:spAutoFit/>
            </a:bodyPr>
            <a:lstStyle/>
            <a:p>
              <a:pPr marL="604031" indent="-604031" defTabSz="887123">
                <a:tabLst>
                  <a:tab pos="607161" algn="l"/>
                </a:tabLst>
              </a:pPr>
              <a:r>
                <a:rPr lang="pt-BR" sz="1000" dirty="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FONTE: </a:t>
              </a:r>
              <a:r>
                <a:rPr lang="pt-BR" sz="1000" dirty="0" err="1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ource</a:t>
              </a:r>
              <a:endParaRPr lang="pt-BR" sz="1000" dirty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936840" y="1123953"/>
            <a:ext cx="5685618" cy="511174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 hidden="1"/>
            <p:cNvSpPr>
              <a:spLocks noChangeArrowheads="1"/>
            </p:cNvSpPr>
            <p:nvPr/>
          </p:nvSpPr>
          <p:spPr bwMode="auto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pt-BR" b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itle</a:t>
              </a:r>
            </a:p>
            <a:p>
              <a:r>
                <a:rPr lang="pt-BR" smtClean="0">
                  <a:solidFill>
                    <a:srgbClr val="80808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Unit of measure</a:t>
              </a:r>
              <a:endParaRPr lang="pt-BR" dirty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28" name="Group 27"/>
          <p:cNvGrpSpPr/>
          <p:nvPr userDrawn="1"/>
        </p:nvGrpSpPr>
        <p:grpSpPr>
          <a:xfrm>
            <a:off x="11335740" y="60963"/>
            <a:ext cx="613376" cy="655256"/>
            <a:chOff x="5526523" y="2325890"/>
            <a:chExt cx="3423032" cy="3656747"/>
          </a:xfrm>
        </p:grpSpPr>
        <p:sp>
          <p:nvSpPr>
            <p:cNvPr id="29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30" name="Group 29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31" name="Donut 30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2" name="Oval 31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3" name="Oval 32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24670527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52" r:id="rId1"/>
    <p:sldLayoutId id="2147484353" r:id="rId2"/>
    <p:sldLayoutId id="2147484354" r:id="rId3"/>
    <p:sldLayoutId id="2147484355" r:id="rId4"/>
    <p:sldLayoutId id="2147484356" r:id="rId5"/>
    <p:sldLayoutId id="2147484357" r:id="rId6"/>
    <p:sldLayoutId id="2147484358" r:id="rId7"/>
    <p:sldLayoutId id="2147484359" r:id="rId8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defTabSz="887123" rtl="0" eaLnBrk="1" fontAlgn="base" hangingPunct="1">
        <a:spcBef>
          <a:spcPct val="0"/>
        </a:spcBef>
        <a:spcAft>
          <a:spcPct val="0"/>
        </a:spcAft>
        <a:tabLst>
          <a:tab pos="267416" algn="l"/>
        </a:tabLst>
        <a:defRPr lang="en-US" sz="2000" b="1" baseline="0" noProof="0" dirty="0" smtClean="0">
          <a:solidFill>
            <a:schemeClr val="accent4"/>
          </a:solidFill>
          <a:latin typeface="Arial" panose="020B0604020202020204" pitchFamily="34" charset="0"/>
          <a:ea typeface="+mj-ea"/>
          <a:cs typeface="Arial" panose="020B0604020202020204" pitchFamily="34" charset="0"/>
          <a:sym typeface="Arial" panose="020B0604020202020204" pitchFamily="34" charset="0"/>
        </a:defRPr>
      </a:lvl1pPr>
      <a:lvl2pPr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2pPr>
      <a:lvl3pPr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3pPr>
      <a:lvl4pPr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4pPr>
      <a:lvl5pPr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5pPr>
      <a:lvl6pPr marL="453033"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6pPr>
      <a:lvl7pPr marL="906015"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7pPr>
      <a:lvl8pPr marL="1359002"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8pPr>
      <a:lvl9pPr marL="1812015"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87123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400" baseline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1pPr>
      <a:lvl2pPr marL="191923" indent="-191923" algn="l" defTabSz="887123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15000"/>
        <a:buFont typeface="Simplon BP Regular" pitchFamily="2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2pPr>
      <a:lvl3pPr marL="453033" indent="-259508" algn="l" defTabSz="887123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charset="0"/>
        <a:buChar char="–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3pPr>
      <a:lvl4pPr marL="608726" indent="-154184" algn="l" defTabSz="887123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pitchFamily="34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4pPr>
      <a:lvl5pPr marL="742907" indent="-128987" algn="l" defTabSz="887123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89000"/>
        <a:buFont typeface="Arial" charset="0"/>
        <a:buChar char="-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5pPr>
      <a:lvl6pPr marL="742907" indent="-128987" algn="l" defTabSz="88712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2907" indent="-128987" algn="l" defTabSz="88712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2907" indent="-128987" algn="l" defTabSz="88712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2907" indent="-128987" algn="l" defTabSz="88712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3033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06015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59002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12015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65017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18012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71019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24024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82" y="1854687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2038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81813" y="1855207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01" tIns="46801" rIns="46801" bIns="46801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01" tIns="46801" rIns="46801" bIns="46801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01" tIns="46801" rIns="46801" bIns="46801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01" tIns="46801" rIns="46801" bIns="46801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01" tIns="46801" rIns="46801" bIns="46801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01" tIns="46801" rIns="46801" bIns="46801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01" tIns="46801" rIns="46801" bIns="46801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9223673" y="6781910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4313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77" tIns="59439" rIns="118877" bIns="59439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77" tIns="59439" rIns="118877" bIns="59439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77" tIns="59439" rIns="118877" bIns="59439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77" tIns="59439" rIns="118877" bIns="59439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77" tIns="59439" rIns="118877" bIns="59439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77" tIns="59439" rIns="118877" bIns="59439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77" tIns="59439" rIns="118877" bIns="59439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77" tIns="59439" rIns="118877" bIns="59439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77" tIns="59439" rIns="118877" bIns="59439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77" tIns="59439" rIns="118877" bIns="59439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77" tIns="59439" rIns="118877" bIns="59439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77" tIns="59439" rIns="118877" bIns="59439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0742427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62" r:id="rId1"/>
    <p:sldLayoutId id="2147484363" r:id="rId2"/>
    <p:sldLayoutId id="2147484364" r:id="rId3"/>
    <p:sldLayoutId id="2147484365" r:id="rId4"/>
  </p:sldLayoutIdLst>
  <p:hf sldNum="0" hdr="0" ftr="0" dt="0"/>
  <p:txStyles>
    <p:titleStyle>
      <a:lvl1pPr algn="l" defTabSz="594313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381" indent="-239381" algn="l" defTabSz="59431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4630" indent="-229061" algn="l" defTabSz="59431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4630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3695" indent="-229061" algn="l" defTabSz="59431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3695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2760" indent="-229061" algn="l" defTabSz="59431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2760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1817" indent="-229061" algn="l" defTabSz="59431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1817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68792" indent="-297154" algn="l" defTabSz="59431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63112" indent="-297154" algn="l" defTabSz="59431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57433" indent="-297154" algn="l" defTabSz="59431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51760" indent="-297154" algn="l" defTabSz="59431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431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4313" algn="l" defTabSz="59431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8653" algn="l" defTabSz="59431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2980" algn="l" defTabSz="59431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7300" algn="l" defTabSz="59431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71633" algn="l" defTabSz="59431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65953" algn="l" defTabSz="59431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60277" algn="l" defTabSz="59431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54599" algn="l" defTabSz="59431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7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1665568362"/>
              </p:ext>
            </p:extLst>
          </p:nvPr>
        </p:nvGraphicFramePr>
        <p:xfrm>
          <a:off x="2077" y="2077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14494" name="Slide do think-cell" r:id="rId15" imgW="0" imgH="0" progId="TCLayout.ActiveDocument.1">
                  <p:embed/>
                </p:oleObj>
              </mc:Choice>
              <mc:Fallback>
                <p:oleObj name="Slide do think-cell" r:id="rId15" imgW="0" imgH="0" progId="TCLayout.ActiveDocument.1">
                  <p:embed/>
                  <p:pic>
                    <p:nvPicPr>
                      <p:cNvPr id="0" name="AutoShape 41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77" y="2077"/>
                        <a:ext cx="2074" cy="20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82" y="1854686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2037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44" name="TextBox 43"/>
          <p:cNvSpPr txBox="1"/>
          <p:nvPr userDrawn="1"/>
        </p:nvSpPr>
        <p:spPr>
          <a:xfrm>
            <a:off x="-281813" y="7363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45" name="TextBox 44"/>
          <p:cNvSpPr txBox="1"/>
          <p:nvPr userDrawn="1"/>
        </p:nvSpPr>
        <p:spPr>
          <a:xfrm>
            <a:off x="-281813" y="1855207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46" name="TextBox 45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47" name="Freeform 5"/>
          <p:cNvSpPr>
            <a:spLocks/>
          </p:cNvSpPr>
          <p:nvPr userDrawn="1"/>
        </p:nvSpPr>
        <p:spPr bwMode="auto">
          <a:xfrm>
            <a:off x="11944818" y="3078502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06" tIns="46806" rIns="46806" bIns="4680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48" name="Freeform 47"/>
          <p:cNvSpPr>
            <a:spLocks/>
          </p:cNvSpPr>
          <p:nvPr userDrawn="1"/>
        </p:nvSpPr>
        <p:spPr bwMode="auto">
          <a:xfrm>
            <a:off x="11944818" y="2513906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06" tIns="46806" rIns="46806" bIns="4680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4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49" name="Freeform 5"/>
          <p:cNvSpPr>
            <a:spLocks/>
          </p:cNvSpPr>
          <p:nvPr userDrawn="1"/>
        </p:nvSpPr>
        <p:spPr bwMode="auto">
          <a:xfrm>
            <a:off x="11944818" y="1949310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06" tIns="46806" rIns="46806" bIns="4680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9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50" name="Freeform 5"/>
          <p:cNvSpPr>
            <a:spLocks/>
          </p:cNvSpPr>
          <p:nvPr userDrawn="1"/>
        </p:nvSpPr>
        <p:spPr bwMode="auto">
          <a:xfrm>
            <a:off x="11944818" y="1384714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06" tIns="46806" rIns="46806" bIns="4680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0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51" name="Freeform 50"/>
          <p:cNvSpPr>
            <a:spLocks/>
          </p:cNvSpPr>
          <p:nvPr userDrawn="1"/>
        </p:nvSpPr>
        <p:spPr bwMode="auto">
          <a:xfrm>
            <a:off x="11944818" y="820118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06" tIns="46806" rIns="46806" bIns="4680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140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52" name="Freeform 5"/>
          <p:cNvSpPr>
            <a:spLocks/>
          </p:cNvSpPr>
          <p:nvPr userDrawn="1"/>
        </p:nvSpPr>
        <p:spPr bwMode="auto">
          <a:xfrm>
            <a:off x="11944818" y="258729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06" tIns="46806" rIns="46806" bIns="4680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437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437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53" name="Freeform 5"/>
          <p:cNvSpPr>
            <a:spLocks/>
          </p:cNvSpPr>
          <p:nvPr userDrawn="1"/>
        </p:nvSpPr>
        <p:spPr bwMode="auto">
          <a:xfrm>
            <a:off x="11944818" y="3643098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06" tIns="46806" rIns="46806" bIns="4680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54" name="Freeform 5"/>
          <p:cNvSpPr>
            <a:spLocks/>
          </p:cNvSpPr>
          <p:nvPr userDrawn="1"/>
        </p:nvSpPr>
        <p:spPr bwMode="auto">
          <a:xfrm>
            <a:off x="11949114" y="4301731"/>
            <a:ext cx="424105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5" name="Freeform 5"/>
          <p:cNvSpPr>
            <a:spLocks/>
          </p:cNvSpPr>
          <p:nvPr userDrawn="1"/>
        </p:nvSpPr>
        <p:spPr bwMode="auto">
          <a:xfrm>
            <a:off x="11949112" y="4493139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6" name="Freeform 5"/>
          <p:cNvSpPr>
            <a:spLocks/>
          </p:cNvSpPr>
          <p:nvPr userDrawn="1"/>
        </p:nvSpPr>
        <p:spPr bwMode="auto">
          <a:xfrm>
            <a:off x="12102362" y="4493138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7" name="Freeform 5"/>
          <p:cNvSpPr>
            <a:spLocks/>
          </p:cNvSpPr>
          <p:nvPr userDrawn="1"/>
        </p:nvSpPr>
        <p:spPr bwMode="auto">
          <a:xfrm>
            <a:off x="12255608" y="4493135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8" name="Freeform 5"/>
          <p:cNvSpPr>
            <a:spLocks/>
          </p:cNvSpPr>
          <p:nvPr userDrawn="1"/>
        </p:nvSpPr>
        <p:spPr bwMode="auto">
          <a:xfrm>
            <a:off x="11949114" y="4775433"/>
            <a:ext cx="424105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9" name="Freeform 5"/>
          <p:cNvSpPr>
            <a:spLocks/>
          </p:cNvSpPr>
          <p:nvPr userDrawn="1"/>
        </p:nvSpPr>
        <p:spPr bwMode="auto">
          <a:xfrm>
            <a:off x="11949112" y="4982131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0" name="Freeform 5"/>
          <p:cNvSpPr>
            <a:spLocks/>
          </p:cNvSpPr>
          <p:nvPr userDrawn="1"/>
        </p:nvSpPr>
        <p:spPr bwMode="auto">
          <a:xfrm>
            <a:off x="12102362" y="4982128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1" name="Freeform 5"/>
          <p:cNvSpPr>
            <a:spLocks/>
          </p:cNvSpPr>
          <p:nvPr userDrawn="1"/>
        </p:nvSpPr>
        <p:spPr bwMode="auto">
          <a:xfrm>
            <a:off x="12255608" y="4982127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2" name="Freeform 5"/>
          <p:cNvSpPr>
            <a:spLocks/>
          </p:cNvSpPr>
          <p:nvPr userDrawn="1"/>
        </p:nvSpPr>
        <p:spPr bwMode="auto">
          <a:xfrm>
            <a:off x="11949114" y="5245930"/>
            <a:ext cx="424105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3" name="Freeform 5"/>
          <p:cNvSpPr>
            <a:spLocks/>
          </p:cNvSpPr>
          <p:nvPr userDrawn="1"/>
        </p:nvSpPr>
        <p:spPr bwMode="auto">
          <a:xfrm>
            <a:off x="11949112" y="5437334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4" name="Freeform 5"/>
          <p:cNvSpPr>
            <a:spLocks/>
          </p:cNvSpPr>
          <p:nvPr userDrawn="1"/>
        </p:nvSpPr>
        <p:spPr bwMode="auto">
          <a:xfrm>
            <a:off x="12102362" y="5437333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5" name="Freeform 5"/>
          <p:cNvSpPr>
            <a:spLocks/>
          </p:cNvSpPr>
          <p:nvPr userDrawn="1"/>
        </p:nvSpPr>
        <p:spPr bwMode="auto">
          <a:xfrm>
            <a:off x="12255608" y="5437333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6" name="TextBox 39"/>
          <p:cNvSpPr txBox="1"/>
          <p:nvPr userDrawn="1"/>
        </p:nvSpPr>
        <p:spPr>
          <a:xfrm>
            <a:off x="11949113" y="5619122"/>
            <a:ext cx="621766" cy="86593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4377" fontAlgn="auto">
              <a:spcBef>
                <a:spcPts val="1045"/>
              </a:spcBef>
              <a:spcAft>
                <a:spcPts val="0"/>
              </a:spcAft>
            </a:pPr>
            <a:r>
              <a:rPr lang="en-US" sz="9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9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9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9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9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9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9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9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9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9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</a:p>
        </p:txBody>
      </p:sp>
      <p:sp>
        <p:nvSpPr>
          <p:cNvPr id="68" name="Freeform 5"/>
          <p:cNvSpPr>
            <a:spLocks/>
          </p:cNvSpPr>
          <p:nvPr userDrawn="1"/>
        </p:nvSpPr>
        <p:spPr bwMode="auto">
          <a:xfrm>
            <a:off x="12411753" y="25872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BD78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9" name="Freeform 5"/>
          <p:cNvSpPr>
            <a:spLocks/>
          </p:cNvSpPr>
          <p:nvPr userDrawn="1"/>
        </p:nvSpPr>
        <p:spPr bwMode="auto">
          <a:xfrm>
            <a:off x="12411753" y="537757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7A23C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0" name="Freeform 5"/>
          <p:cNvSpPr>
            <a:spLocks/>
          </p:cNvSpPr>
          <p:nvPr userDrawn="1"/>
        </p:nvSpPr>
        <p:spPr bwMode="auto">
          <a:xfrm>
            <a:off x="12411753" y="86222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86DB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1" name="Freeform 5"/>
          <p:cNvSpPr>
            <a:spLocks/>
          </p:cNvSpPr>
          <p:nvPr userDrawn="1"/>
        </p:nvSpPr>
        <p:spPr bwMode="auto">
          <a:xfrm>
            <a:off x="12411753" y="113250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B51F7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2" name="Freeform 71"/>
          <p:cNvSpPr>
            <a:spLocks/>
          </p:cNvSpPr>
          <p:nvPr userDrawn="1"/>
        </p:nvSpPr>
        <p:spPr bwMode="auto">
          <a:xfrm>
            <a:off x="12411753" y="144158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95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3" name="Freeform 5"/>
          <p:cNvSpPr>
            <a:spLocks/>
          </p:cNvSpPr>
          <p:nvPr userDrawn="1"/>
        </p:nvSpPr>
        <p:spPr bwMode="auto">
          <a:xfrm>
            <a:off x="12411753" y="171186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CC52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4" name="Freeform 5"/>
          <p:cNvSpPr>
            <a:spLocks/>
          </p:cNvSpPr>
          <p:nvPr userDrawn="1"/>
        </p:nvSpPr>
        <p:spPr bwMode="auto">
          <a:xfrm>
            <a:off x="12411753" y="200887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C8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5" name="Freeform 5"/>
          <p:cNvSpPr>
            <a:spLocks/>
          </p:cNvSpPr>
          <p:nvPr userDrawn="1"/>
        </p:nvSpPr>
        <p:spPr bwMode="auto">
          <a:xfrm>
            <a:off x="12411753" y="227915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CCC6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6" name="Freeform 5"/>
          <p:cNvSpPr>
            <a:spLocks/>
          </p:cNvSpPr>
          <p:nvPr userDrawn="1"/>
        </p:nvSpPr>
        <p:spPr bwMode="auto">
          <a:xfrm>
            <a:off x="12411753" y="256409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69D17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7" name="Freeform 5"/>
          <p:cNvSpPr>
            <a:spLocks/>
          </p:cNvSpPr>
          <p:nvPr userDrawn="1"/>
        </p:nvSpPr>
        <p:spPr bwMode="auto">
          <a:xfrm>
            <a:off x="12411753" y="283437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9E0B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8" name="Freeform 5"/>
          <p:cNvSpPr>
            <a:spLocks/>
          </p:cNvSpPr>
          <p:nvPr userDrawn="1"/>
        </p:nvSpPr>
        <p:spPr bwMode="auto">
          <a:xfrm>
            <a:off x="12411753" y="3155524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E6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9" name="Freeform 5"/>
          <p:cNvSpPr>
            <a:spLocks/>
          </p:cNvSpPr>
          <p:nvPr userDrawn="1"/>
        </p:nvSpPr>
        <p:spPr bwMode="auto">
          <a:xfrm>
            <a:off x="12411753" y="342580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AFC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80" name="Freeform 5"/>
          <p:cNvSpPr>
            <a:spLocks/>
          </p:cNvSpPr>
          <p:nvPr userDrawn="1"/>
        </p:nvSpPr>
        <p:spPr bwMode="auto">
          <a:xfrm>
            <a:off x="12411753" y="3734884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DEDEDE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81" name="Freeform 5"/>
          <p:cNvSpPr>
            <a:spLocks/>
          </p:cNvSpPr>
          <p:nvPr userDrawn="1"/>
        </p:nvSpPr>
        <p:spPr bwMode="auto">
          <a:xfrm>
            <a:off x="12411753" y="400516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9C9C9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5616287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68" r:id="rId1"/>
    <p:sldLayoutId id="2147484369" r:id="rId2"/>
    <p:sldLayoutId id="2147484370" r:id="rId3"/>
    <p:sldLayoutId id="2147484371" r:id="rId4"/>
    <p:sldLayoutId id="2147484372" r:id="rId5"/>
    <p:sldLayoutId id="2147484373" r:id="rId6"/>
    <p:sldLayoutId id="2147484374" r:id="rId7"/>
    <p:sldLayoutId id="2147484375" r:id="rId8"/>
    <p:sldLayoutId id="2147484376" r:id="rId9"/>
    <p:sldLayoutId id="2147484377" r:id="rId10"/>
    <p:sldLayoutId id="2147484378" r:id="rId11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defTabSz="594377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2700" b="0" i="0" kern="1200" noProof="0">
          <a:solidFill>
            <a:srgbClr val="FF7900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407" indent="-239407" algn="l" defTabSz="59437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4684" indent="-229084" algn="l" defTabSz="59437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4684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3774" indent="-229084" algn="l" defTabSz="59437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3774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2866" indent="-229084" algn="l" defTabSz="59437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2866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1950" indent="-229084" algn="l" defTabSz="59437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1950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69165" indent="-297188" algn="l" defTabSz="59437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63549" indent="-297188" algn="l" defTabSz="59437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57936" indent="-297188" algn="l" defTabSz="59437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52331" indent="-297188" algn="l" defTabSz="59437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43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4377" algn="l" defTabSz="5943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8787" algn="l" defTabSz="5943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3180" algn="l" defTabSz="5943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7569" algn="l" defTabSz="5943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71970" algn="l" defTabSz="5943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66357" algn="l" defTabSz="5943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60747" algn="l" defTabSz="5943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55137" algn="l" defTabSz="5943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7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82" y="1854733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2084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81813" y="1855253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9223673" y="6781955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1947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3167600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80" r:id="rId1"/>
    <p:sldLayoutId id="2147484381" r:id="rId2"/>
    <p:sldLayoutId id="2147484382" r:id="rId3"/>
    <p:sldLayoutId id="2147484383" r:id="rId4"/>
  </p:sldLayoutIdLst>
  <p:hf hdr="0" dt="0"/>
  <p:txStyles>
    <p:titleStyle>
      <a:lvl1pPr algn="l" defTabSz="591947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8434" indent="-238434" algn="l" defTabSz="59194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2756" indent="-228154" algn="l" defTabSz="59194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2756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0913" indent="-228154" algn="l" defTabSz="59194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0913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29070" indent="-228154" algn="l" defTabSz="59194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29070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57207" indent="-228154" algn="l" defTabSz="59194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57207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55872" indent="-295965" algn="l" defTabSz="59194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47841" indent="-295965" algn="l" defTabSz="59194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39815" indent="-295965" algn="l" defTabSz="59194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31791" indent="-295965" algn="l" defTabSz="59194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1947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3950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75935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67908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59881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51854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43833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35810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7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82" y="1854729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2080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81813" y="1855249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34" tIns="46634" rIns="46634" bIns="46634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34" tIns="46634" rIns="46634" bIns="46634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34" tIns="46634" rIns="46634" bIns="46634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34" tIns="46634" rIns="46634" bIns="46634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34" tIns="46634" rIns="46634" bIns="46634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34" tIns="46634" rIns="46634" bIns="46634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34" tIns="46634" rIns="46634" bIns="46634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9223673" y="6781953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2149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177700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85" r:id="rId1"/>
    <p:sldLayoutId id="2147484386" r:id="rId2"/>
    <p:sldLayoutId id="2147484387" r:id="rId3"/>
    <p:sldLayoutId id="2147484388" r:id="rId4"/>
  </p:sldLayoutIdLst>
  <p:hf hdr="0" dt="0"/>
  <p:txStyles>
    <p:titleStyle>
      <a:lvl1pPr algn="l" defTabSz="592149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8518" indent="-238518" algn="l" defTabSz="59214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2916" indent="-228231" algn="l" defTabSz="59214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2916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1150" indent="-228231" algn="l" defTabSz="59214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1150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29386" indent="-228231" algn="l" defTabSz="59214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29386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57600" indent="-228231" algn="l" defTabSz="59214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57600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56977" indent="-296068" algn="l" defTabSz="592149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49145" indent="-296068" algn="l" defTabSz="592149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41324" indent="-296068" algn="l" defTabSz="592149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33500" indent="-296068" algn="l" defTabSz="592149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2149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4352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76537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68711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60888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53058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45240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37417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7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82" y="1854670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2020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81813" y="1855192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69" tIns="46869" rIns="46869" bIns="46869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69" tIns="46869" rIns="46869" bIns="46869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69" tIns="46869" rIns="46869" bIns="46869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69" tIns="46869" rIns="46869" bIns="46869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69" tIns="46869" rIns="46869" bIns="46869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69" tIns="46869" rIns="46869" bIns="46869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519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519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69" tIns="46869" rIns="46869" bIns="46869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9223673" y="6781894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5190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051" tIns="59524" rIns="119051" bIns="59524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51" tIns="59524" rIns="119051" bIns="59524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51" tIns="59524" rIns="119051" bIns="59524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51" tIns="59524" rIns="119051" bIns="59524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051" tIns="59524" rIns="119051" bIns="59524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51" tIns="59524" rIns="119051" bIns="59524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51" tIns="59524" rIns="119051" bIns="59524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51" tIns="59524" rIns="119051" bIns="59524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051" tIns="59524" rIns="119051" bIns="59524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51" tIns="59524" rIns="119051" bIns="59524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51" tIns="59524" rIns="119051" bIns="59524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051" tIns="59524" rIns="119051" bIns="59524" numCol="1" anchor="t" anchorCtr="0" compatLnSpc="1">
            <a:prstTxWarp prst="textNoShape">
              <a:avLst/>
            </a:prstTxWarp>
          </a:bodyPr>
          <a:lstStyle/>
          <a:p>
            <a:pPr defTabSz="595190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68073003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90" r:id="rId1"/>
    <p:sldLayoutId id="2147484391" r:id="rId2"/>
    <p:sldLayoutId id="2147484392" r:id="rId3"/>
    <p:sldLayoutId id="2147484393" r:id="rId4"/>
  </p:sldLayoutIdLst>
  <p:hf sldNum="0" hdr="0" ftr="0" dt="0"/>
  <p:txStyles>
    <p:titleStyle>
      <a:lvl1pPr algn="l" defTabSz="595190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732" indent="-239732" algn="l" defTabSz="595190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5329" indent="-229398" algn="l" defTabSz="595190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5329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4729" indent="-229398" algn="l" defTabSz="595190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4729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4136" indent="-229398" algn="l" defTabSz="595190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4136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3533" indent="-229398" algn="l" defTabSz="595190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3533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73606" indent="-297593" algn="l" defTabSz="595190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68800" indent="-297593" algn="l" defTabSz="595190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63998" indent="-297593" algn="l" defTabSz="595190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59195" indent="-297593" algn="l" defTabSz="595190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51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5190" algn="l" defTabSz="5951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90402" algn="l" defTabSz="5951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5600" algn="l" defTabSz="5951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80801" algn="l" defTabSz="5951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76008" algn="l" defTabSz="5951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71203" algn="l" defTabSz="5951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66402" algn="l" defTabSz="5951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61600" algn="l" defTabSz="5951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2003146934"/>
              </p:ext>
            </p:extLst>
          </p:nvPr>
        </p:nvGraphicFramePr>
        <p:xfrm>
          <a:off x="1" y="2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15269" name="Slide do think-cell" r:id="rId12" imgW="0" imgH="0" progId="TCLayout.ActiveDocument.1">
                  <p:embed/>
                </p:oleObj>
              </mc:Choice>
              <mc:Fallback>
                <p:oleObj name="Slide do think-cell" r:id="rId12" imgW="0" imgH="0" progId="TCLayout.ActiveDocument.1">
                  <p:embed/>
                  <p:pic>
                    <p:nvPicPr>
                      <p:cNvPr id="0" name="AutoShape 80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2"/>
                        <a:ext cx="211676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10776432" y="36518"/>
            <a:ext cx="876339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87223"/>
            <a:endParaRPr lang="pt-BR" sz="800" dirty="0">
              <a:solidFill>
                <a:srgbClr val="000000"/>
              </a:solidFill>
              <a:latin typeface="Arial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10557650" y="1932900"/>
            <a:ext cx="2596865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/02/2017 08:07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10682583" y="4106726"/>
            <a:ext cx="234679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936841" y="1951039"/>
            <a:ext cx="5736421" cy="11060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ext styles</a:t>
            </a:r>
          </a:p>
          <a:p>
            <a:pPr lvl="1"/>
            <a:r>
              <a:rPr lang="pt-BR" noProof="0" smtClean="0"/>
              <a:t>Second level</a:t>
            </a:r>
          </a:p>
          <a:p>
            <a:pPr lvl="2"/>
            <a:r>
              <a:rPr lang="pt-BR" noProof="0" smtClean="0"/>
              <a:t>Third level</a:t>
            </a:r>
          </a:p>
          <a:p>
            <a:pPr lvl="3"/>
            <a:r>
              <a:rPr lang="pt-BR" noProof="0" smtClean="0"/>
              <a:t>Fourth level</a:t>
            </a:r>
          </a:p>
          <a:p>
            <a:pPr lvl="4"/>
            <a:r>
              <a:rPr lang="pt-BR" noProof="0" smtClean="0"/>
              <a:t>Fifth level</a:t>
            </a:r>
            <a:endParaRPr lang="pt-BR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211676" y="230291"/>
            <a:ext cx="10530036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58862" y="26992"/>
            <a:ext cx="886083" cy="2212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pt-BR" sz="1400">
                <a:solidFill>
                  <a:srgbClr val="808080"/>
                </a:solidFill>
                <a:latin typeface="Arial"/>
                <a:cs typeface="Arial" panose="020B0604020202020204" pitchFamily="34" charset="0"/>
                <a:sym typeface="Arial" panose="020B0604020202020204" pitchFamily="34" charset="0"/>
              </a:rPr>
              <a:t>TRACKER</a:t>
            </a:r>
            <a:endParaRPr lang="pt-BR" sz="1400" dirty="0">
              <a:solidFill>
                <a:srgbClr val="808080"/>
              </a:solidFill>
              <a:latin typeface="Arial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58867" y="621827"/>
            <a:ext cx="11491891" cy="281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pt-BR" sz="1800" smtClean="0">
                <a:solidFill>
                  <a:srgbClr val="D5E7FF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Unit of measure</a:t>
            </a:r>
            <a:endParaRPr lang="pt-BR" sz="1800" dirty="0" smtClean="0">
              <a:solidFill>
                <a:srgbClr val="D5E7FF">
                  <a:lumMod val="75000"/>
                </a:srgbClr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158761" y="6265574"/>
            <a:ext cx="11398753" cy="358776"/>
            <a:chOff x="75" y="3877"/>
            <a:chExt cx="5385" cy="226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877"/>
              <a:ext cx="5385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pt-BR" sz="100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1 Footnote</a:t>
              </a:r>
              <a:endParaRPr lang="pt-BR" sz="1000" dirty="0" smtClean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06"/>
              <a:ext cx="4323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t" anchorCtr="0">
              <a:spAutoFit/>
            </a:bodyPr>
            <a:lstStyle/>
            <a:p>
              <a:pPr marL="604099" indent="-604099" defTabSz="887223">
                <a:tabLst>
                  <a:tab pos="607229" algn="l"/>
                </a:tabLst>
              </a:pPr>
              <a:r>
                <a:rPr lang="pt-BR" sz="1000" dirty="0">
                  <a:solidFill>
                    <a:srgbClr val="4D4D4D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FONTE: </a:t>
              </a:r>
              <a:r>
                <a:rPr lang="pt-BR" sz="1000" dirty="0" err="1">
                  <a:solidFill>
                    <a:srgbClr val="4D4D4D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Source</a:t>
              </a:r>
              <a:endParaRPr lang="pt-BR" sz="1000" dirty="0">
                <a:solidFill>
                  <a:srgbClr val="4D4D4D"/>
                </a:solidFill>
                <a:latin typeface="Arial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936840" y="1123953"/>
            <a:ext cx="5685618" cy="511174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 hidden="1"/>
            <p:cNvSpPr>
              <a:spLocks noChangeArrowheads="1"/>
            </p:cNvSpPr>
            <p:nvPr/>
          </p:nvSpPr>
          <p:spPr bwMode="auto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pt-BR" b="1">
                  <a:solidFill>
                    <a:srgbClr val="00000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Title</a:t>
              </a:r>
            </a:p>
            <a:p>
              <a:r>
                <a:rPr lang="pt-BR">
                  <a:solidFill>
                    <a:srgbClr val="808080"/>
                  </a:solidFill>
                  <a:latin typeface="Arial"/>
                  <a:cs typeface="Arial" panose="020B0604020202020204" pitchFamily="34" charset="0"/>
                  <a:sym typeface="Arial" panose="020B0604020202020204" pitchFamily="34" charset="0"/>
                </a:rPr>
                <a:t>Unit of measure</a:t>
              </a:r>
              <a:endParaRPr lang="pt-BR" dirty="0">
                <a:solidFill>
                  <a:srgbClr val="808080"/>
                </a:solidFill>
                <a:latin typeface="Arial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28" name="Group 27"/>
          <p:cNvGrpSpPr/>
          <p:nvPr userDrawn="1"/>
        </p:nvGrpSpPr>
        <p:grpSpPr>
          <a:xfrm>
            <a:off x="11335740" y="60963"/>
            <a:ext cx="613376" cy="655256"/>
            <a:chOff x="5526523" y="2325890"/>
            <a:chExt cx="3423032" cy="3656747"/>
          </a:xfrm>
        </p:grpSpPr>
        <p:sp>
          <p:nvSpPr>
            <p:cNvPr id="29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30" name="Group 29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31" name="Donut 30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2" name="Oval 31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3" name="Oval 32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0571594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7" r:id="rId1"/>
    <p:sldLayoutId id="2147483728" r:id="rId2"/>
    <p:sldLayoutId id="2147483729" r:id="rId3"/>
    <p:sldLayoutId id="2147483730" r:id="rId4"/>
    <p:sldLayoutId id="2147483731" r:id="rId5"/>
    <p:sldLayoutId id="2147483732" r:id="rId6"/>
    <p:sldLayoutId id="2147483733" r:id="rId7"/>
    <p:sldLayoutId id="2147483734" r:id="rId8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defTabSz="887223" rtl="0" eaLnBrk="1" fontAlgn="base" hangingPunct="1">
        <a:spcBef>
          <a:spcPct val="0"/>
        </a:spcBef>
        <a:spcAft>
          <a:spcPct val="0"/>
        </a:spcAft>
        <a:tabLst>
          <a:tab pos="267446" algn="l"/>
        </a:tabLst>
        <a:defRPr lang="en-US" sz="2000" b="1" baseline="0" noProof="0" dirty="0" smtClean="0">
          <a:solidFill>
            <a:schemeClr val="accent4"/>
          </a:solidFill>
          <a:latin typeface="Arial" panose="020B0604020202020204" pitchFamily="34" charset="0"/>
          <a:ea typeface="+mj-ea"/>
          <a:cs typeface="Arial" panose="020B0604020202020204" pitchFamily="34" charset="0"/>
          <a:sym typeface="Arial" panose="020B0604020202020204" pitchFamily="34" charset="0"/>
        </a:defRPr>
      </a:lvl1pPr>
      <a:lvl2pPr algn="l" defTabSz="8872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2pPr>
      <a:lvl3pPr algn="l" defTabSz="8872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3pPr>
      <a:lvl4pPr algn="l" defTabSz="8872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4pPr>
      <a:lvl5pPr algn="l" defTabSz="8872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5pPr>
      <a:lvl6pPr marL="453084" algn="l" defTabSz="8872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6pPr>
      <a:lvl7pPr marL="906118" algn="l" defTabSz="8872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7pPr>
      <a:lvl8pPr marL="1359159" algn="l" defTabSz="8872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8pPr>
      <a:lvl9pPr marL="1812219" algn="l" defTabSz="8872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87223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400" baseline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1pPr>
      <a:lvl2pPr marL="191944" indent="-191944" algn="l" defTabSz="887223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15000"/>
        <a:buFont typeface="Simplon BP Regular" pitchFamily="2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2pPr>
      <a:lvl3pPr marL="453084" indent="-259538" algn="l" defTabSz="887223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charset="0"/>
        <a:buChar char="–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3pPr>
      <a:lvl4pPr marL="608793" indent="-154201" algn="l" defTabSz="887223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pitchFamily="34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4pPr>
      <a:lvl5pPr marL="742991" indent="-129000" algn="l" defTabSz="887223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89000"/>
        <a:buFont typeface="Arial" charset="0"/>
        <a:buChar char="-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5pPr>
      <a:lvl6pPr marL="742991" indent="-129000" algn="l" defTabSz="88722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2991" indent="-129000" algn="l" defTabSz="88722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2991" indent="-129000" algn="l" defTabSz="88722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2991" indent="-129000" algn="l" defTabSz="88722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061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3084" algn="l" defTabSz="9061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06118" algn="l" defTabSz="9061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59159" algn="l" defTabSz="9061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12219" algn="l" defTabSz="9061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65273" algn="l" defTabSz="9061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18319" algn="l" defTabSz="9061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71377" algn="l" defTabSz="9061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24436" algn="l" defTabSz="9061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82" y="1854703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2053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81813" y="1855222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9223673" y="6781924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3568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05580810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95" r:id="rId1"/>
    <p:sldLayoutId id="2147484396" r:id="rId2"/>
    <p:sldLayoutId id="2147484397" r:id="rId3"/>
    <p:sldLayoutId id="2147484398" r:id="rId4"/>
    <p:sldLayoutId id="2147484399" r:id="rId5"/>
    <p:sldLayoutId id="2147484400" r:id="rId6"/>
    <p:sldLayoutId id="2147484401" r:id="rId7"/>
    <p:sldLayoutId id="2147484402" r:id="rId8"/>
    <p:sldLayoutId id="2147484403" r:id="rId9"/>
    <p:sldLayoutId id="2147484404" r:id="rId10"/>
  </p:sldLayoutIdLst>
  <p:hf sldNum="0" hdr="0" ftr="0" dt="0"/>
  <p:txStyles>
    <p:titleStyle>
      <a:lvl1pPr algn="l" defTabSz="593568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086" indent="-239086" algn="l" defTabSz="59356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4041" indent="-228773" algn="l" defTabSz="59356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4041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2818" indent="-228773" algn="l" defTabSz="59356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2818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1601" indent="-228773" algn="l" defTabSz="59356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1601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0369" indent="-228773" algn="l" defTabSz="59356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0369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64727" indent="-296779" algn="l" defTabSz="59356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58307" indent="-296779" algn="l" defTabSz="59356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51888" indent="-296779" algn="l" defTabSz="59356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45481" indent="-296779" algn="l" defTabSz="59356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3568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7172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0762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4346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67935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61514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55098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48689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8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2046446707"/>
              </p:ext>
            </p:extLst>
          </p:nvPr>
        </p:nvGraphicFramePr>
        <p:xfrm>
          <a:off x="2077" y="2077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17539" name="Slide do think-cell" r:id="rId6" imgW="0" imgH="0" progId="TCLayout.ActiveDocument.1">
                  <p:embed/>
                </p:oleObj>
              </mc:Choice>
              <mc:Fallback>
                <p:oleObj name="Slide do think-cell" r:id="rId6" imgW="0" imgH="0" progId="TCLayout.ActiveDocument.1">
                  <p:embed/>
                  <p:pic>
                    <p:nvPicPr>
                      <p:cNvPr id="0" name="AutoShape 38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77" y="2077"/>
                        <a:ext cx="2074" cy="20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1978" y="358912"/>
            <a:ext cx="7338636" cy="102481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lvl="0">
              <a:lnSpc>
                <a:spcPct val="100000"/>
              </a:lnSpc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3" name="TextBox 12"/>
          <p:cNvSpPr txBox="1"/>
          <p:nvPr/>
        </p:nvSpPr>
        <p:spPr>
          <a:xfrm>
            <a:off x="-281813" y="7363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6545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-281813" y="1855164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6545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/>
        </p:nvSpPr>
        <p:spPr bwMode="auto">
          <a:xfrm>
            <a:off x="11944818" y="3078502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973" tIns="46973" rIns="46973" bIns="46973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16"/>
          <p:cNvSpPr>
            <a:spLocks/>
          </p:cNvSpPr>
          <p:nvPr/>
        </p:nvSpPr>
        <p:spPr bwMode="auto">
          <a:xfrm>
            <a:off x="11944818" y="2513906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973" tIns="46973" rIns="46973" bIns="46973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4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/>
        </p:nvSpPr>
        <p:spPr bwMode="auto">
          <a:xfrm>
            <a:off x="11944818" y="1949310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973" tIns="46973" rIns="46973" bIns="46973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9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9" name="Freeform 5"/>
          <p:cNvSpPr>
            <a:spLocks/>
          </p:cNvSpPr>
          <p:nvPr/>
        </p:nvSpPr>
        <p:spPr bwMode="auto">
          <a:xfrm>
            <a:off x="11944818" y="1384714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973" tIns="46973" rIns="46973" bIns="46973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0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Freeform 28"/>
          <p:cNvSpPr>
            <a:spLocks/>
          </p:cNvSpPr>
          <p:nvPr/>
        </p:nvSpPr>
        <p:spPr bwMode="auto">
          <a:xfrm>
            <a:off x="11944818" y="820118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973" tIns="46973" rIns="46973" bIns="46973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140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Freeform 5"/>
          <p:cNvSpPr>
            <a:spLocks/>
          </p:cNvSpPr>
          <p:nvPr/>
        </p:nvSpPr>
        <p:spPr bwMode="auto">
          <a:xfrm>
            <a:off x="11944818" y="258729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973" tIns="46973" rIns="46973" bIns="46973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6545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6545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1" name="Freeform 5"/>
          <p:cNvSpPr>
            <a:spLocks/>
          </p:cNvSpPr>
          <p:nvPr/>
        </p:nvSpPr>
        <p:spPr bwMode="auto">
          <a:xfrm>
            <a:off x="11944818" y="3643098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973" tIns="46973" rIns="46973" bIns="46973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6" name="Freeform 5"/>
          <p:cNvSpPr>
            <a:spLocks/>
          </p:cNvSpPr>
          <p:nvPr/>
        </p:nvSpPr>
        <p:spPr bwMode="auto">
          <a:xfrm>
            <a:off x="11949114" y="4301731"/>
            <a:ext cx="424105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313" tIns="59659" rIns="119313" bIns="59659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27" name="Freeform 5"/>
          <p:cNvSpPr>
            <a:spLocks/>
          </p:cNvSpPr>
          <p:nvPr/>
        </p:nvSpPr>
        <p:spPr bwMode="auto">
          <a:xfrm>
            <a:off x="11949112" y="4493139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313" tIns="59659" rIns="119313" bIns="59659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28" name="Freeform 5"/>
          <p:cNvSpPr>
            <a:spLocks/>
          </p:cNvSpPr>
          <p:nvPr/>
        </p:nvSpPr>
        <p:spPr bwMode="auto">
          <a:xfrm>
            <a:off x="12102362" y="4493138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313" tIns="59659" rIns="119313" bIns="59659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5" name="Freeform 5"/>
          <p:cNvSpPr>
            <a:spLocks/>
          </p:cNvSpPr>
          <p:nvPr/>
        </p:nvSpPr>
        <p:spPr bwMode="auto">
          <a:xfrm>
            <a:off x="12255608" y="4493135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313" tIns="59659" rIns="119313" bIns="59659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6" name="Freeform 5"/>
          <p:cNvSpPr>
            <a:spLocks/>
          </p:cNvSpPr>
          <p:nvPr/>
        </p:nvSpPr>
        <p:spPr bwMode="auto">
          <a:xfrm>
            <a:off x="11949114" y="4775433"/>
            <a:ext cx="424105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313" tIns="59659" rIns="119313" bIns="59659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7" name="Freeform 5"/>
          <p:cNvSpPr>
            <a:spLocks/>
          </p:cNvSpPr>
          <p:nvPr/>
        </p:nvSpPr>
        <p:spPr bwMode="auto">
          <a:xfrm>
            <a:off x="11949112" y="4982131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313" tIns="59659" rIns="119313" bIns="59659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8" name="Freeform 5"/>
          <p:cNvSpPr>
            <a:spLocks/>
          </p:cNvSpPr>
          <p:nvPr/>
        </p:nvSpPr>
        <p:spPr bwMode="auto">
          <a:xfrm>
            <a:off x="12102362" y="4982128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313" tIns="59659" rIns="119313" bIns="59659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9" name="Freeform 5"/>
          <p:cNvSpPr>
            <a:spLocks/>
          </p:cNvSpPr>
          <p:nvPr/>
        </p:nvSpPr>
        <p:spPr bwMode="auto">
          <a:xfrm>
            <a:off x="12255608" y="4982127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313" tIns="59659" rIns="119313" bIns="59659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0" name="Freeform 5"/>
          <p:cNvSpPr>
            <a:spLocks/>
          </p:cNvSpPr>
          <p:nvPr/>
        </p:nvSpPr>
        <p:spPr bwMode="auto">
          <a:xfrm>
            <a:off x="11949114" y="5245930"/>
            <a:ext cx="424105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9313" tIns="59659" rIns="119313" bIns="59659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1" name="Freeform 5"/>
          <p:cNvSpPr>
            <a:spLocks/>
          </p:cNvSpPr>
          <p:nvPr/>
        </p:nvSpPr>
        <p:spPr bwMode="auto">
          <a:xfrm>
            <a:off x="11949112" y="5437334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313" tIns="59659" rIns="119313" bIns="59659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2" name="Freeform 5"/>
          <p:cNvSpPr>
            <a:spLocks/>
          </p:cNvSpPr>
          <p:nvPr/>
        </p:nvSpPr>
        <p:spPr bwMode="auto">
          <a:xfrm>
            <a:off x="12102362" y="5437333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313" tIns="59659" rIns="119313" bIns="59659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3" name="Freeform 5"/>
          <p:cNvSpPr>
            <a:spLocks/>
          </p:cNvSpPr>
          <p:nvPr/>
        </p:nvSpPr>
        <p:spPr bwMode="auto">
          <a:xfrm>
            <a:off x="12255608" y="5437333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313" tIns="59659" rIns="119313" bIns="59659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4" name="TextBox 39"/>
          <p:cNvSpPr txBox="1"/>
          <p:nvPr/>
        </p:nvSpPr>
        <p:spPr>
          <a:xfrm>
            <a:off x="11949128" y="5619122"/>
            <a:ext cx="603771" cy="86593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6545" fontAlgn="auto">
              <a:spcBef>
                <a:spcPts val="1045"/>
              </a:spcBef>
              <a:spcAft>
                <a:spcPts val="0"/>
              </a:spcAft>
            </a:pPr>
            <a:r>
              <a:rPr lang="en-US" sz="9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9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9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9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9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9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9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9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9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9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</a:p>
        </p:txBody>
      </p:sp>
      <p:sp>
        <p:nvSpPr>
          <p:cNvPr id="32" name="Freeform 5"/>
          <p:cNvSpPr>
            <a:spLocks/>
          </p:cNvSpPr>
          <p:nvPr/>
        </p:nvSpPr>
        <p:spPr bwMode="auto">
          <a:xfrm>
            <a:off x="12411753" y="25872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BD78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313" tIns="59659" rIns="119313" bIns="59659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Freeform 5"/>
          <p:cNvSpPr>
            <a:spLocks/>
          </p:cNvSpPr>
          <p:nvPr/>
        </p:nvSpPr>
        <p:spPr bwMode="auto">
          <a:xfrm>
            <a:off x="12411753" y="537757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7A23C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313" tIns="59659" rIns="119313" bIns="59659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/>
        </p:nvSpPr>
        <p:spPr bwMode="auto">
          <a:xfrm>
            <a:off x="12411753" y="86222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86DB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313" tIns="59659" rIns="119313" bIns="59659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/>
        </p:nvSpPr>
        <p:spPr bwMode="auto">
          <a:xfrm>
            <a:off x="12411753" y="113250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B51F7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313" tIns="59659" rIns="119313" bIns="59659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/>
        </p:nvSpPr>
        <p:spPr bwMode="auto">
          <a:xfrm>
            <a:off x="12411753" y="144158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95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313" tIns="59659" rIns="119313" bIns="59659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/>
        </p:nvSpPr>
        <p:spPr bwMode="auto">
          <a:xfrm>
            <a:off x="12411753" y="171186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CC52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313" tIns="59659" rIns="119313" bIns="59659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/>
        </p:nvSpPr>
        <p:spPr bwMode="auto">
          <a:xfrm>
            <a:off x="12411753" y="200887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C8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313" tIns="59659" rIns="119313" bIns="59659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/>
        </p:nvSpPr>
        <p:spPr bwMode="auto">
          <a:xfrm>
            <a:off x="12411753" y="227915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CCC6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313" tIns="59659" rIns="119313" bIns="59659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/>
        </p:nvSpPr>
        <p:spPr bwMode="auto">
          <a:xfrm>
            <a:off x="12411753" y="256409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69D17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313" tIns="59659" rIns="119313" bIns="59659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/>
        </p:nvSpPr>
        <p:spPr bwMode="auto">
          <a:xfrm>
            <a:off x="12411753" y="283437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9E0B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313" tIns="59659" rIns="119313" bIns="59659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/>
        </p:nvSpPr>
        <p:spPr bwMode="auto">
          <a:xfrm>
            <a:off x="12411753" y="3155524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E6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313" tIns="59659" rIns="119313" bIns="59659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3" name="Freeform 5"/>
          <p:cNvSpPr>
            <a:spLocks/>
          </p:cNvSpPr>
          <p:nvPr/>
        </p:nvSpPr>
        <p:spPr bwMode="auto">
          <a:xfrm>
            <a:off x="12411753" y="342580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AFC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313" tIns="59659" rIns="119313" bIns="59659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" name="Freeform 5"/>
          <p:cNvSpPr>
            <a:spLocks/>
          </p:cNvSpPr>
          <p:nvPr/>
        </p:nvSpPr>
        <p:spPr bwMode="auto">
          <a:xfrm>
            <a:off x="12411753" y="3734884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DEDEDE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313" tIns="59659" rIns="119313" bIns="59659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5" name="Freeform 5"/>
          <p:cNvSpPr>
            <a:spLocks/>
          </p:cNvSpPr>
          <p:nvPr/>
        </p:nvSpPr>
        <p:spPr bwMode="auto">
          <a:xfrm>
            <a:off x="12411753" y="400516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9C9C9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313" tIns="59659" rIns="119313" bIns="59659" numCol="1" anchor="t" anchorCtr="0" compatLnSpc="1">
            <a:prstTxWarp prst="textNoShape">
              <a:avLst/>
            </a:prstTxWarp>
          </a:bodyPr>
          <a:lstStyle/>
          <a:p>
            <a:pPr defTabSz="596545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7742420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06" r:id="rId1"/>
    <p:sldLayoutId id="2147484407" r:id="rId2"/>
  </p:sldLayoutIdLst>
  <p:hf sldNum="0" hdr="0" ftr="0" dt="0"/>
  <p:txStyles>
    <p:titleStyle>
      <a:lvl1pPr algn="l" defTabSz="596545" rtl="0" eaLnBrk="1" latinLnBrk="0" hangingPunct="1">
        <a:lnSpc>
          <a:spcPts val="5486"/>
        </a:lnSpc>
        <a:spcBef>
          <a:spcPct val="0"/>
        </a:spcBef>
        <a:spcAft>
          <a:spcPts val="0"/>
        </a:spcAft>
        <a:buNone/>
        <a:defRPr lang="en-US" sz="5500" b="0" i="0" kern="1200" noProof="0" dirty="0">
          <a:solidFill>
            <a:srgbClr val="A037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40276" indent="-240276" algn="l" defTabSz="596545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6408" indent="-229919" algn="l" defTabSz="596545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6408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6328" indent="-229919" algn="l" defTabSz="596545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6328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6252" indent="-229919" algn="l" defTabSz="596545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6252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6172" indent="-229919" algn="l" defTabSz="596545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6172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81026" indent="-298274" algn="l" defTabSz="596545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77572" indent="-298274" algn="l" defTabSz="596545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74117" indent="-298274" algn="l" defTabSz="596545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70665" indent="-298274" algn="l" defTabSz="596545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654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6545" algn="l" defTabSz="59654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93099" algn="l" defTabSz="59654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9650" algn="l" defTabSz="59654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86198" algn="l" defTabSz="59654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82751" algn="l" defTabSz="59654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79297" algn="l" defTabSz="59654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75846" algn="l" defTabSz="59654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72390" algn="l" defTabSz="59654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8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3583558477"/>
              </p:ext>
            </p:extLst>
          </p:nvPr>
        </p:nvGraphicFramePr>
        <p:xfrm>
          <a:off x="1" y="2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19582" name="Slide do think-cell" r:id="rId14" imgW="0" imgH="0" progId="TCLayout.ActiveDocument.1">
                  <p:embed/>
                </p:oleObj>
              </mc:Choice>
              <mc:Fallback>
                <p:oleObj name="Slide do think-cell" r:id="rId14" imgW="0" imgH="0" progId="TCLayout.ActiveDocument.1">
                  <p:embed/>
                  <p:pic>
                    <p:nvPicPr>
                      <p:cNvPr id="0" name="AutoShape 38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2"/>
                        <a:ext cx="211676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10776432" y="36518"/>
            <a:ext cx="876339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87123"/>
            <a:endParaRPr lang="pt-BR" sz="8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10519874" y="1932900"/>
            <a:ext cx="267220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10682583" y="4106726"/>
            <a:ext cx="234679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936841" y="1951039"/>
            <a:ext cx="5736421" cy="11060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ext styles</a:t>
            </a:r>
          </a:p>
          <a:p>
            <a:pPr lvl="1"/>
            <a:r>
              <a:rPr lang="pt-BR" noProof="0" smtClean="0"/>
              <a:t>Second level</a:t>
            </a:r>
          </a:p>
          <a:p>
            <a:pPr lvl="2"/>
            <a:r>
              <a:rPr lang="pt-BR" noProof="0" smtClean="0"/>
              <a:t>Third level</a:t>
            </a:r>
          </a:p>
          <a:p>
            <a:pPr lvl="3"/>
            <a:r>
              <a:rPr lang="pt-BR" noProof="0" smtClean="0"/>
              <a:t>Fourth level</a:t>
            </a:r>
          </a:p>
          <a:p>
            <a:pPr lvl="4"/>
            <a:r>
              <a:rPr lang="pt-BR" noProof="0" smtClean="0"/>
              <a:t>Fifth level</a:t>
            </a:r>
            <a:endParaRPr lang="pt-BR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211676" y="230292"/>
            <a:ext cx="10530036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58865" y="26992"/>
            <a:ext cx="886083" cy="2212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pt-BR" sz="1400" smtClean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TRACKER</a:t>
            </a:r>
            <a:endParaRPr lang="pt-BR" sz="1400" dirty="0">
              <a:solidFill>
                <a:srgbClr val="80808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58886" y="621826"/>
            <a:ext cx="11491891" cy="281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pt-BR" sz="1800" smtClean="0">
                <a:solidFill>
                  <a:srgbClr val="D5E7FF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Unit of measure</a:t>
            </a:r>
            <a:endParaRPr lang="pt-BR" sz="1800" dirty="0" smtClean="0">
              <a:solidFill>
                <a:srgbClr val="D5E7FF">
                  <a:lumMod val="75000"/>
                </a:srgbClr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158761" y="6265569"/>
            <a:ext cx="11398753" cy="358776"/>
            <a:chOff x="75" y="3877"/>
            <a:chExt cx="5385" cy="226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877"/>
              <a:ext cx="5385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pt-BR" sz="100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1 Footnote</a:t>
              </a:r>
              <a:endParaRPr lang="pt-BR" sz="1000" dirty="0" smtClean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06"/>
              <a:ext cx="4323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t" anchorCtr="0">
              <a:spAutoFit/>
            </a:bodyPr>
            <a:lstStyle/>
            <a:p>
              <a:pPr marL="604031" indent="-604031" defTabSz="887123">
                <a:tabLst>
                  <a:tab pos="607161" algn="l"/>
                </a:tabLst>
              </a:pPr>
              <a:r>
                <a:rPr lang="pt-BR" sz="1000" dirty="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FONTE: </a:t>
              </a:r>
              <a:r>
                <a:rPr lang="pt-BR" sz="1000" dirty="0" err="1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ource</a:t>
              </a:r>
              <a:endParaRPr lang="pt-BR" sz="1000" dirty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936840" y="1123953"/>
            <a:ext cx="5685618" cy="511174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 hidden="1"/>
            <p:cNvSpPr>
              <a:spLocks noChangeArrowheads="1"/>
            </p:cNvSpPr>
            <p:nvPr/>
          </p:nvSpPr>
          <p:spPr bwMode="auto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pt-BR" b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itle</a:t>
              </a:r>
            </a:p>
            <a:p>
              <a:r>
                <a:rPr lang="pt-BR" smtClean="0">
                  <a:solidFill>
                    <a:srgbClr val="80808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Unit of measure</a:t>
              </a:r>
              <a:endParaRPr lang="pt-BR" dirty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28" name="Group 27"/>
          <p:cNvGrpSpPr/>
          <p:nvPr userDrawn="1"/>
        </p:nvGrpSpPr>
        <p:grpSpPr>
          <a:xfrm>
            <a:off x="11335740" y="60963"/>
            <a:ext cx="613376" cy="655256"/>
            <a:chOff x="5526523" y="2325890"/>
            <a:chExt cx="3423032" cy="3656747"/>
          </a:xfrm>
        </p:grpSpPr>
        <p:sp>
          <p:nvSpPr>
            <p:cNvPr id="29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30" name="Group 29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31" name="Donut 30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2" name="Oval 31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3" name="Oval 32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8145632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10" r:id="rId1"/>
    <p:sldLayoutId id="2147484411" r:id="rId2"/>
    <p:sldLayoutId id="2147484412" r:id="rId3"/>
    <p:sldLayoutId id="2147484413" r:id="rId4"/>
    <p:sldLayoutId id="2147484414" r:id="rId5"/>
    <p:sldLayoutId id="2147484415" r:id="rId6"/>
    <p:sldLayoutId id="2147484416" r:id="rId7"/>
    <p:sldLayoutId id="2147484417" r:id="rId8"/>
    <p:sldLayoutId id="2147484419" r:id="rId9"/>
    <p:sldLayoutId id="2147484420" r:id="rId10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defTabSz="887123" rtl="0" eaLnBrk="1" fontAlgn="base" hangingPunct="1">
        <a:spcBef>
          <a:spcPct val="0"/>
        </a:spcBef>
        <a:spcAft>
          <a:spcPct val="0"/>
        </a:spcAft>
        <a:tabLst>
          <a:tab pos="267416" algn="l"/>
        </a:tabLst>
        <a:defRPr lang="en-US" sz="2000" b="1" baseline="0" noProof="0" dirty="0" smtClean="0">
          <a:solidFill>
            <a:schemeClr val="accent4"/>
          </a:solidFill>
          <a:latin typeface="Arial" panose="020B0604020202020204" pitchFamily="34" charset="0"/>
          <a:ea typeface="+mj-ea"/>
          <a:cs typeface="Arial" panose="020B0604020202020204" pitchFamily="34" charset="0"/>
          <a:sym typeface="Arial" panose="020B0604020202020204" pitchFamily="34" charset="0"/>
        </a:defRPr>
      </a:lvl1pPr>
      <a:lvl2pPr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2pPr>
      <a:lvl3pPr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3pPr>
      <a:lvl4pPr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4pPr>
      <a:lvl5pPr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5pPr>
      <a:lvl6pPr marL="453033"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6pPr>
      <a:lvl7pPr marL="906015"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7pPr>
      <a:lvl8pPr marL="1359002"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8pPr>
      <a:lvl9pPr marL="1812015"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87123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400" baseline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1pPr>
      <a:lvl2pPr marL="191923" indent="-191923" algn="l" defTabSz="887123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15000"/>
        <a:buFont typeface="Simplon BP Regular" pitchFamily="2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2pPr>
      <a:lvl3pPr marL="453033" indent="-259508" algn="l" defTabSz="887123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charset="0"/>
        <a:buChar char="–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3pPr>
      <a:lvl4pPr marL="608726" indent="-154184" algn="l" defTabSz="887123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pitchFamily="34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4pPr>
      <a:lvl5pPr marL="742907" indent="-128987" algn="l" defTabSz="887123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89000"/>
        <a:buFont typeface="Arial" charset="0"/>
        <a:buChar char="-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5pPr>
      <a:lvl6pPr marL="742907" indent="-128987" algn="l" defTabSz="88712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2907" indent="-128987" algn="l" defTabSz="88712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2907" indent="-128987" algn="l" defTabSz="88712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2907" indent="-128987" algn="l" defTabSz="88712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3033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06015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59002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12015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65017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18012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71019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24024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82" y="1854703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2053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81813" y="1855222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9223673" y="6781924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3568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80297925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22" r:id="rId1"/>
    <p:sldLayoutId id="2147484423" r:id="rId2"/>
    <p:sldLayoutId id="2147484424" r:id="rId3"/>
    <p:sldLayoutId id="2147484425" r:id="rId4"/>
    <p:sldLayoutId id="2147484426" r:id="rId5"/>
    <p:sldLayoutId id="2147484427" r:id="rId6"/>
    <p:sldLayoutId id="2147484428" r:id="rId7"/>
    <p:sldLayoutId id="2147484429" r:id="rId8"/>
    <p:sldLayoutId id="2147484430" r:id="rId9"/>
  </p:sldLayoutIdLst>
  <p:hf sldNum="0" hdr="0" ftr="0" dt="0"/>
  <p:txStyles>
    <p:titleStyle>
      <a:lvl1pPr algn="l" defTabSz="593568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086" indent="-239086" algn="l" defTabSz="59356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4041" indent="-228773" algn="l" defTabSz="59356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4041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2818" indent="-228773" algn="l" defTabSz="59356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2818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1601" indent="-228773" algn="l" defTabSz="59356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1601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0369" indent="-228773" algn="l" defTabSz="59356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0369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64727" indent="-296779" algn="l" defTabSz="59356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58307" indent="-296779" algn="l" defTabSz="59356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51888" indent="-296779" algn="l" defTabSz="59356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45481" indent="-296779" algn="l" defTabSz="59356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3568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7172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0762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4346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67935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61514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55098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48689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8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720707713"/>
              </p:ext>
            </p:extLst>
          </p:nvPr>
        </p:nvGraphicFramePr>
        <p:xfrm>
          <a:off x="2077" y="2077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24702" name="Slide do think-cell" r:id="rId12" imgW="0" imgH="0" progId="TCLayout.ActiveDocument.1">
                  <p:embed/>
                </p:oleObj>
              </mc:Choice>
              <mc:Fallback>
                <p:oleObj name="Slide do think-cell" r:id="rId12" imgW="0" imgH="0" progId="TCLayout.ActiveDocument.1">
                  <p:embed/>
                  <p:pic>
                    <p:nvPicPr>
                      <p:cNvPr id="0" name="AutoShape 38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77" y="2077"/>
                        <a:ext cx="2074" cy="20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1978" y="359001"/>
            <a:ext cx="7338636" cy="102481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1855253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16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9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Freeform 28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2" name="TextBox 39"/>
          <p:cNvSpPr txBox="1"/>
          <p:nvPr userDrawn="1"/>
        </p:nvSpPr>
        <p:spPr>
          <a:xfrm>
            <a:off x="9223673" y="6781955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1947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3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4063610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33" r:id="rId1"/>
    <p:sldLayoutId id="2147484434" r:id="rId2"/>
    <p:sldLayoutId id="2147484435" r:id="rId3"/>
    <p:sldLayoutId id="2147484436" r:id="rId4"/>
    <p:sldLayoutId id="2147484437" r:id="rId5"/>
    <p:sldLayoutId id="2147484438" r:id="rId6"/>
    <p:sldLayoutId id="2147484439" r:id="rId7"/>
    <p:sldLayoutId id="2147484440" r:id="rId8"/>
  </p:sldLayoutIdLst>
  <p:hf sldNum="0" hdr="0" ftr="0" dt="0"/>
  <p:txStyles>
    <p:titleStyle>
      <a:lvl1pPr algn="l" defTabSz="591947" rtl="0" eaLnBrk="1" latinLnBrk="0" hangingPunct="1">
        <a:lnSpc>
          <a:spcPts val="5486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A037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8434" indent="-238434" algn="l" defTabSz="59194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2756" indent="-228154" algn="l" defTabSz="59194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2756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0913" indent="-228154" algn="l" defTabSz="59194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0913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29070" indent="-228154" algn="l" defTabSz="59194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29070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57207" indent="-228154" algn="l" defTabSz="59194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57207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55872" indent="-295965" algn="l" defTabSz="59194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47841" indent="-295965" algn="l" defTabSz="59194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39815" indent="-295965" algn="l" defTabSz="59194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31791" indent="-295965" algn="l" defTabSz="59194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1947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3950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75935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67908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59881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51854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43833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35810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8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2986108055"/>
              </p:ext>
            </p:extLst>
          </p:nvPr>
        </p:nvGraphicFramePr>
        <p:xfrm>
          <a:off x="1" y="2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26750" name="Slide do think-cell" r:id="rId14" imgW="0" imgH="0" progId="TCLayout.ActiveDocument.1">
                  <p:embed/>
                </p:oleObj>
              </mc:Choice>
              <mc:Fallback>
                <p:oleObj name="Slide do think-cell" r:id="rId14" imgW="0" imgH="0" progId="TCLayout.ActiveDocument.1">
                  <p:embed/>
                  <p:pic>
                    <p:nvPicPr>
                      <p:cNvPr id="0" name="AutoShape 38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2"/>
                        <a:ext cx="211676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10776432" y="36518"/>
            <a:ext cx="876339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87123"/>
            <a:endParaRPr lang="pt-BR" sz="8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10519874" y="1932900"/>
            <a:ext cx="267220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10682583" y="4106726"/>
            <a:ext cx="234679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936841" y="1951039"/>
            <a:ext cx="5736421" cy="11060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ext styles</a:t>
            </a:r>
          </a:p>
          <a:p>
            <a:pPr lvl="1"/>
            <a:r>
              <a:rPr lang="pt-BR" noProof="0" smtClean="0"/>
              <a:t>Second level</a:t>
            </a:r>
          </a:p>
          <a:p>
            <a:pPr lvl="2"/>
            <a:r>
              <a:rPr lang="pt-BR" noProof="0" smtClean="0"/>
              <a:t>Third level</a:t>
            </a:r>
          </a:p>
          <a:p>
            <a:pPr lvl="3"/>
            <a:r>
              <a:rPr lang="pt-BR" noProof="0" smtClean="0"/>
              <a:t>Fourth level</a:t>
            </a:r>
          </a:p>
          <a:p>
            <a:pPr lvl="4"/>
            <a:r>
              <a:rPr lang="pt-BR" noProof="0" smtClean="0"/>
              <a:t>Fifth level</a:t>
            </a:r>
            <a:endParaRPr lang="pt-BR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211676" y="230292"/>
            <a:ext cx="10530036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58865" y="26992"/>
            <a:ext cx="886083" cy="2212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pt-BR" sz="1400" smtClean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TRACKER</a:t>
            </a:r>
            <a:endParaRPr lang="pt-BR" sz="1400" dirty="0">
              <a:solidFill>
                <a:srgbClr val="80808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58886" y="621826"/>
            <a:ext cx="11491891" cy="281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pt-BR" sz="1800" smtClean="0">
                <a:solidFill>
                  <a:srgbClr val="D5E7FF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Unit of measure</a:t>
            </a:r>
            <a:endParaRPr lang="pt-BR" sz="1800" dirty="0" smtClean="0">
              <a:solidFill>
                <a:srgbClr val="D5E7FF">
                  <a:lumMod val="75000"/>
                </a:srgbClr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158761" y="6265569"/>
            <a:ext cx="11398753" cy="358776"/>
            <a:chOff x="75" y="3877"/>
            <a:chExt cx="5385" cy="226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877"/>
              <a:ext cx="5385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pt-BR" sz="100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1 Footnote</a:t>
              </a:r>
              <a:endParaRPr lang="pt-BR" sz="1000" dirty="0" smtClean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06"/>
              <a:ext cx="4323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t" anchorCtr="0">
              <a:spAutoFit/>
            </a:bodyPr>
            <a:lstStyle/>
            <a:p>
              <a:pPr marL="604031" indent="-604031" defTabSz="887123">
                <a:tabLst>
                  <a:tab pos="607161" algn="l"/>
                </a:tabLst>
              </a:pPr>
              <a:r>
                <a:rPr lang="pt-BR" sz="1000" dirty="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FONTE: </a:t>
              </a:r>
              <a:r>
                <a:rPr lang="pt-BR" sz="1000" dirty="0" err="1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ource</a:t>
              </a:r>
              <a:endParaRPr lang="pt-BR" sz="1000" dirty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936840" y="1123953"/>
            <a:ext cx="5685618" cy="511174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 hidden="1"/>
            <p:cNvSpPr>
              <a:spLocks noChangeArrowheads="1"/>
            </p:cNvSpPr>
            <p:nvPr/>
          </p:nvSpPr>
          <p:spPr bwMode="auto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pt-BR" b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itle</a:t>
              </a:r>
            </a:p>
            <a:p>
              <a:r>
                <a:rPr lang="pt-BR" smtClean="0">
                  <a:solidFill>
                    <a:srgbClr val="80808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Unit of measure</a:t>
              </a:r>
              <a:endParaRPr lang="pt-BR" dirty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28" name="Group 27"/>
          <p:cNvGrpSpPr/>
          <p:nvPr userDrawn="1"/>
        </p:nvGrpSpPr>
        <p:grpSpPr>
          <a:xfrm>
            <a:off x="11335740" y="60963"/>
            <a:ext cx="613376" cy="655256"/>
            <a:chOff x="5526523" y="2325890"/>
            <a:chExt cx="3423032" cy="3656747"/>
          </a:xfrm>
        </p:grpSpPr>
        <p:sp>
          <p:nvSpPr>
            <p:cNvPr id="29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30" name="Group 29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31" name="Donut 30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2" name="Oval 31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3" name="Oval 32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1402438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43" r:id="rId1"/>
    <p:sldLayoutId id="2147484444" r:id="rId2"/>
    <p:sldLayoutId id="2147484445" r:id="rId3"/>
    <p:sldLayoutId id="2147484446" r:id="rId4"/>
    <p:sldLayoutId id="2147484447" r:id="rId5"/>
    <p:sldLayoutId id="2147484448" r:id="rId6"/>
    <p:sldLayoutId id="2147484449" r:id="rId7"/>
    <p:sldLayoutId id="2147484450" r:id="rId8"/>
    <p:sldLayoutId id="2147484452" r:id="rId9"/>
    <p:sldLayoutId id="2147484453" r:id="rId10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defTabSz="887123" rtl="0" eaLnBrk="1" fontAlgn="base" hangingPunct="1">
        <a:spcBef>
          <a:spcPct val="0"/>
        </a:spcBef>
        <a:spcAft>
          <a:spcPct val="0"/>
        </a:spcAft>
        <a:tabLst>
          <a:tab pos="267416" algn="l"/>
        </a:tabLst>
        <a:defRPr lang="en-US" sz="2000" b="1" baseline="0" noProof="0" dirty="0" smtClean="0">
          <a:solidFill>
            <a:schemeClr val="accent4"/>
          </a:solidFill>
          <a:latin typeface="Arial" panose="020B0604020202020204" pitchFamily="34" charset="0"/>
          <a:ea typeface="+mj-ea"/>
          <a:cs typeface="Arial" panose="020B0604020202020204" pitchFamily="34" charset="0"/>
          <a:sym typeface="Arial" panose="020B0604020202020204" pitchFamily="34" charset="0"/>
        </a:defRPr>
      </a:lvl1pPr>
      <a:lvl2pPr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2pPr>
      <a:lvl3pPr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3pPr>
      <a:lvl4pPr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4pPr>
      <a:lvl5pPr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5pPr>
      <a:lvl6pPr marL="453033"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6pPr>
      <a:lvl7pPr marL="906015"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7pPr>
      <a:lvl8pPr marL="1359002"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8pPr>
      <a:lvl9pPr marL="1812015"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87123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400" baseline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1pPr>
      <a:lvl2pPr marL="191923" indent="-191923" algn="l" defTabSz="887123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15000"/>
        <a:buFont typeface="Simplon BP Regular" pitchFamily="2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2pPr>
      <a:lvl3pPr marL="453033" indent="-259508" algn="l" defTabSz="887123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charset="0"/>
        <a:buChar char="–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3pPr>
      <a:lvl4pPr marL="608726" indent="-154184" algn="l" defTabSz="887123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pitchFamily="34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4pPr>
      <a:lvl5pPr marL="742907" indent="-128987" algn="l" defTabSz="887123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89000"/>
        <a:buFont typeface="Arial" charset="0"/>
        <a:buChar char="-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5pPr>
      <a:lvl6pPr marL="742907" indent="-128987" algn="l" defTabSz="88712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2907" indent="-128987" algn="l" defTabSz="88712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2907" indent="-128987" algn="l" defTabSz="88712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2907" indent="-128987" algn="l" defTabSz="88712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3033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06015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59002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12015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65017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18012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71019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24024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3197460278"/>
              </p:ext>
            </p:extLst>
          </p:nvPr>
        </p:nvGraphicFramePr>
        <p:xfrm>
          <a:off x="1" y="2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31870" name="Slide do think-cell" r:id="rId12" imgW="0" imgH="0" progId="TCLayout.ActiveDocument.1">
                  <p:embed/>
                </p:oleObj>
              </mc:Choice>
              <mc:Fallback>
                <p:oleObj name="Slide do think-cell" r:id="rId12" imgW="0" imgH="0" progId="TCLayout.ActiveDocument.1">
                  <p:embed/>
                  <p:pic>
                    <p:nvPicPr>
                      <p:cNvPr id="0" name="AutoShape 38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2"/>
                        <a:ext cx="211676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10776432" y="36518"/>
            <a:ext cx="876339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87123"/>
            <a:endParaRPr lang="pt-BR" sz="8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10519874" y="1932900"/>
            <a:ext cx="267220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10682583" y="4106726"/>
            <a:ext cx="234679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936841" y="1951039"/>
            <a:ext cx="5736421" cy="11060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ext styles</a:t>
            </a:r>
          </a:p>
          <a:p>
            <a:pPr lvl="1"/>
            <a:r>
              <a:rPr lang="pt-BR" noProof="0" smtClean="0"/>
              <a:t>Second level</a:t>
            </a:r>
          </a:p>
          <a:p>
            <a:pPr lvl="2"/>
            <a:r>
              <a:rPr lang="pt-BR" noProof="0" smtClean="0"/>
              <a:t>Third level</a:t>
            </a:r>
          </a:p>
          <a:p>
            <a:pPr lvl="3"/>
            <a:r>
              <a:rPr lang="pt-BR" noProof="0" smtClean="0"/>
              <a:t>Fourth level</a:t>
            </a:r>
          </a:p>
          <a:p>
            <a:pPr lvl="4"/>
            <a:r>
              <a:rPr lang="pt-BR" noProof="0" smtClean="0"/>
              <a:t>Fifth level</a:t>
            </a:r>
            <a:endParaRPr lang="pt-BR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211676" y="230292"/>
            <a:ext cx="10530036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58865" y="26992"/>
            <a:ext cx="886083" cy="2212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pt-BR" sz="1400" smtClean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TRACKER</a:t>
            </a:r>
            <a:endParaRPr lang="pt-BR" sz="1400" dirty="0">
              <a:solidFill>
                <a:srgbClr val="80808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58886" y="621826"/>
            <a:ext cx="11491891" cy="281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pt-BR" sz="1800" smtClean="0">
                <a:solidFill>
                  <a:srgbClr val="D5E7FF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Unit of measure</a:t>
            </a:r>
            <a:endParaRPr lang="pt-BR" sz="1800" dirty="0" smtClean="0">
              <a:solidFill>
                <a:srgbClr val="D5E7FF">
                  <a:lumMod val="75000"/>
                </a:srgbClr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158761" y="6265569"/>
            <a:ext cx="11398753" cy="358776"/>
            <a:chOff x="75" y="3877"/>
            <a:chExt cx="5385" cy="226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877"/>
              <a:ext cx="5385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pt-BR" sz="100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1 Footnote</a:t>
              </a:r>
              <a:endParaRPr lang="pt-BR" sz="1000" dirty="0" smtClean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06"/>
              <a:ext cx="4323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t" anchorCtr="0">
              <a:spAutoFit/>
            </a:bodyPr>
            <a:lstStyle/>
            <a:p>
              <a:pPr marL="604031" indent="-604031" defTabSz="887123">
                <a:tabLst>
                  <a:tab pos="607161" algn="l"/>
                </a:tabLst>
              </a:pPr>
              <a:r>
                <a:rPr lang="pt-BR" sz="1000" dirty="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FONTE: </a:t>
              </a:r>
              <a:r>
                <a:rPr lang="pt-BR" sz="1000" dirty="0" err="1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ource</a:t>
              </a:r>
              <a:endParaRPr lang="pt-BR" sz="1000" dirty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936840" y="1123953"/>
            <a:ext cx="5685618" cy="511174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 hidden="1"/>
            <p:cNvSpPr>
              <a:spLocks noChangeArrowheads="1"/>
            </p:cNvSpPr>
            <p:nvPr/>
          </p:nvSpPr>
          <p:spPr bwMode="auto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pt-BR" b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itle</a:t>
              </a:r>
            </a:p>
            <a:p>
              <a:r>
                <a:rPr lang="pt-BR" smtClean="0">
                  <a:solidFill>
                    <a:srgbClr val="80808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Unit of measure</a:t>
              </a:r>
              <a:endParaRPr lang="pt-BR" dirty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28" name="Group 27"/>
          <p:cNvGrpSpPr/>
          <p:nvPr userDrawn="1"/>
        </p:nvGrpSpPr>
        <p:grpSpPr>
          <a:xfrm>
            <a:off x="11335740" y="60963"/>
            <a:ext cx="613376" cy="655256"/>
            <a:chOff x="5526523" y="2325890"/>
            <a:chExt cx="3423032" cy="3656747"/>
          </a:xfrm>
        </p:grpSpPr>
        <p:sp>
          <p:nvSpPr>
            <p:cNvPr id="29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30" name="Group 29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31" name="Donut 30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2" name="Oval 31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3" name="Oval 32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39850241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55" r:id="rId1"/>
    <p:sldLayoutId id="2147484456" r:id="rId2"/>
    <p:sldLayoutId id="2147484457" r:id="rId3"/>
    <p:sldLayoutId id="2147484458" r:id="rId4"/>
    <p:sldLayoutId id="2147484459" r:id="rId5"/>
    <p:sldLayoutId id="2147484460" r:id="rId6"/>
    <p:sldLayoutId id="2147484461" r:id="rId7"/>
    <p:sldLayoutId id="2147484462" r:id="rId8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defTabSz="887123" rtl="0" eaLnBrk="1" fontAlgn="base" hangingPunct="1">
        <a:spcBef>
          <a:spcPct val="0"/>
        </a:spcBef>
        <a:spcAft>
          <a:spcPct val="0"/>
        </a:spcAft>
        <a:tabLst>
          <a:tab pos="267416" algn="l"/>
        </a:tabLst>
        <a:defRPr lang="en-US" sz="2000" b="1" baseline="0" noProof="0" dirty="0" smtClean="0">
          <a:solidFill>
            <a:schemeClr val="accent4"/>
          </a:solidFill>
          <a:latin typeface="Arial" panose="020B0604020202020204" pitchFamily="34" charset="0"/>
          <a:ea typeface="+mj-ea"/>
          <a:cs typeface="Arial" panose="020B0604020202020204" pitchFamily="34" charset="0"/>
          <a:sym typeface="Arial" panose="020B0604020202020204" pitchFamily="34" charset="0"/>
        </a:defRPr>
      </a:lvl1pPr>
      <a:lvl2pPr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2pPr>
      <a:lvl3pPr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3pPr>
      <a:lvl4pPr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4pPr>
      <a:lvl5pPr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5pPr>
      <a:lvl6pPr marL="453033"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6pPr>
      <a:lvl7pPr marL="906015"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7pPr>
      <a:lvl8pPr marL="1359002"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8pPr>
      <a:lvl9pPr marL="1812015"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87123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400" baseline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1pPr>
      <a:lvl2pPr marL="191923" indent="-191923" algn="l" defTabSz="887123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15000"/>
        <a:buFont typeface="Simplon BP Regular" pitchFamily="2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2pPr>
      <a:lvl3pPr marL="453033" indent="-259508" algn="l" defTabSz="887123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charset="0"/>
        <a:buChar char="–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3pPr>
      <a:lvl4pPr marL="608726" indent="-154184" algn="l" defTabSz="887123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pitchFamily="34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4pPr>
      <a:lvl5pPr marL="742907" indent="-128987" algn="l" defTabSz="887123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89000"/>
        <a:buFont typeface="Arial" charset="0"/>
        <a:buChar char="-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5pPr>
      <a:lvl6pPr marL="742907" indent="-128987" algn="l" defTabSz="88712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2907" indent="-128987" algn="l" defTabSz="88712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2907" indent="-128987" algn="l" defTabSz="88712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2907" indent="-128987" algn="l" defTabSz="88712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3033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06015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59002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12015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65017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18012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71019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24024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3033314971"/>
              </p:ext>
            </p:extLst>
          </p:nvPr>
        </p:nvGraphicFramePr>
        <p:xfrm>
          <a:off x="1" y="2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36990" name="Slide do think-cell" r:id="rId12" imgW="0" imgH="0" progId="TCLayout.ActiveDocument.1">
                  <p:embed/>
                </p:oleObj>
              </mc:Choice>
              <mc:Fallback>
                <p:oleObj name="Slide do think-cell" r:id="rId12" imgW="0" imgH="0" progId="TCLayout.ActiveDocument.1">
                  <p:embed/>
                  <p:pic>
                    <p:nvPicPr>
                      <p:cNvPr id="0" name="AutoShape 38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2"/>
                        <a:ext cx="211676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10776432" y="36518"/>
            <a:ext cx="876339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87123"/>
            <a:endParaRPr lang="pt-BR" sz="8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10519874" y="1932900"/>
            <a:ext cx="267220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10682583" y="4106726"/>
            <a:ext cx="234679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936841" y="1951039"/>
            <a:ext cx="5736421" cy="11060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ext styles</a:t>
            </a:r>
          </a:p>
          <a:p>
            <a:pPr lvl="1"/>
            <a:r>
              <a:rPr lang="pt-BR" noProof="0" smtClean="0"/>
              <a:t>Second level</a:t>
            </a:r>
          </a:p>
          <a:p>
            <a:pPr lvl="2"/>
            <a:r>
              <a:rPr lang="pt-BR" noProof="0" smtClean="0"/>
              <a:t>Third level</a:t>
            </a:r>
          </a:p>
          <a:p>
            <a:pPr lvl="3"/>
            <a:r>
              <a:rPr lang="pt-BR" noProof="0" smtClean="0"/>
              <a:t>Fourth level</a:t>
            </a:r>
          </a:p>
          <a:p>
            <a:pPr lvl="4"/>
            <a:r>
              <a:rPr lang="pt-BR" noProof="0" smtClean="0"/>
              <a:t>Fifth level</a:t>
            </a:r>
            <a:endParaRPr lang="pt-BR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211676" y="230292"/>
            <a:ext cx="10530036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58865" y="26992"/>
            <a:ext cx="886083" cy="2212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pt-BR" sz="1400" smtClean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TRACKER</a:t>
            </a:r>
            <a:endParaRPr lang="pt-BR" sz="1400" dirty="0">
              <a:solidFill>
                <a:srgbClr val="80808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58886" y="621826"/>
            <a:ext cx="11491891" cy="281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pt-BR" sz="1800" smtClean="0">
                <a:solidFill>
                  <a:srgbClr val="D5E7FF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Unit of measure</a:t>
            </a:r>
            <a:endParaRPr lang="pt-BR" sz="1800" dirty="0" smtClean="0">
              <a:solidFill>
                <a:srgbClr val="D5E7FF">
                  <a:lumMod val="75000"/>
                </a:srgbClr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158761" y="6265569"/>
            <a:ext cx="11398753" cy="358776"/>
            <a:chOff x="75" y="3877"/>
            <a:chExt cx="5385" cy="226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877"/>
              <a:ext cx="5385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pt-BR" sz="100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1 Footnote</a:t>
              </a:r>
              <a:endParaRPr lang="pt-BR" sz="1000" dirty="0" smtClean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06"/>
              <a:ext cx="4323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t" anchorCtr="0">
              <a:spAutoFit/>
            </a:bodyPr>
            <a:lstStyle/>
            <a:p>
              <a:pPr marL="604031" indent="-604031" defTabSz="887123">
                <a:tabLst>
                  <a:tab pos="607161" algn="l"/>
                </a:tabLst>
              </a:pPr>
              <a:r>
                <a:rPr lang="pt-BR" sz="1000" dirty="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FONTE: </a:t>
              </a:r>
              <a:r>
                <a:rPr lang="pt-BR" sz="1000" dirty="0" err="1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ource</a:t>
              </a:r>
              <a:endParaRPr lang="pt-BR" sz="1000" dirty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936840" y="1123953"/>
            <a:ext cx="5685618" cy="511174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 hidden="1"/>
            <p:cNvSpPr>
              <a:spLocks noChangeArrowheads="1"/>
            </p:cNvSpPr>
            <p:nvPr/>
          </p:nvSpPr>
          <p:spPr bwMode="auto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pt-BR" b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itle</a:t>
              </a:r>
            </a:p>
            <a:p>
              <a:r>
                <a:rPr lang="pt-BR" smtClean="0">
                  <a:solidFill>
                    <a:srgbClr val="80808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Unit of measure</a:t>
              </a:r>
              <a:endParaRPr lang="pt-BR" dirty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28" name="Group 27"/>
          <p:cNvGrpSpPr/>
          <p:nvPr userDrawn="1"/>
        </p:nvGrpSpPr>
        <p:grpSpPr>
          <a:xfrm>
            <a:off x="11335740" y="60963"/>
            <a:ext cx="613376" cy="655256"/>
            <a:chOff x="5526523" y="2325890"/>
            <a:chExt cx="3423032" cy="3656747"/>
          </a:xfrm>
        </p:grpSpPr>
        <p:sp>
          <p:nvSpPr>
            <p:cNvPr id="29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30" name="Group 29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31" name="Donut 30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2" name="Oval 31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3" name="Oval 32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266369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67" r:id="rId1"/>
    <p:sldLayoutId id="2147484468" r:id="rId2"/>
    <p:sldLayoutId id="2147484469" r:id="rId3"/>
    <p:sldLayoutId id="2147484470" r:id="rId4"/>
    <p:sldLayoutId id="2147484471" r:id="rId5"/>
    <p:sldLayoutId id="2147484472" r:id="rId6"/>
    <p:sldLayoutId id="2147484473" r:id="rId7"/>
    <p:sldLayoutId id="2147484474" r:id="rId8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defTabSz="887123" rtl="0" eaLnBrk="1" fontAlgn="base" hangingPunct="1">
        <a:spcBef>
          <a:spcPct val="0"/>
        </a:spcBef>
        <a:spcAft>
          <a:spcPct val="0"/>
        </a:spcAft>
        <a:tabLst>
          <a:tab pos="267416" algn="l"/>
        </a:tabLst>
        <a:defRPr lang="en-US" sz="2000" b="1" baseline="0" noProof="0" dirty="0" smtClean="0">
          <a:solidFill>
            <a:schemeClr val="accent4"/>
          </a:solidFill>
          <a:latin typeface="Arial" panose="020B0604020202020204" pitchFamily="34" charset="0"/>
          <a:ea typeface="+mj-ea"/>
          <a:cs typeface="Arial" panose="020B0604020202020204" pitchFamily="34" charset="0"/>
          <a:sym typeface="Arial" panose="020B0604020202020204" pitchFamily="34" charset="0"/>
        </a:defRPr>
      </a:lvl1pPr>
      <a:lvl2pPr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2pPr>
      <a:lvl3pPr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3pPr>
      <a:lvl4pPr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4pPr>
      <a:lvl5pPr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5pPr>
      <a:lvl6pPr marL="453033"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6pPr>
      <a:lvl7pPr marL="906015"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7pPr>
      <a:lvl8pPr marL="1359002"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8pPr>
      <a:lvl9pPr marL="1812015"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87123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400" baseline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1pPr>
      <a:lvl2pPr marL="191923" indent="-191923" algn="l" defTabSz="887123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15000"/>
        <a:buFont typeface="Simplon BP Regular" pitchFamily="2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2pPr>
      <a:lvl3pPr marL="453033" indent="-259508" algn="l" defTabSz="887123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charset="0"/>
        <a:buChar char="–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3pPr>
      <a:lvl4pPr marL="608726" indent="-154184" algn="l" defTabSz="887123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pitchFamily="34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4pPr>
      <a:lvl5pPr marL="742907" indent="-128987" algn="l" defTabSz="887123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89000"/>
        <a:buFont typeface="Arial" charset="0"/>
        <a:buChar char="-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5pPr>
      <a:lvl6pPr marL="742907" indent="-128987" algn="l" defTabSz="88712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2907" indent="-128987" algn="l" defTabSz="88712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2907" indent="-128987" algn="l" defTabSz="88712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2907" indent="-128987" algn="l" defTabSz="88712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3033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06015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59002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12015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65017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18012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71019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24024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3027356648"/>
              </p:ext>
            </p:extLst>
          </p:nvPr>
        </p:nvGraphicFramePr>
        <p:xfrm>
          <a:off x="2077" y="2077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42109" name="Slide do think-cell" r:id="rId12" imgW="0" imgH="0" progId="TCLayout.ActiveDocument.1">
                  <p:embed/>
                </p:oleObj>
              </mc:Choice>
              <mc:Fallback>
                <p:oleObj name="Slide do think-cell" r:id="rId12" imgW="0" imgH="0" progId="TCLayout.ActiveDocument.1">
                  <p:embed/>
                  <p:pic>
                    <p:nvPicPr>
                      <p:cNvPr id="0" name="AutoShape 38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77" y="2077"/>
                        <a:ext cx="2074" cy="20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1978" y="359001"/>
            <a:ext cx="7338636" cy="102481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1855253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16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9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Freeform 28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2" name="TextBox 39"/>
          <p:cNvSpPr txBox="1"/>
          <p:nvPr userDrawn="1"/>
        </p:nvSpPr>
        <p:spPr>
          <a:xfrm>
            <a:off x="9223673" y="6781955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1947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3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15736122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77" r:id="rId1"/>
    <p:sldLayoutId id="2147484478" r:id="rId2"/>
    <p:sldLayoutId id="2147484479" r:id="rId3"/>
    <p:sldLayoutId id="2147484480" r:id="rId4"/>
    <p:sldLayoutId id="2147484481" r:id="rId5"/>
    <p:sldLayoutId id="2147484482" r:id="rId6"/>
    <p:sldLayoutId id="2147484483" r:id="rId7"/>
    <p:sldLayoutId id="2147484484" r:id="rId8"/>
  </p:sldLayoutIdLst>
  <p:hf sldNum="0" hdr="0" ftr="0" dt="0"/>
  <p:txStyles>
    <p:titleStyle>
      <a:lvl1pPr algn="l" defTabSz="591947" rtl="0" eaLnBrk="1" latinLnBrk="0" hangingPunct="1">
        <a:lnSpc>
          <a:spcPts val="5486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A037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8434" indent="-238434" algn="l" defTabSz="59194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2756" indent="-228154" algn="l" defTabSz="59194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2756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0913" indent="-228154" algn="l" defTabSz="59194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0913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29070" indent="-228154" algn="l" defTabSz="59194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29070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57207" indent="-228154" algn="l" defTabSz="59194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57207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55872" indent="-295965" algn="l" defTabSz="59194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47841" indent="-295965" algn="l" defTabSz="59194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39815" indent="-295965" algn="l" defTabSz="59194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31791" indent="-295965" algn="l" defTabSz="59194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1947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3950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75935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67908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59881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51854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43833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35810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8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4107415682"/>
              </p:ext>
            </p:extLst>
          </p:nvPr>
        </p:nvGraphicFramePr>
        <p:xfrm>
          <a:off x="1" y="2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44157" name="Slide do think-cell" r:id="rId12" imgW="0" imgH="0" progId="TCLayout.ActiveDocument.1">
                  <p:embed/>
                </p:oleObj>
              </mc:Choice>
              <mc:Fallback>
                <p:oleObj name="Slide do think-cell" r:id="rId12" imgW="0" imgH="0" progId="TCLayout.ActiveDocument.1">
                  <p:embed/>
                  <p:pic>
                    <p:nvPicPr>
                      <p:cNvPr id="0" name="AutoShape 38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2"/>
                        <a:ext cx="211676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10776432" y="36518"/>
            <a:ext cx="876339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87123"/>
            <a:endParaRPr lang="pt-BR" sz="8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10519874" y="1932900"/>
            <a:ext cx="267220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10682583" y="4106726"/>
            <a:ext cx="234679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936841" y="1951039"/>
            <a:ext cx="5736421" cy="11060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ext styles</a:t>
            </a:r>
          </a:p>
          <a:p>
            <a:pPr lvl="1"/>
            <a:r>
              <a:rPr lang="pt-BR" noProof="0" smtClean="0"/>
              <a:t>Second level</a:t>
            </a:r>
          </a:p>
          <a:p>
            <a:pPr lvl="2"/>
            <a:r>
              <a:rPr lang="pt-BR" noProof="0" smtClean="0"/>
              <a:t>Third level</a:t>
            </a:r>
          </a:p>
          <a:p>
            <a:pPr lvl="3"/>
            <a:r>
              <a:rPr lang="pt-BR" noProof="0" smtClean="0"/>
              <a:t>Fourth level</a:t>
            </a:r>
          </a:p>
          <a:p>
            <a:pPr lvl="4"/>
            <a:r>
              <a:rPr lang="pt-BR" noProof="0" smtClean="0"/>
              <a:t>Fifth level</a:t>
            </a:r>
            <a:endParaRPr lang="pt-BR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211676" y="230292"/>
            <a:ext cx="10530036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58865" y="26992"/>
            <a:ext cx="886083" cy="2212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pt-BR" sz="1400" smtClean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TRACKER</a:t>
            </a:r>
            <a:endParaRPr lang="pt-BR" sz="1400" dirty="0">
              <a:solidFill>
                <a:srgbClr val="80808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58886" y="621826"/>
            <a:ext cx="11491891" cy="281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pt-BR" sz="1800" smtClean="0">
                <a:solidFill>
                  <a:srgbClr val="D5E7FF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Unit of measure</a:t>
            </a:r>
            <a:endParaRPr lang="pt-BR" sz="1800" dirty="0" smtClean="0">
              <a:solidFill>
                <a:srgbClr val="D5E7FF">
                  <a:lumMod val="75000"/>
                </a:srgbClr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158761" y="6265569"/>
            <a:ext cx="11398753" cy="358776"/>
            <a:chOff x="75" y="3877"/>
            <a:chExt cx="5385" cy="226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877"/>
              <a:ext cx="5385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pt-BR" sz="100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1 Footnote</a:t>
              </a:r>
              <a:endParaRPr lang="pt-BR" sz="1000" dirty="0" smtClean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06"/>
              <a:ext cx="4323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t" anchorCtr="0">
              <a:spAutoFit/>
            </a:bodyPr>
            <a:lstStyle/>
            <a:p>
              <a:pPr marL="604031" indent="-604031" defTabSz="887123">
                <a:tabLst>
                  <a:tab pos="607161" algn="l"/>
                </a:tabLst>
              </a:pPr>
              <a:r>
                <a:rPr lang="pt-BR" sz="1000" dirty="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FONTE: </a:t>
              </a:r>
              <a:r>
                <a:rPr lang="pt-BR" sz="1000" dirty="0" err="1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ource</a:t>
              </a:r>
              <a:endParaRPr lang="pt-BR" sz="1000" dirty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936840" y="1123953"/>
            <a:ext cx="5685618" cy="511174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 hidden="1"/>
            <p:cNvSpPr>
              <a:spLocks noChangeArrowheads="1"/>
            </p:cNvSpPr>
            <p:nvPr/>
          </p:nvSpPr>
          <p:spPr bwMode="auto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pt-BR" b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itle</a:t>
              </a:r>
            </a:p>
            <a:p>
              <a:r>
                <a:rPr lang="pt-BR" smtClean="0">
                  <a:solidFill>
                    <a:srgbClr val="80808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Unit of measure</a:t>
              </a:r>
              <a:endParaRPr lang="pt-BR" dirty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28" name="Group 27"/>
          <p:cNvGrpSpPr/>
          <p:nvPr userDrawn="1"/>
        </p:nvGrpSpPr>
        <p:grpSpPr>
          <a:xfrm>
            <a:off x="11335740" y="60963"/>
            <a:ext cx="613376" cy="655256"/>
            <a:chOff x="5526523" y="2325890"/>
            <a:chExt cx="3423032" cy="3656747"/>
          </a:xfrm>
        </p:grpSpPr>
        <p:sp>
          <p:nvSpPr>
            <p:cNvPr id="29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30" name="Group 29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31" name="Donut 30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2" name="Oval 31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3" name="Oval 32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416160305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87" r:id="rId1"/>
    <p:sldLayoutId id="2147484488" r:id="rId2"/>
    <p:sldLayoutId id="2147484489" r:id="rId3"/>
    <p:sldLayoutId id="2147484490" r:id="rId4"/>
    <p:sldLayoutId id="2147484491" r:id="rId5"/>
    <p:sldLayoutId id="2147484492" r:id="rId6"/>
    <p:sldLayoutId id="2147484493" r:id="rId7"/>
    <p:sldLayoutId id="2147484494" r:id="rId8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defTabSz="887123" rtl="0" eaLnBrk="1" fontAlgn="base" hangingPunct="1">
        <a:spcBef>
          <a:spcPct val="0"/>
        </a:spcBef>
        <a:spcAft>
          <a:spcPct val="0"/>
        </a:spcAft>
        <a:tabLst>
          <a:tab pos="267416" algn="l"/>
        </a:tabLst>
        <a:defRPr lang="en-US" sz="2000" b="1" baseline="0" noProof="0" dirty="0" smtClean="0">
          <a:solidFill>
            <a:schemeClr val="accent4"/>
          </a:solidFill>
          <a:latin typeface="Arial" panose="020B0604020202020204" pitchFamily="34" charset="0"/>
          <a:ea typeface="+mj-ea"/>
          <a:cs typeface="Arial" panose="020B0604020202020204" pitchFamily="34" charset="0"/>
          <a:sym typeface="Arial" panose="020B0604020202020204" pitchFamily="34" charset="0"/>
        </a:defRPr>
      </a:lvl1pPr>
      <a:lvl2pPr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2pPr>
      <a:lvl3pPr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3pPr>
      <a:lvl4pPr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4pPr>
      <a:lvl5pPr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5pPr>
      <a:lvl6pPr marL="453033"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6pPr>
      <a:lvl7pPr marL="906015"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7pPr>
      <a:lvl8pPr marL="1359002"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8pPr>
      <a:lvl9pPr marL="1812015"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87123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400" baseline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1pPr>
      <a:lvl2pPr marL="191923" indent="-191923" algn="l" defTabSz="887123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15000"/>
        <a:buFont typeface="Simplon BP Regular" pitchFamily="2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2pPr>
      <a:lvl3pPr marL="453033" indent="-259508" algn="l" defTabSz="887123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charset="0"/>
        <a:buChar char="–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3pPr>
      <a:lvl4pPr marL="608726" indent="-154184" algn="l" defTabSz="887123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pitchFamily="34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4pPr>
      <a:lvl5pPr marL="742907" indent="-128987" algn="l" defTabSz="887123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89000"/>
        <a:buFont typeface="Arial" charset="0"/>
        <a:buChar char="-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5pPr>
      <a:lvl6pPr marL="742907" indent="-128987" algn="l" defTabSz="88712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2907" indent="-128987" algn="l" defTabSz="88712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2907" indent="-128987" algn="l" defTabSz="88712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2907" indent="-128987" algn="l" defTabSz="88712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3033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06015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59002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12015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65017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18012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71019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24024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823851335"/>
              </p:ext>
            </p:extLst>
          </p:nvPr>
        </p:nvGraphicFramePr>
        <p:xfrm>
          <a:off x="1" y="2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1152" name="Slide do think-cell" r:id="rId14" imgW="0" imgH="0" progId="TCLayout.ActiveDocument.1">
                  <p:embed/>
                </p:oleObj>
              </mc:Choice>
              <mc:Fallback>
                <p:oleObj name="Slide do think-cell" r:id="rId14" imgW="0" imgH="0" progId="TCLayout.ActiveDocument.1">
                  <p:embed/>
                  <p:pic>
                    <p:nvPicPr>
                      <p:cNvPr id="0" name="AutoShape 60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2"/>
                        <a:ext cx="211676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10776432" y="36518"/>
            <a:ext cx="876339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87123"/>
            <a:endParaRPr lang="pt-BR" sz="8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10519874" y="1932900"/>
            <a:ext cx="267220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10682583" y="4106726"/>
            <a:ext cx="234679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936841" y="1951039"/>
            <a:ext cx="5736421" cy="11060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ext styles</a:t>
            </a:r>
          </a:p>
          <a:p>
            <a:pPr lvl="1"/>
            <a:r>
              <a:rPr lang="pt-BR" noProof="0" smtClean="0"/>
              <a:t>Second level</a:t>
            </a:r>
          </a:p>
          <a:p>
            <a:pPr lvl="2"/>
            <a:r>
              <a:rPr lang="pt-BR" noProof="0" smtClean="0"/>
              <a:t>Third level</a:t>
            </a:r>
          </a:p>
          <a:p>
            <a:pPr lvl="3"/>
            <a:r>
              <a:rPr lang="pt-BR" noProof="0" smtClean="0"/>
              <a:t>Fourth level</a:t>
            </a:r>
          </a:p>
          <a:p>
            <a:pPr lvl="4"/>
            <a:r>
              <a:rPr lang="pt-BR" noProof="0" smtClean="0"/>
              <a:t>Fifth level</a:t>
            </a:r>
            <a:endParaRPr lang="pt-BR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211676" y="230292"/>
            <a:ext cx="10530036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58865" y="26992"/>
            <a:ext cx="886083" cy="2212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pt-BR" sz="1400" smtClean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TRACKER</a:t>
            </a:r>
            <a:endParaRPr lang="pt-BR" sz="1400" dirty="0">
              <a:solidFill>
                <a:srgbClr val="80808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58886" y="621826"/>
            <a:ext cx="11491891" cy="281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pt-BR" sz="1800" smtClean="0">
                <a:solidFill>
                  <a:srgbClr val="D5E7FF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Unit of measure</a:t>
            </a:r>
            <a:endParaRPr lang="pt-BR" sz="1800" dirty="0" smtClean="0">
              <a:solidFill>
                <a:srgbClr val="D5E7FF">
                  <a:lumMod val="75000"/>
                </a:srgbClr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158761" y="6265569"/>
            <a:ext cx="11398753" cy="358776"/>
            <a:chOff x="75" y="3877"/>
            <a:chExt cx="5385" cy="226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877"/>
              <a:ext cx="5385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pt-BR" sz="100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1 Footnote</a:t>
              </a:r>
              <a:endParaRPr lang="pt-BR" sz="1000" dirty="0" smtClean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06"/>
              <a:ext cx="4323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t" anchorCtr="0">
              <a:spAutoFit/>
            </a:bodyPr>
            <a:lstStyle/>
            <a:p>
              <a:pPr marL="604031" indent="-604031" defTabSz="887123">
                <a:tabLst>
                  <a:tab pos="607161" algn="l"/>
                </a:tabLst>
              </a:pPr>
              <a:r>
                <a:rPr lang="pt-BR" sz="1000" dirty="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FONTE: </a:t>
              </a:r>
              <a:r>
                <a:rPr lang="pt-BR" sz="1000" dirty="0" err="1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ource</a:t>
              </a:r>
              <a:endParaRPr lang="pt-BR" sz="1000" dirty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936840" y="1123953"/>
            <a:ext cx="5685618" cy="511174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 hidden="1"/>
            <p:cNvSpPr>
              <a:spLocks noChangeArrowheads="1"/>
            </p:cNvSpPr>
            <p:nvPr/>
          </p:nvSpPr>
          <p:spPr bwMode="auto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pt-BR" b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itle</a:t>
              </a:r>
            </a:p>
            <a:p>
              <a:r>
                <a:rPr lang="pt-BR" smtClean="0">
                  <a:solidFill>
                    <a:srgbClr val="80808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Unit of measure</a:t>
              </a:r>
              <a:endParaRPr lang="pt-BR" dirty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28" name="Group 27"/>
          <p:cNvGrpSpPr/>
          <p:nvPr userDrawn="1"/>
        </p:nvGrpSpPr>
        <p:grpSpPr>
          <a:xfrm>
            <a:off x="11335740" y="60963"/>
            <a:ext cx="613376" cy="655256"/>
            <a:chOff x="5526523" y="2325890"/>
            <a:chExt cx="3423032" cy="3656747"/>
          </a:xfrm>
        </p:grpSpPr>
        <p:sp>
          <p:nvSpPr>
            <p:cNvPr id="29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30" name="Group 29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31" name="Donut 30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2" name="Oval 31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3" name="Oval 32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6324157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7" r:id="rId1"/>
    <p:sldLayoutId id="2147483788" r:id="rId2"/>
    <p:sldLayoutId id="2147483789" r:id="rId3"/>
    <p:sldLayoutId id="2147483790" r:id="rId4"/>
    <p:sldLayoutId id="2147483791" r:id="rId5"/>
    <p:sldLayoutId id="2147483792" r:id="rId6"/>
    <p:sldLayoutId id="2147483793" r:id="rId7"/>
    <p:sldLayoutId id="2147483794" r:id="rId8"/>
    <p:sldLayoutId id="2147483796" r:id="rId9"/>
    <p:sldLayoutId id="2147483797" r:id="rId10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defTabSz="887123" rtl="0" eaLnBrk="1" fontAlgn="base" hangingPunct="1">
        <a:spcBef>
          <a:spcPct val="0"/>
        </a:spcBef>
        <a:spcAft>
          <a:spcPct val="0"/>
        </a:spcAft>
        <a:tabLst>
          <a:tab pos="267416" algn="l"/>
        </a:tabLst>
        <a:defRPr lang="en-US" sz="2000" b="1" baseline="0" noProof="0" dirty="0" smtClean="0">
          <a:solidFill>
            <a:schemeClr val="accent4"/>
          </a:solidFill>
          <a:latin typeface="Arial" panose="020B0604020202020204" pitchFamily="34" charset="0"/>
          <a:ea typeface="+mj-ea"/>
          <a:cs typeface="Arial" panose="020B0604020202020204" pitchFamily="34" charset="0"/>
          <a:sym typeface="Arial" panose="020B0604020202020204" pitchFamily="34" charset="0"/>
        </a:defRPr>
      </a:lvl1pPr>
      <a:lvl2pPr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2pPr>
      <a:lvl3pPr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3pPr>
      <a:lvl4pPr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4pPr>
      <a:lvl5pPr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5pPr>
      <a:lvl6pPr marL="453033"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6pPr>
      <a:lvl7pPr marL="906015"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7pPr>
      <a:lvl8pPr marL="1359002"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8pPr>
      <a:lvl9pPr marL="1812015"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87123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400" baseline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1pPr>
      <a:lvl2pPr marL="191923" indent="-191923" algn="l" defTabSz="887123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15000"/>
        <a:buFont typeface="Simplon BP Regular" pitchFamily="2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2pPr>
      <a:lvl3pPr marL="453033" indent="-259508" algn="l" defTabSz="887123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charset="0"/>
        <a:buChar char="–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3pPr>
      <a:lvl4pPr marL="608726" indent="-154184" algn="l" defTabSz="887123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pitchFamily="34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4pPr>
      <a:lvl5pPr marL="742907" indent="-128987" algn="l" defTabSz="887123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89000"/>
        <a:buFont typeface="Arial" charset="0"/>
        <a:buChar char="-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5pPr>
      <a:lvl6pPr marL="742907" indent="-128987" algn="l" defTabSz="88712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2907" indent="-128987" algn="l" defTabSz="88712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2907" indent="-128987" algn="l" defTabSz="88712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2907" indent="-128987" algn="l" defTabSz="88712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3033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06015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59002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12015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65017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18012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71019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24024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2960349562"/>
              </p:ext>
            </p:extLst>
          </p:nvPr>
        </p:nvGraphicFramePr>
        <p:xfrm>
          <a:off x="1" y="2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49276" name="Slide do think-cell" r:id="rId12" imgW="0" imgH="0" progId="TCLayout.ActiveDocument.1">
                  <p:embed/>
                </p:oleObj>
              </mc:Choice>
              <mc:Fallback>
                <p:oleObj name="Slide do think-cell" r:id="rId12" imgW="0" imgH="0" progId="TCLayout.ActiveDocument.1">
                  <p:embed/>
                  <p:pic>
                    <p:nvPicPr>
                      <p:cNvPr id="0" name="AutoShape 38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2"/>
                        <a:ext cx="211676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10776432" y="36518"/>
            <a:ext cx="876339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87123"/>
            <a:endParaRPr lang="pt-BR" sz="8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10519874" y="1932900"/>
            <a:ext cx="267220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13-Feb-17 8:25 PM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10682583" y="4106726"/>
            <a:ext cx="234679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20/01/2017 13:58 E. South America Standard Time</a:t>
            </a:r>
            <a:endParaRPr lang="pt-BR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936841" y="1951039"/>
            <a:ext cx="5736421" cy="11060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ext styles</a:t>
            </a:r>
          </a:p>
          <a:p>
            <a:pPr lvl="1"/>
            <a:r>
              <a:rPr lang="pt-BR" noProof="0" smtClean="0"/>
              <a:t>Second level</a:t>
            </a:r>
          </a:p>
          <a:p>
            <a:pPr lvl="2"/>
            <a:r>
              <a:rPr lang="pt-BR" noProof="0" smtClean="0"/>
              <a:t>Third level</a:t>
            </a:r>
          </a:p>
          <a:p>
            <a:pPr lvl="3"/>
            <a:r>
              <a:rPr lang="pt-BR" noProof="0" smtClean="0"/>
              <a:t>Fourth level</a:t>
            </a:r>
          </a:p>
          <a:p>
            <a:pPr lvl="4"/>
            <a:r>
              <a:rPr lang="pt-BR" noProof="0" smtClean="0"/>
              <a:t>Fifth level</a:t>
            </a:r>
            <a:endParaRPr lang="pt-BR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211676" y="230292"/>
            <a:ext cx="10530036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noProof="0" smtClean="0"/>
              <a:t>Click to edit Master title style</a:t>
            </a:r>
            <a:endParaRPr lang="pt-BR" noProof="0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58865" y="26992"/>
            <a:ext cx="886083" cy="2212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pt-BR" sz="1400" smtClean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TRACKER</a:t>
            </a:r>
            <a:endParaRPr lang="pt-BR" sz="1400" dirty="0">
              <a:solidFill>
                <a:srgbClr val="80808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58886" y="621826"/>
            <a:ext cx="11491891" cy="281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pt-BR" sz="1800" smtClean="0">
                <a:solidFill>
                  <a:srgbClr val="D5E7FF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Unit of measure</a:t>
            </a:r>
            <a:endParaRPr lang="pt-BR" sz="1800" dirty="0" smtClean="0">
              <a:solidFill>
                <a:srgbClr val="D5E7FF">
                  <a:lumMod val="75000"/>
                </a:srgbClr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158761" y="6265569"/>
            <a:ext cx="11398753" cy="358776"/>
            <a:chOff x="75" y="3877"/>
            <a:chExt cx="5385" cy="226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877"/>
              <a:ext cx="5385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pt-BR" sz="100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1 Footnote</a:t>
              </a:r>
              <a:endParaRPr lang="pt-BR" sz="1000" dirty="0" smtClean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06"/>
              <a:ext cx="4323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t" anchorCtr="0">
              <a:spAutoFit/>
            </a:bodyPr>
            <a:lstStyle/>
            <a:p>
              <a:pPr marL="604031" indent="-604031" defTabSz="887123">
                <a:tabLst>
                  <a:tab pos="607161" algn="l"/>
                </a:tabLst>
              </a:pPr>
              <a:r>
                <a:rPr lang="pt-BR" sz="1000" dirty="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FONTE: </a:t>
              </a:r>
              <a:r>
                <a:rPr lang="pt-BR" sz="1000" dirty="0" err="1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ource</a:t>
              </a:r>
              <a:endParaRPr lang="pt-BR" sz="1000" dirty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936840" y="1123953"/>
            <a:ext cx="5685618" cy="511174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 hidden="1"/>
            <p:cNvSpPr>
              <a:spLocks noChangeArrowheads="1"/>
            </p:cNvSpPr>
            <p:nvPr/>
          </p:nvSpPr>
          <p:spPr bwMode="auto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pt-BR" b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itle</a:t>
              </a:r>
            </a:p>
            <a:p>
              <a:r>
                <a:rPr lang="pt-BR" smtClean="0">
                  <a:solidFill>
                    <a:srgbClr val="80808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Unit of measure</a:t>
              </a:r>
              <a:endParaRPr lang="pt-BR" dirty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28" name="Group 27"/>
          <p:cNvGrpSpPr/>
          <p:nvPr userDrawn="1"/>
        </p:nvGrpSpPr>
        <p:grpSpPr>
          <a:xfrm>
            <a:off x="11335740" y="60963"/>
            <a:ext cx="613376" cy="655256"/>
            <a:chOff x="5526523" y="2325890"/>
            <a:chExt cx="3423032" cy="3656747"/>
          </a:xfrm>
        </p:grpSpPr>
        <p:sp>
          <p:nvSpPr>
            <p:cNvPr id="29" name="Rectangle 2"/>
            <p:cNvSpPr/>
            <p:nvPr userDrawn="1"/>
          </p:nvSpPr>
          <p:spPr>
            <a:xfrm>
              <a:off x="5526523" y="2325890"/>
              <a:ext cx="3423032" cy="3656747"/>
            </a:xfrm>
            <a:custGeom>
              <a:avLst/>
              <a:gdLst>
                <a:gd name="connsiteX0" fmla="*/ 0 w 3425054"/>
                <a:gd name="connsiteY0" fmla="*/ 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0 w 3425054"/>
                <a:gd name="connsiteY4" fmla="*/ 0 h 3680459"/>
                <a:gd name="connsiteX0" fmla="*/ 777240 w 3425054"/>
                <a:gd name="connsiteY0" fmla="*/ 838200 h 3680459"/>
                <a:gd name="connsiteX1" fmla="*/ 3425054 w 3425054"/>
                <a:gd name="connsiteY1" fmla="*/ 0 h 3680459"/>
                <a:gd name="connsiteX2" fmla="*/ 3425054 w 3425054"/>
                <a:gd name="connsiteY2" fmla="*/ 3680459 h 3680459"/>
                <a:gd name="connsiteX3" fmla="*/ 0 w 3425054"/>
                <a:gd name="connsiteY3" fmla="*/ 3680459 h 3680459"/>
                <a:gd name="connsiteX4" fmla="*/ 777240 w 3425054"/>
                <a:gd name="connsiteY4" fmla="*/ 838200 h 3680459"/>
                <a:gd name="connsiteX0" fmla="*/ 777240 w 3425054"/>
                <a:gd name="connsiteY0" fmla="*/ 0 h 2842259"/>
                <a:gd name="connsiteX1" fmla="*/ 3402194 w 3425054"/>
                <a:gd name="connsiteY1" fmla="*/ 1577340 h 2842259"/>
                <a:gd name="connsiteX2" fmla="*/ 3425054 w 3425054"/>
                <a:gd name="connsiteY2" fmla="*/ 2842259 h 2842259"/>
                <a:gd name="connsiteX3" fmla="*/ 0 w 3425054"/>
                <a:gd name="connsiteY3" fmla="*/ 2842259 h 2842259"/>
                <a:gd name="connsiteX4" fmla="*/ 777240 w 3425054"/>
                <a:gd name="connsiteY4" fmla="*/ 0 h 2842259"/>
                <a:gd name="connsiteX0" fmla="*/ 777240 w 3425054"/>
                <a:gd name="connsiteY0" fmla="*/ 190810 h 3033069"/>
                <a:gd name="connsiteX1" fmla="*/ 3402194 w 3425054"/>
                <a:gd name="connsiteY1" fmla="*/ 1768150 h 3033069"/>
                <a:gd name="connsiteX2" fmla="*/ 3425054 w 3425054"/>
                <a:gd name="connsiteY2" fmla="*/ 3033069 h 3033069"/>
                <a:gd name="connsiteX3" fmla="*/ 0 w 3425054"/>
                <a:gd name="connsiteY3" fmla="*/ 3033069 h 3033069"/>
                <a:gd name="connsiteX4" fmla="*/ 777240 w 3425054"/>
                <a:gd name="connsiteY4" fmla="*/ 190810 h 3033069"/>
                <a:gd name="connsiteX0" fmla="*/ 777240 w 3425054"/>
                <a:gd name="connsiteY0" fmla="*/ 824360 h 3666619"/>
                <a:gd name="connsiteX1" fmla="*/ 340219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824360 h 3666619"/>
                <a:gd name="connsiteX1" fmla="*/ 3425054 w 3425054"/>
                <a:gd name="connsiteY1" fmla="*/ 2401700 h 3666619"/>
                <a:gd name="connsiteX2" fmla="*/ 3425054 w 3425054"/>
                <a:gd name="connsiteY2" fmla="*/ 3666619 h 3666619"/>
                <a:gd name="connsiteX3" fmla="*/ 0 w 3425054"/>
                <a:gd name="connsiteY3" fmla="*/ 3666619 h 3666619"/>
                <a:gd name="connsiteX4" fmla="*/ 777240 w 3425054"/>
                <a:gd name="connsiteY4" fmla="*/ 824360 h 3666619"/>
                <a:gd name="connsiteX0" fmla="*/ 777240 w 3425054"/>
                <a:gd name="connsiteY0" fmla="*/ 285146 h 3127405"/>
                <a:gd name="connsiteX1" fmla="*/ 3425054 w 3425054"/>
                <a:gd name="connsiteY1" fmla="*/ 1862486 h 3127405"/>
                <a:gd name="connsiteX2" fmla="*/ 3425054 w 3425054"/>
                <a:gd name="connsiteY2" fmla="*/ 3127405 h 3127405"/>
                <a:gd name="connsiteX3" fmla="*/ 0 w 3425054"/>
                <a:gd name="connsiteY3" fmla="*/ 3127405 h 3127405"/>
                <a:gd name="connsiteX4" fmla="*/ 777240 w 3425054"/>
                <a:gd name="connsiteY4" fmla="*/ 285146 h 3127405"/>
                <a:gd name="connsiteX0" fmla="*/ 777240 w 3425054"/>
                <a:gd name="connsiteY0" fmla="*/ 838456 h 3680715"/>
                <a:gd name="connsiteX1" fmla="*/ 3425054 w 3425054"/>
                <a:gd name="connsiteY1" fmla="*/ 2415796 h 3680715"/>
                <a:gd name="connsiteX2" fmla="*/ 3425054 w 3425054"/>
                <a:gd name="connsiteY2" fmla="*/ 3680715 h 3680715"/>
                <a:gd name="connsiteX3" fmla="*/ 0 w 3425054"/>
                <a:gd name="connsiteY3" fmla="*/ 3680715 h 3680715"/>
                <a:gd name="connsiteX4" fmla="*/ 777240 w 3425054"/>
                <a:gd name="connsiteY4" fmla="*/ 838456 h 3680715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25054 w 3425054"/>
                <a:gd name="connsiteY2" fmla="*/ 36786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7240 w 3425054"/>
                <a:gd name="connsiteY0" fmla="*/ 836410 h 3678669"/>
                <a:gd name="connsiteX1" fmla="*/ 3425054 w 3425054"/>
                <a:gd name="connsiteY1" fmla="*/ 2413750 h 3678669"/>
                <a:gd name="connsiteX2" fmla="*/ 3418958 w 3425054"/>
                <a:gd name="connsiteY2" fmla="*/ 3526269 h 3678669"/>
                <a:gd name="connsiteX3" fmla="*/ 0 w 3425054"/>
                <a:gd name="connsiteY3" fmla="*/ 3678669 h 3678669"/>
                <a:gd name="connsiteX4" fmla="*/ 777240 w 3425054"/>
                <a:gd name="connsiteY4" fmla="*/ 836410 h 36786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526269"/>
                <a:gd name="connsiteX1" fmla="*/ 3418958 w 3418958"/>
                <a:gd name="connsiteY1" fmla="*/ 2413750 h 3526269"/>
                <a:gd name="connsiteX2" fmla="*/ 3412862 w 3418958"/>
                <a:gd name="connsiteY2" fmla="*/ 3526269 h 3526269"/>
                <a:gd name="connsiteX3" fmla="*/ 0 w 3418958"/>
                <a:gd name="connsiteY3" fmla="*/ 2215629 h 3526269"/>
                <a:gd name="connsiteX4" fmla="*/ 771144 w 3418958"/>
                <a:gd name="connsiteY4" fmla="*/ 836410 h 3526269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81694 w 3429508"/>
                <a:gd name="connsiteY0" fmla="*/ 836410 h 3656747"/>
                <a:gd name="connsiteX1" fmla="*/ 3429508 w 3429508"/>
                <a:gd name="connsiteY1" fmla="*/ 2413750 h 3656747"/>
                <a:gd name="connsiteX2" fmla="*/ 3423412 w 3429508"/>
                <a:gd name="connsiteY2" fmla="*/ 3526269 h 3656747"/>
                <a:gd name="connsiteX3" fmla="*/ 10550 w 3429508"/>
                <a:gd name="connsiteY3" fmla="*/ 2215629 h 3656747"/>
                <a:gd name="connsiteX4" fmla="*/ 781694 w 3429508"/>
                <a:gd name="connsiteY4" fmla="*/ 836410 h 3656747"/>
                <a:gd name="connsiteX0" fmla="*/ 780807 w 3428621"/>
                <a:gd name="connsiteY0" fmla="*/ 836410 h 3656747"/>
                <a:gd name="connsiteX1" fmla="*/ 3428621 w 3428621"/>
                <a:gd name="connsiteY1" fmla="*/ 2413750 h 3656747"/>
                <a:gd name="connsiteX2" fmla="*/ 3422525 w 3428621"/>
                <a:gd name="connsiteY2" fmla="*/ 3526269 h 3656747"/>
                <a:gd name="connsiteX3" fmla="*/ 9663 w 3428621"/>
                <a:gd name="connsiteY3" fmla="*/ 2215629 h 3656747"/>
                <a:gd name="connsiteX4" fmla="*/ 780807 w 3428621"/>
                <a:gd name="connsiteY4" fmla="*/ 836410 h 3656747"/>
                <a:gd name="connsiteX0" fmla="*/ 771144 w 3418958"/>
                <a:gd name="connsiteY0" fmla="*/ 836410 h 3656747"/>
                <a:gd name="connsiteX1" fmla="*/ 3418958 w 3418958"/>
                <a:gd name="connsiteY1" fmla="*/ 2413750 h 3656747"/>
                <a:gd name="connsiteX2" fmla="*/ 3412862 w 3418958"/>
                <a:gd name="connsiteY2" fmla="*/ 3526269 h 3656747"/>
                <a:gd name="connsiteX3" fmla="*/ 0 w 3418958"/>
                <a:gd name="connsiteY3" fmla="*/ 2215629 h 3656747"/>
                <a:gd name="connsiteX4" fmla="*/ 771144 w 3418958"/>
                <a:gd name="connsiteY4" fmla="*/ 836410 h 3656747"/>
                <a:gd name="connsiteX0" fmla="*/ 775218 w 3423032"/>
                <a:gd name="connsiteY0" fmla="*/ 836410 h 3656747"/>
                <a:gd name="connsiteX1" fmla="*/ 3423032 w 3423032"/>
                <a:gd name="connsiteY1" fmla="*/ 2413750 h 3656747"/>
                <a:gd name="connsiteX2" fmla="*/ 3416936 w 3423032"/>
                <a:gd name="connsiteY2" fmla="*/ 3526269 h 3656747"/>
                <a:gd name="connsiteX3" fmla="*/ 4074 w 3423032"/>
                <a:gd name="connsiteY3" fmla="*/ 2215629 h 3656747"/>
                <a:gd name="connsiteX4" fmla="*/ 775218 w 3423032"/>
                <a:gd name="connsiteY4" fmla="*/ 836410 h 365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032" h="3656747">
                  <a:moveTo>
                    <a:pt x="775218" y="836410"/>
                  </a:moveTo>
                  <a:cubicBezTo>
                    <a:pt x="2884643" y="-1655330"/>
                    <a:pt x="2136567" y="2192770"/>
                    <a:pt x="3423032" y="2413750"/>
                  </a:cubicBezTo>
                  <a:lnTo>
                    <a:pt x="3416936" y="3526269"/>
                  </a:lnTo>
                  <a:cubicBezTo>
                    <a:pt x="3023027" y="3790429"/>
                    <a:pt x="367503" y="3786365"/>
                    <a:pt x="4074" y="2215629"/>
                  </a:cubicBezTo>
                  <a:cubicBezTo>
                    <a:pt x="-43678" y="1621777"/>
                    <a:pt x="335290" y="1314438"/>
                    <a:pt x="775218" y="836410"/>
                  </a:cubicBezTo>
                  <a:close/>
                </a:path>
              </a:pathLst>
            </a:custGeom>
            <a:gradFill>
              <a:gsLst>
                <a:gs pos="59000">
                  <a:srgbClr val="BA25FF"/>
                </a:gs>
                <a:gs pos="86000">
                  <a:srgbClr val="F02AB4"/>
                </a:gs>
                <a:gs pos="49000">
                  <a:srgbClr val="9D39FF"/>
                </a:gs>
                <a:gs pos="73000">
                  <a:srgbClr val="D724DC"/>
                </a:gs>
                <a:gs pos="12000">
                  <a:srgbClr val="09A2FF"/>
                </a:gs>
                <a:gs pos="23000">
                  <a:srgbClr val="4B73FF"/>
                </a:gs>
                <a:gs pos="0">
                  <a:srgbClr val="00A9FF"/>
                </a:gs>
                <a:gs pos="100000">
                  <a:srgbClr val="FE2E9E"/>
                </a:gs>
              </a:gsLst>
              <a:lin ang="78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30" name="Group 29"/>
            <p:cNvGrpSpPr/>
            <p:nvPr userDrawn="1"/>
          </p:nvGrpSpPr>
          <p:grpSpPr>
            <a:xfrm>
              <a:off x="6445521" y="3686064"/>
              <a:ext cx="1105534" cy="1133475"/>
              <a:chOff x="2229485" y="3606165"/>
              <a:chExt cx="1105534" cy="1133475"/>
            </a:xfrm>
          </p:grpSpPr>
          <p:sp>
            <p:nvSpPr>
              <p:cNvPr id="31" name="Donut 30"/>
              <p:cNvSpPr/>
              <p:nvPr userDrawn="1"/>
            </p:nvSpPr>
            <p:spPr>
              <a:xfrm>
                <a:off x="2229485" y="3958589"/>
                <a:ext cx="721995" cy="781051"/>
              </a:xfrm>
              <a:prstGeom prst="donut">
                <a:avLst>
                  <a:gd name="adj" fmla="val 26457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2" name="Oval 31"/>
              <p:cNvSpPr/>
              <p:nvPr userDrawn="1"/>
            </p:nvSpPr>
            <p:spPr>
              <a:xfrm>
                <a:off x="3075877" y="3606165"/>
                <a:ext cx="252392" cy="25239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3" name="Oval 32"/>
              <p:cNvSpPr/>
              <p:nvPr userDrawn="1"/>
            </p:nvSpPr>
            <p:spPr>
              <a:xfrm>
                <a:off x="3065716" y="3958588"/>
                <a:ext cx="269303" cy="758359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 smtClea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617302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99" r:id="rId1"/>
    <p:sldLayoutId id="2147484500" r:id="rId2"/>
    <p:sldLayoutId id="2147484501" r:id="rId3"/>
    <p:sldLayoutId id="2147484502" r:id="rId4"/>
    <p:sldLayoutId id="2147484503" r:id="rId5"/>
    <p:sldLayoutId id="2147484504" r:id="rId6"/>
    <p:sldLayoutId id="2147484505" r:id="rId7"/>
    <p:sldLayoutId id="2147484506" r:id="rId8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defTabSz="887123" rtl="0" eaLnBrk="1" fontAlgn="base" hangingPunct="1">
        <a:spcBef>
          <a:spcPct val="0"/>
        </a:spcBef>
        <a:spcAft>
          <a:spcPct val="0"/>
        </a:spcAft>
        <a:tabLst>
          <a:tab pos="267416" algn="l"/>
        </a:tabLst>
        <a:defRPr lang="en-US" sz="2000" b="1" baseline="0" noProof="0" dirty="0" smtClean="0">
          <a:solidFill>
            <a:schemeClr val="accent4"/>
          </a:solidFill>
          <a:latin typeface="Arial" panose="020B0604020202020204" pitchFamily="34" charset="0"/>
          <a:ea typeface="+mj-ea"/>
          <a:cs typeface="Arial" panose="020B0604020202020204" pitchFamily="34" charset="0"/>
          <a:sym typeface="Arial" panose="020B0604020202020204" pitchFamily="34" charset="0"/>
        </a:defRPr>
      </a:lvl1pPr>
      <a:lvl2pPr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2pPr>
      <a:lvl3pPr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3pPr>
      <a:lvl4pPr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4pPr>
      <a:lvl5pPr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5pPr>
      <a:lvl6pPr marL="453033"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6pPr>
      <a:lvl7pPr marL="906015"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7pPr>
      <a:lvl8pPr marL="1359002"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8pPr>
      <a:lvl9pPr marL="1812015" algn="l" defTabSz="88712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87123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400" baseline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1pPr>
      <a:lvl2pPr marL="191923" indent="-191923" algn="l" defTabSz="887123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15000"/>
        <a:buFont typeface="Simplon BP Regular" pitchFamily="2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2pPr>
      <a:lvl3pPr marL="453033" indent="-259508" algn="l" defTabSz="887123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charset="0"/>
        <a:buChar char="–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3pPr>
      <a:lvl4pPr marL="608726" indent="-154184" algn="l" defTabSz="887123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pitchFamily="34" charset="0"/>
        <a:buChar char="•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4pPr>
      <a:lvl5pPr marL="742907" indent="-128987" algn="l" defTabSz="887123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89000"/>
        <a:buFont typeface="Arial" charset="0"/>
        <a:buChar char="-"/>
        <a:defRPr sz="14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5pPr>
      <a:lvl6pPr marL="742907" indent="-128987" algn="l" defTabSz="88712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2907" indent="-128987" algn="l" defTabSz="88712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2907" indent="-128987" algn="l" defTabSz="88712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2907" indent="-128987" algn="l" defTabSz="88712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3033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06015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59002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12015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65017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18012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71019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24024" algn="l" defTabSz="9060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2331877041"/>
              </p:ext>
            </p:extLst>
          </p:nvPr>
        </p:nvGraphicFramePr>
        <p:xfrm>
          <a:off x="2077" y="2077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64614" name="Slide do think-cell" r:id="rId12" imgW="0" imgH="0" progId="TCLayout.ActiveDocument.1">
                  <p:embed/>
                </p:oleObj>
              </mc:Choice>
              <mc:Fallback>
                <p:oleObj name="Slide do think-cell" r:id="rId12" imgW="0" imgH="0" progId="TCLayout.ActiveDocument.1">
                  <p:embed/>
                  <p:pic>
                    <p:nvPicPr>
                      <p:cNvPr id="0" name="AutoShape 36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77" y="2077"/>
                        <a:ext cx="2074" cy="20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1978" y="359001"/>
            <a:ext cx="7338636" cy="102481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1855253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16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9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Freeform 28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2" name="TextBox 39"/>
          <p:cNvSpPr txBox="1"/>
          <p:nvPr userDrawn="1"/>
        </p:nvSpPr>
        <p:spPr>
          <a:xfrm>
            <a:off x="9223673" y="6781955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1947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3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6149883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09" r:id="rId1"/>
    <p:sldLayoutId id="2147484510" r:id="rId2"/>
    <p:sldLayoutId id="2147484511" r:id="rId3"/>
    <p:sldLayoutId id="2147484512" r:id="rId4"/>
    <p:sldLayoutId id="2147484513" r:id="rId5"/>
    <p:sldLayoutId id="2147484514" r:id="rId6"/>
    <p:sldLayoutId id="2147484515" r:id="rId7"/>
    <p:sldLayoutId id="2147484516" r:id="rId8"/>
  </p:sldLayoutIdLst>
  <p:hf hdr="0" dt="0"/>
  <p:txStyles>
    <p:titleStyle>
      <a:lvl1pPr algn="l" defTabSz="591947" rtl="0" eaLnBrk="1" latinLnBrk="0" hangingPunct="1">
        <a:lnSpc>
          <a:spcPts val="5486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A037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8434" indent="-238434" algn="l" defTabSz="59194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2756" indent="-228154" algn="l" defTabSz="59194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2756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0913" indent="-228154" algn="l" defTabSz="59194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0913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29070" indent="-228154" algn="l" defTabSz="59194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29070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57207" indent="-228154" algn="l" defTabSz="59194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57207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55872" indent="-295965" algn="l" defTabSz="59194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47841" indent="-295965" algn="l" defTabSz="59194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39815" indent="-295965" algn="l" defTabSz="59194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31791" indent="-295965" algn="l" defTabSz="59194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1947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3950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75935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67908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59881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51854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43833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35810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9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82" y="1854713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2063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2961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81813" y="1855235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2961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2961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96" tIns="46696" rIns="46696" bIns="46696" numCol="1" anchor="t" anchorCtr="0" compatLnSpc="1">
            <a:prstTxWarp prst="textNoShape">
              <a:avLst/>
            </a:prstTxWarp>
          </a:bodyPr>
          <a:lstStyle/>
          <a:p>
            <a:pPr defTabSz="592961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2961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2961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96" tIns="46696" rIns="46696" bIns="46696" numCol="1" anchor="t" anchorCtr="0" compatLnSpc="1">
            <a:prstTxWarp prst="textNoShape">
              <a:avLst/>
            </a:prstTxWarp>
          </a:bodyPr>
          <a:lstStyle/>
          <a:p>
            <a:pPr defTabSz="592961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2961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2961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96" tIns="46696" rIns="46696" bIns="46696" numCol="1" anchor="t" anchorCtr="0" compatLnSpc="1">
            <a:prstTxWarp prst="textNoShape">
              <a:avLst/>
            </a:prstTxWarp>
          </a:bodyPr>
          <a:lstStyle/>
          <a:p>
            <a:pPr defTabSz="592961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2961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2961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96" tIns="46696" rIns="46696" bIns="46696" numCol="1" anchor="t" anchorCtr="0" compatLnSpc="1">
            <a:prstTxWarp prst="textNoShape">
              <a:avLst/>
            </a:prstTxWarp>
          </a:bodyPr>
          <a:lstStyle/>
          <a:p>
            <a:pPr defTabSz="592961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2961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2961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96" tIns="46696" rIns="46696" bIns="46696" numCol="1" anchor="t" anchorCtr="0" compatLnSpc="1">
            <a:prstTxWarp prst="textNoShape">
              <a:avLst/>
            </a:prstTxWarp>
          </a:bodyPr>
          <a:lstStyle/>
          <a:p>
            <a:pPr defTabSz="592961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2961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2961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96" tIns="46696" rIns="46696" bIns="46696" numCol="1" anchor="t" anchorCtr="0" compatLnSpc="1">
            <a:prstTxWarp prst="textNoShape">
              <a:avLst/>
            </a:prstTxWarp>
          </a:bodyPr>
          <a:lstStyle/>
          <a:p>
            <a:pPr defTabSz="592961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2961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2961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96" tIns="46696" rIns="46696" bIns="46696" numCol="1" anchor="t" anchorCtr="0" compatLnSpc="1">
            <a:prstTxWarp prst="textNoShape">
              <a:avLst/>
            </a:prstTxWarp>
          </a:bodyPr>
          <a:lstStyle/>
          <a:p>
            <a:pPr defTabSz="592961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2961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2961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9223673" y="6781937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2961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613" tIns="59310" rIns="118613" bIns="59310" numCol="1" anchor="t" anchorCtr="0" compatLnSpc="1">
            <a:prstTxWarp prst="textNoShape">
              <a:avLst/>
            </a:prstTxWarp>
          </a:bodyPr>
          <a:lstStyle/>
          <a:p>
            <a:pPr defTabSz="592961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13" tIns="59310" rIns="118613" bIns="59310" numCol="1" anchor="t" anchorCtr="0" compatLnSpc="1">
            <a:prstTxWarp prst="textNoShape">
              <a:avLst/>
            </a:prstTxWarp>
          </a:bodyPr>
          <a:lstStyle/>
          <a:p>
            <a:pPr defTabSz="592961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13" tIns="59310" rIns="118613" bIns="59310" numCol="1" anchor="t" anchorCtr="0" compatLnSpc="1">
            <a:prstTxWarp prst="textNoShape">
              <a:avLst/>
            </a:prstTxWarp>
          </a:bodyPr>
          <a:lstStyle/>
          <a:p>
            <a:pPr defTabSz="592961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13" tIns="59310" rIns="118613" bIns="59310" numCol="1" anchor="t" anchorCtr="0" compatLnSpc="1">
            <a:prstTxWarp prst="textNoShape">
              <a:avLst/>
            </a:prstTxWarp>
          </a:bodyPr>
          <a:lstStyle/>
          <a:p>
            <a:pPr defTabSz="592961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613" tIns="59310" rIns="118613" bIns="59310" numCol="1" anchor="t" anchorCtr="0" compatLnSpc="1">
            <a:prstTxWarp prst="textNoShape">
              <a:avLst/>
            </a:prstTxWarp>
          </a:bodyPr>
          <a:lstStyle/>
          <a:p>
            <a:pPr defTabSz="592961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13" tIns="59310" rIns="118613" bIns="59310" numCol="1" anchor="t" anchorCtr="0" compatLnSpc="1">
            <a:prstTxWarp prst="textNoShape">
              <a:avLst/>
            </a:prstTxWarp>
          </a:bodyPr>
          <a:lstStyle/>
          <a:p>
            <a:pPr defTabSz="592961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13" tIns="59310" rIns="118613" bIns="59310" numCol="1" anchor="t" anchorCtr="0" compatLnSpc="1">
            <a:prstTxWarp prst="textNoShape">
              <a:avLst/>
            </a:prstTxWarp>
          </a:bodyPr>
          <a:lstStyle/>
          <a:p>
            <a:pPr defTabSz="592961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13" tIns="59310" rIns="118613" bIns="59310" numCol="1" anchor="t" anchorCtr="0" compatLnSpc="1">
            <a:prstTxWarp prst="textNoShape">
              <a:avLst/>
            </a:prstTxWarp>
          </a:bodyPr>
          <a:lstStyle/>
          <a:p>
            <a:pPr defTabSz="592961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613" tIns="59310" rIns="118613" bIns="59310" numCol="1" anchor="t" anchorCtr="0" compatLnSpc="1">
            <a:prstTxWarp prst="textNoShape">
              <a:avLst/>
            </a:prstTxWarp>
          </a:bodyPr>
          <a:lstStyle/>
          <a:p>
            <a:pPr defTabSz="592961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13" tIns="59310" rIns="118613" bIns="59310" numCol="1" anchor="t" anchorCtr="0" compatLnSpc="1">
            <a:prstTxWarp prst="textNoShape">
              <a:avLst/>
            </a:prstTxWarp>
          </a:bodyPr>
          <a:lstStyle/>
          <a:p>
            <a:pPr defTabSz="592961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13" tIns="59310" rIns="118613" bIns="59310" numCol="1" anchor="t" anchorCtr="0" compatLnSpc="1">
            <a:prstTxWarp prst="textNoShape">
              <a:avLst/>
            </a:prstTxWarp>
          </a:bodyPr>
          <a:lstStyle/>
          <a:p>
            <a:pPr defTabSz="592961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13" tIns="59310" rIns="118613" bIns="59310" numCol="1" anchor="t" anchorCtr="0" compatLnSpc="1">
            <a:prstTxWarp prst="textNoShape">
              <a:avLst/>
            </a:prstTxWarp>
          </a:bodyPr>
          <a:lstStyle/>
          <a:p>
            <a:pPr defTabSz="592961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09794514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19" r:id="rId1"/>
    <p:sldLayoutId id="2147484520" r:id="rId2"/>
    <p:sldLayoutId id="2147484521" r:id="rId3"/>
    <p:sldLayoutId id="2147484522" r:id="rId4"/>
  </p:sldLayoutIdLst>
  <p:hf sldNum="0" hdr="0" ftr="0" dt="0"/>
  <p:txStyles>
    <p:titleStyle>
      <a:lvl1pPr algn="l" defTabSz="592961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8843" indent="-238843" algn="l" defTabSz="592961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3560" indent="-228541" algn="l" defTabSz="592961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3560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2102" indent="-228541" algn="l" defTabSz="592961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2102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0651" indent="-228541" algn="l" defTabSz="592961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0651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59181" indent="-228541" algn="l" defTabSz="592961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59181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61402" indent="-296476" algn="l" defTabSz="592961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54378" indent="-296476" algn="l" defTabSz="592961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47360" indent="-296476" algn="l" defTabSz="592961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40343" indent="-296476" algn="l" defTabSz="592961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29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2961" algn="l" defTabSz="5929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5962" algn="l" defTabSz="5929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78952" algn="l" defTabSz="5929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1931" algn="l" defTabSz="5929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64914" algn="l" defTabSz="5929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57887" algn="l" defTabSz="5929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50871" algn="l" defTabSz="5929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43855" algn="l" defTabSz="5929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9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82" y="1854733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2084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81813" y="1855253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18" tIns="46618" rIns="46618" bIns="4661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9223673" y="6781955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1947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17" tIns="59208" rIns="118417" bIns="59208" numCol="1" anchor="t" anchorCtr="0" compatLnSpc="1">
            <a:prstTxWarp prst="textNoShape">
              <a:avLst/>
            </a:prstTxWarp>
          </a:bodyPr>
          <a:lstStyle/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2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7560" y="6372023"/>
            <a:ext cx="10176095" cy="282263"/>
          </a:xfrm>
          <a:prstGeom prst="rect">
            <a:avLst/>
          </a:prstGeom>
        </p:spPr>
        <p:txBody>
          <a:bodyPr vert="horz" lIns="118417" tIns="59208" rIns="118417" bIns="59208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4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3552" y="6372023"/>
            <a:ext cx="578105" cy="282263"/>
          </a:xfrm>
          <a:prstGeom prst="rect">
            <a:avLst/>
          </a:prstGeom>
        </p:spPr>
        <p:txBody>
          <a:bodyPr vert="horz" lIns="118417" tIns="59208" rIns="118417" bIns="59208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pPr defTabSz="591947" fontAlgn="auto">
              <a:spcBef>
                <a:spcPts val="0"/>
              </a:spcBef>
              <a:spcAft>
                <a:spcPts val="0"/>
              </a:spcAft>
            </a:pPr>
            <a:fld id="{74850952-3374-434C-8FC6-DE28F8CD25B0}" type="slidenum">
              <a:rPr lang="pt-BR" smtClean="0">
                <a:solidFill>
                  <a:srgbClr val="5F5F5F"/>
                </a:solidFill>
              </a:rPr>
              <a:pPr defTabSz="591947" fontAlgn="auto">
                <a:spcBef>
                  <a:spcPts val="0"/>
                </a:spcBef>
                <a:spcAft>
                  <a:spcPts val="0"/>
                </a:spcAft>
              </a:pPr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6834567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24" r:id="rId1"/>
    <p:sldLayoutId id="2147484525" r:id="rId2"/>
    <p:sldLayoutId id="2147484526" r:id="rId3"/>
    <p:sldLayoutId id="2147484527" r:id="rId4"/>
  </p:sldLayoutIdLst>
  <p:hf hdr="0" dt="0"/>
  <p:txStyles>
    <p:titleStyle>
      <a:lvl1pPr algn="l" defTabSz="591947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8434" indent="-238434" algn="l" defTabSz="59194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2756" indent="-228154" algn="l" defTabSz="59194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2756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0913" indent="-228154" algn="l" defTabSz="59194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0913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29070" indent="-228154" algn="l" defTabSz="59194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29070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57207" indent="-228154" algn="l" defTabSz="59194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57207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55872" indent="-295965" algn="l" defTabSz="59194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47841" indent="-295965" algn="l" defTabSz="59194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39815" indent="-295965" algn="l" defTabSz="59194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31791" indent="-295965" algn="l" defTabSz="59194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1947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3950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75935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67908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59881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51854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43833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35810" algn="l" defTabSz="59194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9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82" y="1854729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2080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81813" y="1855249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34" tIns="46634" rIns="46634" bIns="46634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34" tIns="46634" rIns="46634" bIns="46634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34" tIns="46634" rIns="46634" bIns="46634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34" tIns="46634" rIns="46634" bIns="46634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34" tIns="46634" rIns="46634" bIns="46634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34" tIns="46634" rIns="46634" bIns="46634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634" tIns="46634" rIns="46634" bIns="46634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9223673" y="6781953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2149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458" tIns="59229" rIns="118458" bIns="59229" numCol="1" anchor="t" anchorCtr="0" compatLnSpc="1">
            <a:prstTxWarp prst="textNoShape">
              <a:avLst/>
            </a:prstTxWarp>
          </a:bodyPr>
          <a:lstStyle/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2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7557" y="6372018"/>
            <a:ext cx="10176095" cy="282263"/>
          </a:xfrm>
          <a:prstGeom prst="rect">
            <a:avLst/>
          </a:prstGeom>
        </p:spPr>
        <p:txBody>
          <a:bodyPr vert="horz" lIns="118458" tIns="59229" rIns="118458" bIns="59229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4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3552" y="6372018"/>
            <a:ext cx="578105" cy="282263"/>
          </a:xfrm>
          <a:prstGeom prst="rect">
            <a:avLst/>
          </a:prstGeom>
        </p:spPr>
        <p:txBody>
          <a:bodyPr vert="horz" lIns="118458" tIns="59229" rIns="118458" bIns="59229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pPr defTabSz="592149" fontAlgn="auto">
              <a:spcBef>
                <a:spcPts val="0"/>
              </a:spcBef>
              <a:spcAft>
                <a:spcPts val="0"/>
              </a:spcAft>
            </a:pPr>
            <a:fld id="{74850952-3374-434C-8FC6-DE28F8CD25B0}" type="slidenum">
              <a:rPr lang="pt-BR" smtClean="0">
                <a:solidFill>
                  <a:srgbClr val="5F5F5F"/>
                </a:solidFill>
              </a:rPr>
              <a:pPr defTabSz="592149" fontAlgn="auto">
                <a:spcBef>
                  <a:spcPts val="0"/>
                </a:spcBef>
                <a:spcAft>
                  <a:spcPts val="0"/>
                </a:spcAft>
              </a:pPr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443899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29" r:id="rId1"/>
    <p:sldLayoutId id="2147484530" r:id="rId2"/>
    <p:sldLayoutId id="2147484531" r:id="rId3"/>
    <p:sldLayoutId id="2147484532" r:id="rId4"/>
  </p:sldLayoutIdLst>
  <p:hf hdr="0" dt="0"/>
  <p:txStyles>
    <p:titleStyle>
      <a:lvl1pPr algn="l" defTabSz="592149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8518" indent="-238518" algn="l" defTabSz="59214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2916" indent="-228231" algn="l" defTabSz="59214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2916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1150" indent="-228231" algn="l" defTabSz="59214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1150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29386" indent="-228231" algn="l" defTabSz="59214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29386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57600" indent="-228231" algn="l" defTabSz="592149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57600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56977" indent="-296068" algn="l" defTabSz="592149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49145" indent="-296068" algn="l" defTabSz="592149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41324" indent="-296068" algn="l" defTabSz="592149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33500" indent="-296068" algn="l" defTabSz="592149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2149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4352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76537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68711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60888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53058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45240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37417" algn="l" defTabSz="59214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9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82" y="1854687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2038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81813" y="1855207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01" tIns="46801" rIns="46801" bIns="46801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01" tIns="46801" rIns="46801" bIns="46801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01" tIns="46801" rIns="46801" bIns="46801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01" tIns="46801" rIns="46801" bIns="46801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01" tIns="46801" rIns="46801" bIns="46801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01" tIns="46801" rIns="46801" bIns="46801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01" tIns="46801" rIns="46801" bIns="46801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9223673" y="6781910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4313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77" tIns="59439" rIns="118877" bIns="59439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77" tIns="59439" rIns="118877" bIns="59439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77" tIns="59439" rIns="118877" bIns="59439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77" tIns="59439" rIns="118877" bIns="59439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77" tIns="59439" rIns="118877" bIns="59439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77" tIns="59439" rIns="118877" bIns="59439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77" tIns="59439" rIns="118877" bIns="59439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77" tIns="59439" rIns="118877" bIns="59439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77" tIns="59439" rIns="118877" bIns="59439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77" tIns="59439" rIns="118877" bIns="59439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77" tIns="59439" rIns="118877" bIns="59439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77" tIns="59439" rIns="118877" bIns="59439" numCol="1" anchor="t" anchorCtr="0" compatLnSpc="1">
            <a:prstTxWarp prst="textNoShape">
              <a:avLst/>
            </a:prstTxWarp>
          </a:bodyPr>
          <a:lstStyle/>
          <a:p>
            <a:pPr defTabSz="59431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75107935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34" r:id="rId1"/>
    <p:sldLayoutId id="2147484535" r:id="rId2"/>
    <p:sldLayoutId id="2147484536" r:id="rId3"/>
    <p:sldLayoutId id="2147484537" r:id="rId4"/>
  </p:sldLayoutIdLst>
  <p:hf sldNum="0" hdr="0" ftr="0" dt="0"/>
  <p:txStyles>
    <p:titleStyle>
      <a:lvl1pPr algn="l" defTabSz="594313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381" indent="-239381" algn="l" defTabSz="59431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4630" indent="-229061" algn="l" defTabSz="59431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4630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3695" indent="-229061" algn="l" defTabSz="59431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3695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2760" indent="-229061" algn="l" defTabSz="59431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2760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1817" indent="-229061" algn="l" defTabSz="59431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1817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68792" indent="-297154" algn="l" defTabSz="59431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63112" indent="-297154" algn="l" defTabSz="59431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57433" indent="-297154" algn="l" defTabSz="59431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51760" indent="-297154" algn="l" defTabSz="59431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431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4313" algn="l" defTabSz="59431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8653" algn="l" defTabSz="59431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2980" algn="l" defTabSz="59431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7300" algn="l" defTabSz="59431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71633" algn="l" defTabSz="59431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65953" algn="l" defTabSz="59431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60277" algn="l" defTabSz="59431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54599" algn="l" defTabSz="59431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9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3016049759"/>
              </p:ext>
            </p:extLst>
          </p:nvPr>
        </p:nvGraphicFramePr>
        <p:xfrm>
          <a:off x="2077" y="2077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67676" name="Slide do think-cell" r:id="rId15" imgW="0" imgH="0" progId="TCLayout.ActiveDocument.1">
                  <p:embed/>
                </p:oleObj>
              </mc:Choice>
              <mc:Fallback>
                <p:oleObj name="Slide do think-cell" r:id="rId15" imgW="0" imgH="0" progId="TCLayout.ActiveDocument.1">
                  <p:embed/>
                  <p:pic>
                    <p:nvPicPr>
                      <p:cNvPr id="0" name="AutoShape 35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77" y="2077"/>
                        <a:ext cx="2074" cy="20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82" y="1854686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2037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44" name="TextBox 43"/>
          <p:cNvSpPr txBox="1"/>
          <p:nvPr userDrawn="1"/>
        </p:nvSpPr>
        <p:spPr>
          <a:xfrm>
            <a:off x="-281813" y="7363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45" name="TextBox 44"/>
          <p:cNvSpPr txBox="1"/>
          <p:nvPr userDrawn="1"/>
        </p:nvSpPr>
        <p:spPr>
          <a:xfrm>
            <a:off x="-281813" y="1855207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46" name="TextBox 45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47" name="Freeform 5"/>
          <p:cNvSpPr>
            <a:spLocks/>
          </p:cNvSpPr>
          <p:nvPr userDrawn="1"/>
        </p:nvSpPr>
        <p:spPr bwMode="auto">
          <a:xfrm>
            <a:off x="11944818" y="3078502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06" tIns="46806" rIns="46806" bIns="4680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48" name="Freeform 47"/>
          <p:cNvSpPr>
            <a:spLocks/>
          </p:cNvSpPr>
          <p:nvPr userDrawn="1"/>
        </p:nvSpPr>
        <p:spPr bwMode="auto">
          <a:xfrm>
            <a:off x="11944818" y="2513906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06" tIns="46806" rIns="46806" bIns="4680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4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49" name="Freeform 5"/>
          <p:cNvSpPr>
            <a:spLocks/>
          </p:cNvSpPr>
          <p:nvPr userDrawn="1"/>
        </p:nvSpPr>
        <p:spPr bwMode="auto">
          <a:xfrm>
            <a:off x="11944818" y="1949310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06" tIns="46806" rIns="46806" bIns="4680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9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50" name="Freeform 5"/>
          <p:cNvSpPr>
            <a:spLocks/>
          </p:cNvSpPr>
          <p:nvPr userDrawn="1"/>
        </p:nvSpPr>
        <p:spPr bwMode="auto">
          <a:xfrm>
            <a:off x="11944818" y="1384714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06" tIns="46806" rIns="46806" bIns="4680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0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51" name="Freeform 50"/>
          <p:cNvSpPr>
            <a:spLocks/>
          </p:cNvSpPr>
          <p:nvPr userDrawn="1"/>
        </p:nvSpPr>
        <p:spPr bwMode="auto">
          <a:xfrm>
            <a:off x="11944818" y="820118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06" tIns="46806" rIns="46806" bIns="4680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140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52" name="Freeform 5"/>
          <p:cNvSpPr>
            <a:spLocks/>
          </p:cNvSpPr>
          <p:nvPr userDrawn="1"/>
        </p:nvSpPr>
        <p:spPr bwMode="auto">
          <a:xfrm>
            <a:off x="11944818" y="258729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06" tIns="46806" rIns="46806" bIns="4680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437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437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53" name="Freeform 5"/>
          <p:cNvSpPr>
            <a:spLocks/>
          </p:cNvSpPr>
          <p:nvPr userDrawn="1"/>
        </p:nvSpPr>
        <p:spPr bwMode="auto">
          <a:xfrm>
            <a:off x="11944818" y="3643098"/>
            <a:ext cx="428400" cy="5645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806" tIns="46806" rIns="46806" bIns="4680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9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54" name="Freeform 5"/>
          <p:cNvSpPr>
            <a:spLocks/>
          </p:cNvSpPr>
          <p:nvPr userDrawn="1"/>
        </p:nvSpPr>
        <p:spPr bwMode="auto">
          <a:xfrm>
            <a:off x="11949114" y="4301731"/>
            <a:ext cx="424105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5" name="Freeform 5"/>
          <p:cNvSpPr>
            <a:spLocks/>
          </p:cNvSpPr>
          <p:nvPr userDrawn="1"/>
        </p:nvSpPr>
        <p:spPr bwMode="auto">
          <a:xfrm>
            <a:off x="11949112" y="4493139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6" name="Freeform 5"/>
          <p:cNvSpPr>
            <a:spLocks/>
          </p:cNvSpPr>
          <p:nvPr userDrawn="1"/>
        </p:nvSpPr>
        <p:spPr bwMode="auto">
          <a:xfrm>
            <a:off x="12102362" y="4493138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7" name="Freeform 5"/>
          <p:cNvSpPr>
            <a:spLocks/>
          </p:cNvSpPr>
          <p:nvPr userDrawn="1"/>
        </p:nvSpPr>
        <p:spPr bwMode="auto">
          <a:xfrm>
            <a:off x="12255608" y="4493135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8" name="Freeform 5"/>
          <p:cNvSpPr>
            <a:spLocks/>
          </p:cNvSpPr>
          <p:nvPr userDrawn="1"/>
        </p:nvSpPr>
        <p:spPr bwMode="auto">
          <a:xfrm>
            <a:off x="11949114" y="4775433"/>
            <a:ext cx="424105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9" name="Freeform 5"/>
          <p:cNvSpPr>
            <a:spLocks/>
          </p:cNvSpPr>
          <p:nvPr userDrawn="1"/>
        </p:nvSpPr>
        <p:spPr bwMode="auto">
          <a:xfrm>
            <a:off x="11949112" y="4982131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0" name="Freeform 5"/>
          <p:cNvSpPr>
            <a:spLocks/>
          </p:cNvSpPr>
          <p:nvPr userDrawn="1"/>
        </p:nvSpPr>
        <p:spPr bwMode="auto">
          <a:xfrm>
            <a:off x="12102362" y="4982128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1" name="Freeform 5"/>
          <p:cNvSpPr>
            <a:spLocks/>
          </p:cNvSpPr>
          <p:nvPr userDrawn="1"/>
        </p:nvSpPr>
        <p:spPr bwMode="auto">
          <a:xfrm>
            <a:off x="12255608" y="4982127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2" name="Freeform 5"/>
          <p:cNvSpPr>
            <a:spLocks/>
          </p:cNvSpPr>
          <p:nvPr userDrawn="1"/>
        </p:nvSpPr>
        <p:spPr bwMode="auto">
          <a:xfrm>
            <a:off x="11949114" y="5245930"/>
            <a:ext cx="424105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3" name="Freeform 5"/>
          <p:cNvSpPr>
            <a:spLocks/>
          </p:cNvSpPr>
          <p:nvPr userDrawn="1"/>
        </p:nvSpPr>
        <p:spPr bwMode="auto">
          <a:xfrm>
            <a:off x="11949112" y="5437334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4" name="Freeform 5"/>
          <p:cNvSpPr>
            <a:spLocks/>
          </p:cNvSpPr>
          <p:nvPr userDrawn="1"/>
        </p:nvSpPr>
        <p:spPr bwMode="auto">
          <a:xfrm>
            <a:off x="12102362" y="5437333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5" name="Freeform 5"/>
          <p:cNvSpPr>
            <a:spLocks/>
          </p:cNvSpPr>
          <p:nvPr userDrawn="1"/>
        </p:nvSpPr>
        <p:spPr bwMode="auto">
          <a:xfrm>
            <a:off x="12255608" y="5437333"/>
            <a:ext cx="117609" cy="141133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6" name="TextBox 39"/>
          <p:cNvSpPr txBox="1"/>
          <p:nvPr userDrawn="1"/>
        </p:nvSpPr>
        <p:spPr>
          <a:xfrm>
            <a:off x="11949113" y="5619122"/>
            <a:ext cx="621766" cy="86593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4377" fontAlgn="auto">
              <a:spcBef>
                <a:spcPts val="1045"/>
              </a:spcBef>
              <a:spcAft>
                <a:spcPts val="0"/>
              </a:spcAft>
            </a:pPr>
            <a:r>
              <a:rPr lang="en-US" sz="9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9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9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9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9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9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9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9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9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9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</a:p>
        </p:txBody>
      </p:sp>
      <p:sp>
        <p:nvSpPr>
          <p:cNvPr id="68" name="Freeform 5"/>
          <p:cNvSpPr>
            <a:spLocks/>
          </p:cNvSpPr>
          <p:nvPr userDrawn="1"/>
        </p:nvSpPr>
        <p:spPr bwMode="auto">
          <a:xfrm>
            <a:off x="12411753" y="25872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BD78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9" name="Freeform 5"/>
          <p:cNvSpPr>
            <a:spLocks/>
          </p:cNvSpPr>
          <p:nvPr userDrawn="1"/>
        </p:nvSpPr>
        <p:spPr bwMode="auto">
          <a:xfrm>
            <a:off x="12411753" y="537757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7A23C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0" name="Freeform 5"/>
          <p:cNvSpPr>
            <a:spLocks/>
          </p:cNvSpPr>
          <p:nvPr userDrawn="1"/>
        </p:nvSpPr>
        <p:spPr bwMode="auto">
          <a:xfrm>
            <a:off x="12411753" y="86222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86DB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1" name="Freeform 5"/>
          <p:cNvSpPr>
            <a:spLocks/>
          </p:cNvSpPr>
          <p:nvPr userDrawn="1"/>
        </p:nvSpPr>
        <p:spPr bwMode="auto">
          <a:xfrm>
            <a:off x="12411753" y="113250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B51F7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2" name="Freeform 71"/>
          <p:cNvSpPr>
            <a:spLocks/>
          </p:cNvSpPr>
          <p:nvPr userDrawn="1"/>
        </p:nvSpPr>
        <p:spPr bwMode="auto">
          <a:xfrm>
            <a:off x="12411753" y="144158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95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3" name="Freeform 5"/>
          <p:cNvSpPr>
            <a:spLocks/>
          </p:cNvSpPr>
          <p:nvPr userDrawn="1"/>
        </p:nvSpPr>
        <p:spPr bwMode="auto">
          <a:xfrm>
            <a:off x="12411753" y="171186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CC52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4" name="Freeform 5"/>
          <p:cNvSpPr>
            <a:spLocks/>
          </p:cNvSpPr>
          <p:nvPr userDrawn="1"/>
        </p:nvSpPr>
        <p:spPr bwMode="auto">
          <a:xfrm>
            <a:off x="12411753" y="200887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C8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5" name="Freeform 5"/>
          <p:cNvSpPr>
            <a:spLocks/>
          </p:cNvSpPr>
          <p:nvPr userDrawn="1"/>
        </p:nvSpPr>
        <p:spPr bwMode="auto">
          <a:xfrm>
            <a:off x="12411753" y="2279156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CCC6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6" name="Freeform 5"/>
          <p:cNvSpPr>
            <a:spLocks/>
          </p:cNvSpPr>
          <p:nvPr userDrawn="1"/>
        </p:nvSpPr>
        <p:spPr bwMode="auto">
          <a:xfrm>
            <a:off x="12411753" y="256409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69D17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7" name="Freeform 5"/>
          <p:cNvSpPr>
            <a:spLocks/>
          </p:cNvSpPr>
          <p:nvPr userDrawn="1"/>
        </p:nvSpPr>
        <p:spPr bwMode="auto">
          <a:xfrm>
            <a:off x="12411753" y="283437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9E0B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8" name="Freeform 5"/>
          <p:cNvSpPr>
            <a:spLocks/>
          </p:cNvSpPr>
          <p:nvPr userDrawn="1"/>
        </p:nvSpPr>
        <p:spPr bwMode="auto">
          <a:xfrm>
            <a:off x="12411753" y="3155524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E6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9" name="Freeform 5"/>
          <p:cNvSpPr>
            <a:spLocks/>
          </p:cNvSpPr>
          <p:nvPr userDrawn="1"/>
        </p:nvSpPr>
        <p:spPr bwMode="auto">
          <a:xfrm>
            <a:off x="12411753" y="342580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AFC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80" name="Freeform 5"/>
          <p:cNvSpPr>
            <a:spLocks/>
          </p:cNvSpPr>
          <p:nvPr userDrawn="1"/>
        </p:nvSpPr>
        <p:spPr bwMode="auto">
          <a:xfrm>
            <a:off x="12411753" y="3734884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DEDEDE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81" name="Freeform 5"/>
          <p:cNvSpPr>
            <a:spLocks/>
          </p:cNvSpPr>
          <p:nvPr userDrawn="1"/>
        </p:nvSpPr>
        <p:spPr bwMode="auto">
          <a:xfrm>
            <a:off x="12411753" y="4005165"/>
            <a:ext cx="141131" cy="18817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9C9C9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893" tIns="59446" rIns="118893" bIns="59446" numCol="1" anchor="t" anchorCtr="0" compatLnSpc="1">
            <a:prstTxWarp prst="textNoShape">
              <a:avLst/>
            </a:prstTxWarp>
          </a:bodyPr>
          <a:lstStyle/>
          <a:p>
            <a:pPr defTabSz="594377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9447506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40" r:id="rId1"/>
    <p:sldLayoutId id="2147484541" r:id="rId2"/>
    <p:sldLayoutId id="2147484542" r:id="rId3"/>
    <p:sldLayoutId id="2147484543" r:id="rId4"/>
    <p:sldLayoutId id="2147484544" r:id="rId5"/>
    <p:sldLayoutId id="2147484545" r:id="rId6"/>
    <p:sldLayoutId id="2147484546" r:id="rId7"/>
    <p:sldLayoutId id="2147484547" r:id="rId8"/>
    <p:sldLayoutId id="2147484548" r:id="rId9"/>
    <p:sldLayoutId id="2147484549" r:id="rId10"/>
    <p:sldLayoutId id="2147484550" r:id="rId11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defTabSz="594377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2700" b="0" i="0" kern="1200" noProof="0">
          <a:solidFill>
            <a:srgbClr val="FF7900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407" indent="-239407" algn="l" defTabSz="59437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4684" indent="-229084" algn="l" defTabSz="59437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4684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3774" indent="-229084" algn="l" defTabSz="59437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3774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2866" indent="-229084" algn="l" defTabSz="59437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2866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1950" indent="-229084" algn="l" defTabSz="594377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1950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69165" indent="-297188" algn="l" defTabSz="59437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63549" indent="-297188" algn="l" defTabSz="59437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57936" indent="-297188" algn="l" defTabSz="59437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52331" indent="-297188" algn="l" defTabSz="594377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43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4377" algn="l" defTabSz="5943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8787" algn="l" defTabSz="5943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3180" algn="l" defTabSz="5943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7569" algn="l" defTabSz="5943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71970" algn="l" defTabSz="5943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66357" algn="l" defTabSz="5943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60747" algn="l" defTabSz="5943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55137" algn="l" defTabSz="59437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9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82" y="1854703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2053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81813" y="1855222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9223673" y="6781924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3568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08509972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52" r:id="rId1"/>
    <p:sldLayoutId id="2147484553" r:id="rId2"/>
    <p:sldLayoutId id="2147484554" r:id="rId3"/>
    <p:sldLayoutId id="2147484555" r:id="rId4"/>
  </p:sldLayoutIdLst>
  <p:hf sldNum="0" hdr="0" ftr="0" dt="0"/>
  <p:txStyles>
    <p:titleStyle>
      <a:lvl1pPr algn="l" defTabSz="593568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086" indent="-239086" algn="l" defTabSz="59356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4041" indent="-228773" algn="l" defTabSz="59356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4041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2818" indent="-228773" algn="l" defTabSz="59356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2818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1601" indent="-228773" algn="l" defTabSz="59356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1601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0369" indent="-228773" algn="l" defTabSz="59356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0369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64727" indent="-296779" algn="l" defTabSz="59356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58307" indent="-296779" algn="l" defTabSz="59356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51888" indent="-296779" algn="l" defTabSz="59356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45481" indent="-296779" algn="l" defTabSz="59356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3568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7172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0762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4346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67935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61514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55098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48689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9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1978" y="358972"/>
            <a:ext cx="7338636" cy="102481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1855226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16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9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Freeform 28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28" tIns="46728" rIns="46728" bIns="4672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2" name="TextBox 39"/>
          <p:cNvSpPr txBox="1"/>
          <p:nvPr userDrawn="1"/>
        </p:nvSpPr>
        <p:spPr>
          <a:xfrm>
            <a:off x="9223673" y="6781928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3363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3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693" tIns="59348" rIns="118693" bIns="59348" numCol="1" anchor="t" anchorCtr="0" compatLnSpc="1">
            <a:prstTxWarp prst="textNoShape">
              <a:avLst/>
            </a:prstTxWarp>
          </a:bodyPr>
          <a:lstStyle/>
          <a:p>
            <a:pPr defTabSz="593363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8095493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57" r:id="rId1"/>
    <p:sldLayoutId id="2147484558" r:id="rId2"/>
    <p:sldLayoutId id="2147484559" r:id="rId3"/>
    <p:sldLayoutId id="2147484560" r:id="rId4"/>
    <p:sldLayoutId id="2147484561" r:id="rId5"/>
    <p:sldLayoutId id="2147484562" r:id="rId6"/>
    <p:sldLayoutId id="2147484563" r:id="rId7"/>
    <p:sldLayoutId id="2147484564" r:id="rId8"/>
  </p:sldLayoutIdLst>
  <p:hf sldNum="0" hdr="0" ftr="0" dt="0"/>
  <p:txStyles>
    <p:titleStyle>
      <a:lvl1pPr algn="l" defTabSz="593363" rtl="0" eaLnBrk="1" latinLnBrk="0" hangingPunct="1">
        <a:lnSpc>
          <a:spcPts val="5486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A037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005" indent="-239005" algn="l" defTabSz="59336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3881" indent="-228695" algn="l" defTabSz="59336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3881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2579" indent="-228695" algn="l" defTabSz="59336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2579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1282" indent="-228695" algn="l" defTabSz="59336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1282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59973" indent="-228695" algn="l" defTabSz="593363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59973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63617" indent="-296677" algn="l" defTabSz="59336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56998" indent="-296677" algn="l" defTabSz="59336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50378" indent="-296677" algn="l" defTabSz="59336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43767" indent="-296677" algn="l" defTabSz="593363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3363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6768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0158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3541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66928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60307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53688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47078" algn="l" defTabSz="5933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9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982" y="1854703"/>
            <a:ext cx="10739680" cy="45183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829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2053" y="358895"/>
            <a:ext cx="10725159" cy="931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81813" y="0"/>
            <a:ext cx="234103" cy="178152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3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3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81813" y="1855222"/>
            <a:ext cx="234103" cy="235248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81813" y="4207634"/>
            <a:ext cx="234103" cy="213534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11944818" y="3989891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11944818" y="327269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1944818" y="2555494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11944818" y="1838299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11944818" y="1121100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11944818" y="403902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11944818" y="4719963"/>
            <a:ext cx="428400" cy="66799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46743" tIns="46743" rIns="46743" bIns="46743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10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9223673" y="6781924"/>
            <a:ext cx="2679054" cy="436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93568" fontAlgn="auto">
              <a:spcBef>
                <a:spcPts val="1045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4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21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1096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1095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9702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9515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3149540" y="6748319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3149541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4130777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5112018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6279959" y="6748318"/>
            <a:ext cx="2893928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6279959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7261196" y="7011568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8242439" y="7011569"/>
            <a:ext cx="931451" cy="207241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732" tIns="59367" rIns="118732" bIns="59367" numCol="1" anchor="t" anchorCtr="0" compatLnSpc="1">
            <a:prstTxWarp prst="textNoShape">
              <a:avLst/>
            </a:prstTxWarp>
          </a:bodyPr>
          <a:lstStyle/>
          <a:p>
            <a:pPr defTabSz="593568" fontAlgn="auto">
              <a:spcBef>
                <a:spcPts val="0"/>
              </a:spcBef>
              <a:spcAft>
                <a:spcPts val="0"/>
              </a:spcAft>
            </a:pPr>
            <a:endParaRPr lang="pt-BR" sz="2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510705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67" r:id="rId1"/>
    <p:sldLayoutId id="2147484568" r:id="rId2"/>
    <p:sldLayoutId id="2147484569" r:id="rId3"/>
    <p:sldLayoutId id="2147484570" r:id="rId4"/>
    <p:sldLayoutId id="2147484571" r:id="rId5"/>
    <p:sldLayoutId id="2147484572" r:id="rId6"/>
    <p:sldLayoutId id="2147484573" r:id="rId7"/>
    <p:sldLayoutId id="2147484574" r:id="rId8"/>
    <p:sldLayoutId id="2147484575" r:id="rId9"/>
    <p:sldLayoutId id="2147484576" r:id="rId10"/>
  </p:sldLayoutIdLst>
  <p:hf sldNum="0" hdr="0" ftr="0" dt="0"/>
  <p:txStyles>
    <p:titleStyle>
      <a:lvl1pPr algn="l" defTabSz="593568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55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239086" indent="-239086" algn="l" defTabSz="59356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/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474041" indent="-228773" algn="l" defTabSz="59356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474041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702818" indent="-228773" algn="l" defTabSz="59356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702818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931601" indent="-228773" algn="l" defTabSz="59356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931601" algn="l"/>
        </a:tabLst>
        <a:defRPr lang="es-ES_tradnl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160369" indent="-228773" algn="l" defTabSz="593568" rtl="0" eaLnBrk="1" latinLnBrk="0" hangingPunct="1">
        <a:lnSpc>
          <a:spcPct val="100000"/>
        </a:lnSpc>
        <a:spcBef>
          <a:spcPts val="0"/>
        </a:spcBef>
        <a:spcAft>
          <a:spcPts val="392"/>
        </a:spcAft>
        <a:buFont typeface="Wingdings" charset="2"/>
        <a:buChar char="§"/>
        <a:tabLst>
          <a:tab pos="1160369" algn="l"/>
        </a:tabLst>
        <a:defRPr lang="pt-BR" sz="18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3264727" indent="-296779" algn="l" defTabSz="59356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58307" indent="-296779" algn="l" defTabSz="59356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51888" indent="-296779" algn="l" defTabSz="59356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45481" indent="-296779" algn="l" defTabSz="593568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3568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7172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80762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74346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67935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61514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55098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48689" algn="l" defTabSz="5935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665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35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1806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87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" Target="slide4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53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1787.xml"/><Relationship Id="rId5" Type="http://schemas.openxmlformats.org/officeDocument/2006/relationships/slide" Target="slide3.xml"/><Relationship Id="rId4" Type="http://schemas.openxmlformats.org/officeDocument/2006/relationships/image" Target="../media/image26.pn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53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" Target="slide7.xm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53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1536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533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533.xml"/><Relationship Id="rId6" Type="http://schemas.openxmlformats.org/officeDocument/2006/relationships/slide" Target="slide6.xml"/><Relationship Id="rId5" Type="http://schemas.openxmlformats.org/officeDocument/2006/relationships/image" Target="../media/image30.png"/><Relationship Id="rId4" Type="http://schemas.openxmlformats.org/officeDocument/2006/relationships/image" Target="../media/image29.jp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1676" y="230187"/>
            <a:ext cx="10530036" cy="2569934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sz="7100" dirty="0" smtClean="0"/>
              <a:t>BATIMENTO</a:t>
            </a:r>
            <a:r>
              <a:rPr lang="en-US" sz="7100" dirty="0"/>
              <a:t/>
            </a:r>
            <a:br>
              <a:rPr lang="en-US" sz="7100" dirty="0"/>
            </a:br>
            <a:r>
              <a:rPr lang="en-US" sz="7100" dirty="0"/>
              <a:t/>
            </a:r>
            <a:br>
              <a:rPr lang="en-US" sz="7100" dirty="0"/>
            </a:br>
            <a:r>
              <a:rPr lang="en-US" sz="2500" dirty="0" smtClean="0"/>
              <a:t>Jan/18</a:t>
            </a:r>
            <a:endParaRPr lang="en-US" sz="2500" dirty="0"/>
          </a:p>
        </p:txBody>
      </p:sp>
    </p:spTree>
    <p:extLst>
      <p:ext uri="{BB962C8B-B14F-4D97-AF65-F5344CB8AC3E}">
        <p14:creationId xmlns:p14="http://schemas.microsoft.com/office/powerpoint/2010/main" val="19321530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Obrigado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731621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tângulo 2"/>
          <p:cNvSpPr/>
          <p:nvPr/>
        </p:nvSpPr>
        <p:spPr>
          <a:xfrm>
            <a:off x="448340" y="895593"/>
            <a:ext cx="11500771" cy="39087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marL="342900" indent="-342900" algn="just" defTabSz="593090">
              <a:lnSpc>
                <a:spcPct val="150000"/>
              </a:lnSpc>
              <a:spcBef>
                <a:spcPts val="2352"/>
              </a:spcBef>
              <a:spcAft>
                <a:spcPts val="0"/>
              </a:spcAft>
              <a:buFont typeface="Wingdings" panose="05000000000000000000" pitchFamily="2" charset="2"/>
              <a:buChar char="§"/>
            </a:pPr>
            <a:r>
              <a:rPr lang="pt-BR" sz="2400" dirty="0" smtClean="0">
                <a:solidFill>
                  <a:srgbClr val="000000"/>
                </a:solidFill>
                <a:latin typeface="Simplon Oi"/>
                <a:ea typeface="ＭＳ Ｐゴシック" charset="0"/>
                <a:cs typeface="Simplon Oi Headline"/>
              </a:rPr>
              <a:t>CPFs </a:t>
            </a:r>
            <a:r>
              <a:rPr lang="pt-BR" sz="2400" dirty="0">
                <a:solidFill>
                  <a:srgbClr val="000000"/>
                </a:solidFill>
                <a:latin typeface="Simplon Oi"/>
                <a:ea typeface="ＭＳ Ｐゴシック" charset="0"/>
                <a:cs typeface="Simplon Oi Headline"/>
              </a:rPr>
              <a:t>	</a:t>
            </a:r>
            <a:r>
              <a:rPr lang="pt-BR" sz="2400" dirty="0" smtClean="0">
                <a:solidFill>
                  <a:srgbClr val="000000"/>
                </a:solidFill>
                <a:latin typeface="Simplon Oi"/>
                <a:ea typeface="ＭＳ Ｐゴシック" charset="0"/>
                <a:cs typeface="Simplon Oi Headline"/>
              </a:rPr>
              <a:t>	 </a:t>
            </a:r>
            <a:r>
              <a:rPr lang="pt-BR" sz="2400" dirty="0" err="1" smtClean="0">
                <a:solidFill>
                  <a:srgbClr val="000000"/>
                </a:solidFill>
                <a:latin typeface="Simplon Oi"/>
                <a:ea typeface="ＭＳ Ｐゴシック" charset="0"/>
                <a:cs typeface="Simplon Oi Headline"/>
              </a:rPr>
              <a:t>vs</a:t>
            </a:r>
            <a:r>
              <a:rPr lang="pt-BR" sz="2400" dirty="0" smtClean="0">
                <a:solidFill>
                  <a:srgbClr val="000000"/>
                </a:solidFill>
                <a:latin typeface="Simplon Oi"/>
                <a:ea typeface="ＭＳ Ｐゴシック" charset="0"/>
                <a:cs typeface="Simplon Oi Headline"/>
              </a:rPr>
              <a:t> </a:t>
            </a:r>
            <a:r>
              <a:rPr lang="pt-BR" sz="2400" dirty="0">
                <a:solidFill>
                  <a:srgbClr val="000000"/>
                </a:solidFill>
                <a:latin typeface="Simplon Oi"/>
                <a:ea typeface="ＭＳ Ｐゴシック" charset="0"/>
                <a:cs typeface="Simplon Oi Headline"/>
              </a:rPr>
              <a:t>Quantidade de CPFs </a:t>
            </a:r>
            <a:r>
              <a:rPr lang="pt-BR" sz="2400" dirty="0" smtClean="0">
                <a:solidFill>
                  <a:srgbClr val="000000"/>
                </a:solidFill>
                <a:latin typeface="Simplon Oi"/>
                <a:ea typeface="ＭＳ Ｐゴシック" charset="0"/>
                <a:cs typeface="Simplon Oi Headline"/>
              </a:rPr>
              <a:t>		</a:t>
            </a:r>
            <a:r>
              <a:rPr lang="pt-BR" sz="2800" dirty="0" smtClean="0">
                <a:solidFill>
                  <a:srgbClr val="000000"/>
                </a:solidFill>
                <a:latin typeface="Simplon Oi"/>
                <a:ea typeface="ＭＳ Ｐゴシック" charset="0"/>
                <a:cs typeface="Simplon Oi Headline"/>
              </a:rPr>
              <a:t>   </a:t>
            </a:r>
            <a:r>
              <a:rPr lang="pt-BR" sz="2000" dirty="0" smtClean="0">
                <a:solidFill>
                  <a:srgbClr val="000000"/>
                </a:solidFill>
                <a:latin typeface="Simplon Oi"/>
                <a:ea typeface="ＭＳ Ｐゴシック" charset="0"/>
                <a:cs typeface="Simplon Oi Headline"/>
              </a:rPr>
              <a:t>(com terminais ativos)</a:t>
            </a:r>
            <a:endParaRPr lang="pt-BR" sz="3200" dirty="0" smtClean="0">
              <a:solidFill>
                <a:srgbClr val="000000"/>
              </a:solidFill>
              <a:latin typeface="Simplon Oi"/>
              <a:ea typeface="ＭＳ Ｐゴシック" charset="0"/>
              <a:cs typeface="Simplon Oi Headline"/>
            </a:endParaRPr>
          </a:p>
          <a:p>
            <a:pPr marL="342900" indent="-342900" algn="just" defTabSz="593090">
              <a:lnSpc>
                <a:spcPct val="150000"/>
              </a:lnSpc>
              <a:spcBef>
                <a:spcPts val="2352"/>
              </a:spcBef>
              <a:spcAft>
                <a:spcPts val="0"/>
              </a:spcAft>
              <a:buFont typeface="Wingdings" panose="05000000000000000000" pitchFamily="2" charset="2"/>
              <a:buChar char="§"/>
            </a:pPr>
            <a:r>
              <a:rPr lang="pt-BR" sz="2400" dirty="0" smtClean="0">
                <a:solidFill>
                  <a:srgbClr val="000000"/>
                </a:solidFill>
                <a:latin typeface="Simplon Oi"/>
                <a:ea typeface="ＭＳ Ｐゴシック" charset="0"/>
                <a:cs typeface="Simplon Oi Headline"/>
              </a:rPr>
              <a:t>Combo “CPF + terminal ativo” 		  </a:t>
            </a:r>
            <a:r>
              <a:rPr lang="pt-BR" sz="2400" dirty="0" err="1" smtClean="0">
                <a:solidFill>
                  <a:srgbClr val="000000"/>
                </a:solidFill>
                <a:latin typeface="Simplon Oi"/>
                <a:ea typeface="ＭＳ Ｐゴシック" charset="0"/>
                <a:cs typeface="Simplon Oi Headline"/>
              </a:rPr>
              <a:t>vs</a:t>
            </a:r>
            <a:r>
              <a:rPr lang="pt-BR" sz="2400" dirty="0" smtClean="0">
                <a:solidFill>
                  <a:srgbClr val="000000"/>
                </a:solidFill>
                <a:latin typeface="Simplon Oi"/>
                <a:ea typeface="ＭＳ Ｐゴシック" charset="0"/>
                <a:cs typeface="Simplon Oi Headline"/>
              </a:rPr>
              <a:t> </a:t>
            </a:r>
          </a:p>
          <a:p>
            <a:pPr marL="342900" indent="-342900" algn="just" defTabSz="593090">
              <a:lnSpc>
                <a:spcPct val="150000"/>
              </a:lnSpc>
              <a:spcBef>
                <a:spcPts val="2352"/>
              </a:spcBef>
              <a:spcAft>
                <a:spcPts val="0"/>
              </a:spcAft>
              <a:buFont typeface="Wingdings" panose="05000000000000000000" pitchFamily="2" charset="2"/>
              <a:buChar char="§"/>
            </a:pPr>
            <a:r>
              <a:rPr lang="pt-BR" sz="2400" dirty="0" smtClean="0">
                <a:solidFill>
                  <a:srgbClr val="000000"/>
                </a:solidFill>
                <a:latin typeface="Simplon Oi"/>
                <a:ea typeface="ＭＳ Ｐゴシック" charset="0"/>
                <a:cs typeface="Simplon Oi Headline"/>
              </a:rPr>
              <a:t>Terminais ativos em    		com mais de 1 CPF associado</a:t>
            </a:r>
          </a:p>
          <a:p>
            <a:pPr marL="342900" indent="-342900" algn="just" defTabSz="593090">
              <a:lnSpc>
                <a:spcPct val="150000"/>
              </a:lnSpc>
              <a:spcBef>
                <a:spcPts val="2352"/>
              </a:spcBef>
              <a:spcAft>
                <a:spcPts val="0"/>
              </a:spcAft>
              <a:buFont typeface="Wingdings" panose="05000000000000000000" pitchFamily="2" charset="2"/>
              <a:buChar char="§"/>
            </a:pPr>
            <a:r>
              <a:rPr lang="pt-BR" sz="2400" dirty="0" smtClean="0">
                <a:solidFill>
                  <a:srgbClr val="000000"/>
                </a:solidFill>
                <a:latin typeface="Simplon Oi"/>
                <a:ea typeface="ＭＳ Ｐゴシック" charset="0"/>
                <a:cs typeface="Simplon Oi Headline"/>
              </a:rPr>
              <a:t>Nome </a:t>
            </a:r>
            <a:r>
              <a:rPr lang="pt-BR" sz="2400" dirty="0">
                <a:solidFill>
                  <a:srgbClr val="000000"/>
                </a:solidFill>
                <a:latin typeface="Simplon Oi"/>
                <a:ea typeface="ＭＳ Ｐゴシック" charset="0"/>
                <a:cs typeface="Simplon Oi Headline"/>
              </a:rPr>
              <a:t>do plano associado ao terminal </a:t>
            </a:r>
            <a:r>
              <a:rPr lang="pt-BR" sz="2400" dirty="0" smtClean="0">
                <a:solidFill>
                  <a:srgbClr val="000000"/>
                </a:solidFill>
                <a:latin typeface="Simplon Oi"/>
                <a:ea typeface="ＭＳ Ｐゴシック" charset="0"/>
                <a:cs typeface="Simplon Oi Headline"/>
              </a:rPr>
              <a:t>em 	</a:t>
            </a:r>
            <a:r>
              <a:rPr lang="pt-BR" sz="2400" dirty="0">
                <a:solidFill>
                  <a:srgbClr val="000000"/>
                </a:solidFill>
                <a:latin typeface="Simplon Oi"/>
                <a:ea typeface="ＭＳ Ｐゴシック" charset="0"/>
                <a:cs typeface="Simplon Oi Headline"/>
              </a:rPr>
              <a:t> </a:t>
            </a:r>
            <a:r>
              <a:rPr lang="pt-BR" sz="2400" dirty="0" smtClean="0">
                <a:solidFill>
                  <a:srgbClr val="000000"/>
                </a:solidFill>
                <a:latin typeface="Simplon Oi"/>
                <a:ea typeface="ＭＳ Ｐゴシック" charset="0"/>
                <a:cs typeface="Simplon Oi Headline"/>
              </a:rPr>
              <a:t>     	</a:t>
            </a:r>
            <a:r>
              <a:rPr lang="pt-BR" sz="2400" dirty="0" err="1" smtClean="0">
                <a:solidFill>
                  <a:srgbClr val="000000"/>
                </a:solidFill>
                <a:latin typeface="Simplon Oi"/>
                <a:ea typeface="ＭＳ Ｐゴシック" charset="0"/>
                <a:cs typeface="Simplon Oi Headline"/>
              </a:rPr>
              <a:t>vs</a:t>
            </a:r>
            <a:r>
              <a:rPr lang="pt-BR" sz="2400" dirty="0" smtClean="0">
                <a:solidFill>
                  <a:srgbClr val="000000"/>
                </a:solidFill>
                <a:latin typeface="Simplon Oi"/>
                <a:ea typeface="ＭＳ Ｐゴシック" charset="0"/>
                <a:cs typeface="Simplon Oi Headline"/>
              </a:rPr>
              <a:t> </a:t>
            </a:r>
            <a:r>
              <a:rPr lang="pt-BR" sz="2400" dirty="0">
                <a:solidFill>
                  <a:srgbClr val="000000"/>
                </a:solidFill>
                <a:latin typeface="Simplon Oi"/>
                <a:ea typeface="ＭＳ Ｐゴシック" charset="0"/>
                <a:cs typeface="Simplon Oi Headline"/>
              </a:rPr>
              <a:t>n</a:t>
            </a:r>
            <a:r>
              <a:rPr lang="pt-BR" sz="2400" dirty="0" smtClean="0">
                <a:solidFill>
                  <a:srgbClr val="000000"/>
                </a:solidFill>
                <a:latin typeface="Simplon Oi"/>
                <a:ea typeface="ＭＳ Ｐゴシック" charset="0"/>
                <a:cs typeface="Simplon Oi Headline"/>
              </a:rPr>
              <a:t>ome </a:t>
            </a:r>
            <a:r>
              <a:rPr lang="pt-BR" sz="2400" dirty="0">
                <a:solidFill>
                  <a:srgbClr val="000000"/>
                </a:solidFill>
                <a:latin typeface="Simplon Oi"/>
                <a:ea typeface="ＭＳ Ｐゴシック" charset="0"/>
                <a:cs typeface="Simplon Oi Headline"/>
              </a:rPr>
              <a:t>do </a:t>
            </a:r>
            <a:r>
              <a:rPr lang="pt-BR" sz="2400" dirty="0" smtClean="0">
                <a:solidFill>
                  <a:srgbClr val="000000"/>
                </a:solidFill>
                <a:latin typeface="Simplon Oi"/>
                <a:ea typeface="ＭＳ Ｐゴシック" charset="0"/>
                <a:cs typeface="Simplon Oi Headline"/>
              </a:rPr>
              <a:t>plano em </a:t>
            </a:r>
            <a:endParaRPr lang="pt-BR" sz="2400" dirty="0">
              <a:solidFill>
                <a:srgbClr val="000000"/>
              </a:solidFill>
              <a:latin typeface="Simplon Oi"/>
              <a:ea typeface="ＭＳ Ｐゴシック" charset="0"/>
              <a:cs typeface="Simplon Oi Headline"/>
            </a:endParaRPr>
          </a:p>
        </p:txBody>
      </p:sp>
      <p:sp>
        <p:nvSpPr>
          <p:cNvPr id="4" name="Título 137"/>
          <p:cNvSpPr txBox="1">
            <a:spLocks/>
          </p:cNvSpPr>
          <p:nvPr/>
        </p:nvSpPr>
        <p:spPr>
          <a:xfrm>
            <a:off x="326575" y="39189"/>
            <a:ext cx="11949113" cy="73603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593090" rtl="0" eaLnBrk="1" latinLnBrk="0" hangingPunct="1">
              <a:lnSpc>
                <a:spcPts val="5487"/>
              </a:lnSpc>
              <a:spcBef>
                <a:spcPct val="0"/>
              </a:spcBef>
              <a:spcAft>
                <a:spcPts val="0"/>
              </a:spcAft>
              <a:buNone/>
              <a:defRPr lang="pt-BR" sz="5500" b="0" i="0" kern="1200" noProof="0">
                <a:solidFill>
                  <a:srgbClr val="A037FF"/>
                </a:solidFill>
                <a:latin typeface="Simplon Oi Headline"/>
                <a:ea typeface="ＭＳ Ｐゴシック" charset="0"/>
                <a:cs typeface="Simplon Oi Headline"/>
              </a:defRPr>
            </a:lvl1pPr>
          </a:lstStyle>
          <a:p>
            <a:pPr defTabSz="597423" fontAlgn="auto">
              <a:lnSpc>
                <a:spcPts val="5488"/>
              </a:lnSpc>
              <a:spcBef>
                <a:spcPts val="0"/>
              </a:spcBef>
            </a:pPr>
            <a:r>
              <a:rPr sz="3700" dirty="0"/>
              <a:t>Cruzamentos efetuados</a:t>
            </a:r>
          </a:p>
        </p:txBody>
      </p:sp>
      <p:grpSp>
        <p:nvGrpSpPr>
          <p:cNvPr id="6" name="Grupo 5"/>
          <p:cNvGrpSpPr/>
          <p:nvPr/>
        </p:nvGrpSpPr>
        <p:grpSpPr>
          <a:xfrm>
            <a:off x="1753540" y="693751"/>
            <a:ext cx="1038370" cy="1038370"/>
            <a:chOff x="5455371" y="2841552"/>
            <a:chExt cx="1038370" cy="1038370"/>
          </a:xfrm>
        </p:grpSpPr>
        <p:pic>
          <p:nvPicPr>
            <p:cNvPr id="2" name="Imagem 1"/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455371" y="2841552"/>
              <a:ext cx="1038370" cy="1038370"/>
            </a:xfrm>
            <a:prstGeom prst="rect">
              <a:avLst/>
            </a:prstGeom>
          </p:spPr>
        </p:pic>
        <p:sp>
          <p:nvSpPr>
            <p:cNvPr id="5" name="CaixaDeTexto 4"/>
            <p:cNvSpPr txBox="1"/>
            <p:nvPr/>
          </p:nvSpPr>
          <p:spPr>
            <a:xfrm>
              <a:off x="5732564" y="3233968"/>
              <a:ext cx="483984" cy="503590"/>
            </a:xfrm>
            <a:prstGeom prst="rect">
              <a:avLst/>
            </a:prstGeom>
            <a:noFill/>
          </p:spPr>
          <p:txBody>
            <a:bodyPr wrap="square" lIns="36000" tIns="36000" rIns="36000" bIns="36000" rtlCol="0">
              <a:spAutoFit/>
            </a:bodyPr>
            <a:lstStyle/>
            <a:p>
              <a:pPr algn="ctr"/>
              <a:r>
                <a:rPr lang="pt-BR" sz="1400" dirty="0" smtClean="0">
                  <a:solidFill>
                    <a:srgbClr val="000000"/>
                  </a:solidFill>
                  <a:latin typeface="Simplon BP" charset="0"/>
                  <a:ea typeface="Simplon BP" charset="0"/>
                  <a:cs typeface="Simplon BP" charset="0"/>
                </a:rPr>
                <a:t>CDI</a:t>
              </a:r>
            </a:p>
            <a:p>
              <a:pPr algn="ctr"/>
              <a:r>
                <a:rPr lang="pt-BR" sz="1400" dirty="0" smtClean="0">
                  <a:solidFill>
                    <a:srgbClr val="000000"/>
                  </a:solidFill>
                  <a:latin typeface="Simplon BP" charset="0"/>
                  <a:ea typeface="Simplon BP" charset="0"/>
                  <a:cs typeface="Simplon BP" charset="0"/>
                </a:rPr>
                <a:t>SAC</a:t>
              </a:r>
            </a:p>
          </p:txBody>
        </p:sp>
      </p:grpSp>
      <p:grpSp>
        <p:nvGrpSpPr>
          <p:cNvPr id="7" name="Grupo 6"/>
          <p:cNvGrpSpPr/>
          <p:nvPr/>
        </p:nvGrpSpPr>
        <p:grpSpPr>
          <a:xfrm>
            <a:off x="6198726" y="693751"/>
            <a:ext cx="1038370" cy="1038370"/>
            <a:chOff x="5455371" y="2841552"/>
            <a:chExt cx="1038370" cy="1038370"/>
          </a:xfrm>
        </p:grpSpPr>
        <p:pic>
          <p:nvPicPr>
            <p:cNvPr id="8" name="Imagem 7"/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455371" y="2841552"/>
              <a:ext cx="1038370" cy="1038370"/>
            </a:xfrm>
            <a:prstGeom prst="rect">
              <a:avLst/>
            </a:prstGeom>
          </p:spPr>
        </p:pic>
        <p:sp>
          <p:nvSpPr>
            <p:cNvPr id="9" name="CaixaDeTexto 8"/>
            <p:cNvSpPr txBox="1"/>
            <p:nvPr/>
          </p:nvSpPr>
          <p:spPr>
            <a:xfrm>
              <a:off x="5771043" y="3282925"/>
              <a:ext cx="404470" cy="288147"/>
            </a:xfrm>
            <a:prstGeom prst="rect">
              <a:avLst/>
            </a:prstGeom>
            <a:noFill/>
          </p:spPr>
          <p:txBody>
            <a:bodyPr wrap="square" lIns="36000" tIns="36000" rIns="36000" bIns="36000" rtlCol="0">
              <a:spAutoFit/>
            </a:bodyPr>
            <a:lstStyle/>
            <a:p>
              <a:r>
                <a:rPr lang="pt-BR" sz="1400" dirty="0" err="1" smtClean="0">
                  <a:solidFill>
                    <a:srgbClr val="000000"/>
                  </a:solidFill>
                  <a:latin typeface="Simplon BP" charset="0"/>
                  <a:ea typeface="Simplon BP" charset="0"/>
                  <a:cs typeface="Simplon BP" charset="0"/>
                </a:rPr>
                <a:t>MOi</a:t>
              </a:r>
              <a:endParaRPr lang="pt-BR" sz="1400" dirty="0" smtClean="0">
                <a:solidFill>
                  <a:srgbClr val="000000"/>
                </a:solidFill>
                <a:latin typeface="Simplon BP" charset="0"/>
                <a:ea typeface="Simplon BP" charset="0"/>
                <a:cs typeface="Simplon BP" charset="0"/>
              </a:endParaRPr>
            </a:p>
          </p:txBody>
        </p:sp>
      </p:grpSp>
      <p:grpSp>
        <p:nvGrpSpPr>
          <p:cNvPr id="13" name="Grupo 12"/>
          <p:cNvGrpSpPr/>
          <p:nvPr/>
        </p:nvGrpSpPr>
        <p:grpSpPr>
          <a:xfrm>
            <a:off x="4894326" y="1732121"/>
            <a:ext cx="1038370" cy="1038370"/>
            <a:chOff x="5455371" y="2841552"/>
            <a:chExt cx="1038370" cy="1038370"/>
          </a:xfrm>
        </p:grpSpPr>
        <p:pic>
          <p:nvPicPr>
            <p:cNvPr id="14" name="Imagem 13"/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455371" y="2841552"/>
              <a:ext cx="1038370" cy="1038370"/>
            </a:xfrm>
            <a:prstGeom prst="rect">
              <a:avLst/>
            </a:prstGeom>
          </p:spPr>
        </p:pic>
        <p:sp>
          <p:nvSpPr>
            <p:cNvPr id="15" name="CaixaDeTexto 14"/>
            <p:cNvSpPr txBox="1"/>
            <p:nvPr/>
          </p:nvSpPr>
          <p:spPr>
            <a:xfrm>
              <a:off x="5732564" y="3233968"/>
              <a:ext cx="483984" cy="503590"/>
            </a:xfrm>
            <a:prstGeom prst="rect">
              <a:avLst/>
            </a:prstGeom>
            <a:noFill/>
          </p:spPr>
          <p:txBody>
            <a:bodyPr wrap="square" lIns="36000" tIns="36000" rIns="36000" bIns="36000" rtlCol="0">
              <a:spAutoFit/>
            </a:bodyPr>
            <a:lstStyle/>
            <a:p>
              <a:pPr algn="ctr"/>
              <a:r>
                <a:rPr lang="pt-BR" sz="1400" dirty="0" smtClean="0">
                  <a:solidFill>
                    <a:srgbClr val="000000"/>
                  </a:solidFill>
                  <a:latin typeface="Simplon BP" charset="0"/>
                  <a:ea typeface="Simplon BP" charset="0"/>
                  <a:cs typeface="Simplon BP" charset="0"/>
                </a:rPr>
                <a:t>CDI</a:t>
              </a:r>
            </a:p>
            <a:p>
              <a:pPr algn="ctr"/>
              <a:r>
                <a:rPr lang="pt-BR" sz="1400" dirty="0" smtClean="0">
                  <a:solidFill>
                    <a:srgbClr val="000000"/>
                  </a:solidFill>
                  <a:latin typeface="Simplon BP" charset="0"/>
                  <a:ea typeface="Simplon BP" charset="0"/>
                  <a:cs typeface="Simplon BP" charset="0"/>
                </a:rPr>
                <a:t>SAC</a:t>
              </a:r>
            </a:p>
          </p:txBody>
        </p:sp>
      </p:grpSp>
      <p:grpSp>
        <p:nvGrpSpPr>
          <p:cNvPr id="19" name="Grupo 18"/>
          <p:cNvGrpSpPr/>
          <p:nvPr/>
        </p:nvGrpSpPr>
        <p:grpSpPr>
          <a:xfrm>
            <a:off x="3524171" y="2471205"/>
            <a:ext cx="1038370" cy="1038370"/>
            <a:chOff x="5455371" y="2841552"/>
            <a:chExt cx="1038370" cy="1038370"/>
          </a:xfrm>
        </p:grpSpPr>
        <p:pic>
          <p:nvPicPr>
            <p:cNvPr id="20" name="Imagem 19"/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455371" y="2841552"/>
              <a:ext cx="1038370" cy="1038370"/>
            </a:xfrm>
            <a:prstGeom prst="rect">
              <a:avLst/>
            </a:prstGeom>
          </p:spPr>
        </p:pic>
        <p:sp>
          <p:nvSpPr>
            <p:cNvPr id="21" name="CaixaDeTexto 20"/>
            <p:cNvSpPr txBox="1"/>
            <p:nvPr/>
          </p:nvSpPr>
          <p:spPr>
            <a:xfrm>
              <a:off x="5771043" y="3282925"/>
              <a:ext cx="404470" cy="288147"/>
            </a:xfrm>
            <a:prstGeom prst="rect">
              <a:avLst/>
            </a:prstGeom>
            <a:noFill/>
          </p:spPr>
          <p:txBody>
            <a:bodyPr wrap="square" lIns="36000" tIns="36000" rIns="36000" bIns="36000" rtlCol="0">
              <a:spAutoFit/>
            </a:bodyPr>
            <a:lstStyle/>
            <a:p>
              <a:r>
                <a:rPr lang="pt-BR" sz="1400" dirty="0" err="1" smtClean="0">
                  <a:solidFill>
                    <a:srgbClr val="000000"/>
                  </a:solidFill>
                  <a:latin typeface="Simplon BP" charset="0"/>
                  <a:ea typeface="Simplon BP" charset="0"/>
                  <a:cs typeface="Simplon BP" charset="0"/>
                </a:rPr>
                <a:t>MOi</a:t>
              </a:r>
              <a:endParaRPr lang="pt-BR" sz="1400" dirty="0" smtClean="0">
                <a:solidFill>
                  <a:srgbClr val="000000"/>
                </a:solidFill>
                <a:latin typeface="Simplon BP" charset="0"/>
                <a:ea typeface="Simplon BP" charset="0"/>
                <a:cs typeface="Simplon BP" charset="0"/>
              </a:endParaRPr>
            </a:p>
          </p:txBody>
        </p:sp>
      </p:grpSp>
      <p:grpSp>
        <p:nvGrpSpPr>
          <p:cNvPr id="16" name="Grupo 15"/>
          <p:cNvGrpSpPr/>
          <p:nvPr/>
        </p:nvGrpSpPr>
        <p:grpSpPr>
          <a:xfrm>
            <a:off x="6290680" y="1737488"/>
            <a:ext cx="1038370" cy="1038370"/>
            <a:chOff x="5455371" y="2841552"/>
            <a:chExt cx="1038370" cy="1038370"/>
          </a:xfrm>
        </p:grpSpPr>
        <p:pic>
          <p:nvPicPr>
            <p:cNvPr id="17" name="Imagem 16"/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455371" y="2841552"/>
              <a:ext cx="1038370" cy="1038370"/>
            </a:xfrm>
            <a:prstGeom prst="rect">
              <a:avLst/>
            </a:prstGeom>
          </p:spPr>
        </p:pic>
        <p:sp>
          <p:nvSpPr>
            <p:cNvPr id="18" name="CaixaDeTexto 17"/>
            <p:cNvSpPr txBox="1"/>
            <p:nvPr/>
          </p:nvSpPr>
          <p:spPr>
            <a:xfrm>
              <a:off x="5771043" y="3282925"/>
              <a:ext cx="404470" cy="288147"/>
            </a:xfrm>
            <a:prstGeom prst="rect">
              <a:avLst/>
            </a:prstGeom>
            <a:noFill/>
          </p:spPr>
          <p:txBody>
            <a:bodyPr wrap="square" lIns="36000" tIns="36000" rIns="36000" bIns="36000" rtlCol="0">
              <a:spAutoFit/>
            </a:bodyPr>
            <a:lstStyle/>
            <a:p>
              <a:r>
                <a:rPr lang="pt-BR" sz="1400" dirty="0" err="1" smtClean="0">
                  <a:solidFill>
                    <a:srgbClr val="000000"/>
                  </a:solidFill>
                  <a:latin typeface="Simplon BP" charset="0"/>
                  <a:ea typeface="Simplon BP" charset="0"/>
                  <a:cs typeface="Simplon BP" charset="0"/>
                </a:rPr>
                <a:t>MOi</a:t>
              </a:r>
              <a:endParaRPr lang="pt-BR" sz="1400" dirty="0" smtClean="0">
                <a:solidFill>
                  <a:srgbClr val="000000"/>
                </a:solidFill>
                <a:latin typeface="Simplon BP" charset="0"/>
                <a:ea typeface="Simplon BP" charset="0"/>
                <a:cs typeface="Simplon BP" charset="0"/>
              </a:endParaRPr>
            </a:p>
          </p:txBody>
        </p:sp>
      </p:grpSp>
      <p:grpSp>
        <p:nvGrpSpPr>
          <p:cNvPr id="22" name="Grupo 21"/>
          <p:cNvGrpSpPr/>
          <p:nvPr/>
        </p:nvGrpSpPr>
        <p:grpSpPr>
          <a:xfrm>
            <a:off x="6470488" y="3270921"/>
            <a:ext cx="1038370" cy="1038370"/>
            <a:chOff x="5455371" y="2841552"/>
            <a:chExt cx="1038370" cy="1038370"/>
          </a:xfrm>
        </p:grpSpPr>
        <p:pic>
          <p:nvPicPr>
            <p:cNvPr id="23" name="Imagem 22"/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455371" y="2841552"/>
              <a:ext cx="1038370" cy="1038370"/>
            </a:xfrm>
            <a:prstGeom prst="rect">
              <a:avLst/>
            </a:prstGeom>
          </p:spPr>
        </p:pic>
        <p:sp>
          <p:nvSpPr>
            <p:cNvPr id="24" name="CaixaDeTexto 23"/>
            <p:cNvSpPr txBox="1"/>
            <p:nvPr/>
          </p:nvSpPr>
          <p:spPr>
            <a:xfrm>
              <a:off x="5771043" y="3282925"/>
              <a:ext cx="404470" cy="288147"/>
            </a:xfrm>
            <a:prstGeom prst="rect">
              <a:avLst/>
            </a:prstGeom>
            <a:noFill/>
          </p:spPr>
          <p:txBody>
            <a:bodyPr wrap="square" lIns="36000" tIns="36000" rIns="36000" bIns="36000" rtlCol="0">
              <a:spAutoFit/>
            </a:bodyPr>
            <a:lstStyle/>
            <a:p>
              <a:r>
                <a:rPr lang="pt-BR" sz="1400" dirty="0" err="1" smtClean="0">
                  <a:solidFill>
                    <a:srgbClr val="000000"/>
                  </a:solidFill>
                  <a:latin typeface="Simplon BP" charset="0"/>
                  <a:ea typeface="Simplon BP" charset="0"/>
                  <a:cs typeface="Simplon BP" charset="0"/>
                </a:rPr>
                <a:t>MOi</a:t>
              </a:r>
              <a:endParaRPr lang="pt-BR" sz="1400" dirty="0" smtClean="0">
                <a:solidFill>
                  <a:srgbClr val="000000"/>
                </a:solidFill>
                <a:latin typeface="Simplon BP" charset="0"/>
                <a:ea typeface="Simplon BP" charset="0"/>
                <a:cs typeface="Simplon BP" charset="0"/>
              </a:endParaRPr>
            </a:p>
          </p:txBody>
        </p:sp>
      </p:grpSp>
      <p:grpSp>
        <p:nvGrpSpPr>
          <p:cNvPr id="25" name="Grupo 24"/>
          <p:cNvGrpSpPr/>
          <p:nvPr/>
        </p:nvGrpSpPr>
        <p:grpSpPr>
          <a:xfrm>
            <a:off x="10530153" y="3270921"/>
            <a:ext cx="1038370" cy="1038370"/>
            <a:chOff x="5455371" y="2841552"/>
            <a:chExt cx="1038370" cy="1038370"/>
          </a:xfrm>
        </p:grpSpPr>
        <p:pic>
          <p:nvPicPr>
            <p:cNvPr id="26" name="Imagem 25"/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455371" y="2841552"/>
              <a:ext cx="1038370" cy="1038370"/>
            </a:xfrm>
            <a:prstGeom prst="rect">
              <a:avLst/>
            </a:prstGeom>
          </p:spPr>
        </p:pic>
        <p:sp>
          <p:nvSpPr>
            <p:cNvPr id="27" name="CaixaDeTexto 26"/>
            <p:cNvSpPr txBox="1"/>
            <p:nvPr/>
          </p:nvSpPr>
          <p:spPr>
            <a:xfrm>
              <a:off x="5656527" y="3233968"/>
              <a:ext cx="622852" cy="503590"/>
            </a:xfrm>
            <a:prstGeom prst="rect">
              <a:avLst/>
            </a:prstGeom>
            <a:noFill/>
          </p:spPr>
          <p:txBody>
            <a:bodyPr wrap="square" lIns="36000" tIns="36000" rIns="36000" bIns="36000" rtlCol="0">
              <a:spAutoFit/>
            </a:bodyPr>
            <a:lstStyle/>
            <a:p>
              <a:pPr algn="ctr"/>
              <a:r>
                <a:rPr lang="pt-BR" sz="1400" dirty="0" smtClean="0">
                  <a:solidFill>
                    <a:srgbClr val="000000"/>
                  </a:solidFill>
                  <a:latin typeface="Simplon BP" charset="0"/>
                  <a:ea typeface="Simplon BP" charset="0"/>
                  <a:cs typeface="Simplon BP" charset="0"/>
                </a:rPr>
                <a:t>CDI</a:t>
              </a:r>
            </a:p>
            <a:p>
              <a:pPr algn="ctr"/>
              <a:r>
                <a:rPr lang="pt-BR" sz="1400" dirty="0" smtClean="0">
                  <a:solidFill>
                    <a:srgbClr val="000000"/>
                  </a:solidFill>
                  <a:latin typeface="Simplon BP" charset="0"/>
                  <a:ea typeface="Simplon BP" charset="0"/>
                  <a:cs typeface="Simplon BP" charset="0"/>
                </a:rPr>
                <a:t>SAC</a:t>
              </a:r>
            </a:p>
          </p:txBody>
        </p:sp>
      </p:grpSp>
      <p:grpSp>
        <p:nvGrpSpPr>
          <p:cNvPr id="28" name="Grupo 27"/>
          <p:cNvGrpSpPr/>
          <p:nvPr/>
        </p:nvGrpSpPr>
        <p:grpSpPr>
          <a:xfrm>
            <a:off x="3622473" y="5412597"/>
            <a:ext cx="625911" cy="767340"/>
            <a:chOff x="5455371" y="2841552"/>
            <a:chExt cx="1038370" cy="1038370"/>
          </a:xfrm>
        </p:grpSpPr>
        <p:pic>
          <p:nvPicPr>
            <p:cNvPr id="29" name="Imagem 28"/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455371" y="2841552"/>
              <a:ext cx="1038370" cy="1038370"/>
            </a:xfrm>
            <a:prstGeom prst="rect">
              <a:avLst/>
            </a:prstGeom>
          </p:spPr>
        </p:pic>
        <p:sp>
          <p:nvSpPr>
            <p:cNvPr id="30" name="CaixaDeTexto 29"/>
            <p:cNvSpPr txBox="1"/>
            <p:nvPr/>
          </p:nvSpPr>
          <p:spPr>
            <a:xfrm>
              <a:off x="5732562" y="3233967"/>
              <a:ext cx="483984" cy="306625"/>
            </a:xfrm>
            <a:prstGeom prst="rect">
              <a:avLst/>
            </a:prstGeom>
            <a:noFill/>
          </p:spPr>
          <p:txBody>
            <a:bodyPr wrap="square" lIns="36000" tIns="36000" rIns="36000" bIns="36000" rtlCol="0">
              <a:spAutoFit/>
            </a:bodyPr>
            <a:lstStyle/>
            <a:p>
              <a:pPr algn="ctr"/>
              <a:r>
                <a:rPr lang="pt-BR" sz="1000" dirty="0" smtClean="0">
                  <a:solidFill>
                    <a:srgbClr val="000000"/>
                  </a:solidFill>
                  <a:latin typeface="Simplon BP" charset="0"/>
                  <a:ea typeface="Simplon BP" charset="0"/>
                  <a:cs typeface="Simplon BP" charset="0"/>
                </a:rPr>
                <a:t>CDI</a:t>
              </a:r>
            </a:p>
          </p:txBody>
        </p:sp>
      </p:grpSp>
      <p:grpSp>
        <p:nvGrpSpPr>
          <p:cNvPr id="31" name="Grupo 30"/>
          <p:cNvGrpSpPr/>
          <p:nvPr/>
        </p:nvGrpSpPr>
        <p:grpSpPr>
          <a:xfrm>
            <a:off x="2066601" y="5412597"/>
            <a:ext cx="625911" cy="767340"/>
            <a:chOff x="5455371" y="2841552"/>
            <a:chExt cx="1038370" cy="1038370"/>
          </a:xfrm>
        </p:grpSpPr>
        <p:pic>
          <p:nvPicPr>
            <p:cNvPr id="32" name="Imagem 31"/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455371" y="2841552"/>
              <a:ext cx="1038370" cy="1038370"/>
            </a:xfrm>
            <a:prstGeom prst="rect">
              <a:avLst/>
            </a:prstGeom>
          </p:spPr>
        </p:pic>
        <p:sp>
          <p:nvSpPr>
            <p:cNvPr id="33" name="CaixaDeTexto 32"/>
            <p:cNvSpPr txBox="1"/>
            <p:nvPr/>
          </p:nvSpPr>
          <p:spPr>
            <a:xfrm>
              <a:off x="5561778" y="3252162"/>
              <a:ext cx="761175" cy="306625"/>
            </a:xfrm>
            <a:prstGeom prst="rect">
              <a:avLst/>
            </a:prstGeom>
            <a:noFill/>
          </p:spPr>
          <p:txBody>
            <a:bodyPr wrap="square" lIns="36000" tIns="36000" rIns="36000" bIns="36000" rtlCol="0">
              <a:spAutoFit/>
            </a:bodyPr>
            <a:lstStyle/>
            <a:p>
              <a:pPr algn="ctr"/>
              <a:r>
                <a:rPr lang="pt-BR" sz="1000" dirty="0" smtClean="0">
                  <a:solidFill>
                    <a:srgbClr val="000000"/>
                  </a:solidFill>
                  <a:latin typeface="Simplon BP" charset="0"/>
                  <a:ea typeface="Simplon BP" charset="0"/>
                  <a:cs typeface="Simplon BP" charset="0"/>
                </a:rPr>
                <a:t>SAC</a:t>
              </a:r>
            </a:p>
          </p:txBody>
        </p:sp>
      </p:grpSp>
      <p:grpSp>
        <p:nvGrpSpPr>
          <p:cNvPr id="34" name="Grupo 33"/>
          <p:cNvGrpSpPr/>
          <p:nvPr/>
        </p:nvGrpSpPr>
        <p:grpSpPr>
          <a:xfrm>
            <a:off x="715448" y="5412597"/>
            <a:ext cx="625911" cy="767340"/>
            <a:chOff x="5455371" y="2841552"/>
            <a:chExt cx="1038370" cy="1038370"/>
          </a:xfrm>
        </p:grpSpPr>
        <p:pic>
          <p:nvPicPr>
            <p:cNvPr id="35" name="Imagem 34"/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455371" y="2841552"/>
              <a:ext cx="1038370" cy="1038370"/>
            </a:xfrm>
            <a:prstGeom prst="rect">
              <a:avLst/>
            </a:prstGeom>
          </p:spPr>
        </p:pic>
        <p:sp>
          <p:nvSpPr>
            <p:cNvPr id="36" name="CaixaDeTexto 35"/>
            <p:cNvSpPr txBox="1"/>
            <p:nvPr/>
          </p:nvSpPr>
          <p:spPr>
            <a:xfrm>
              <a:off x="5708363" y="3233967"/>
              <a:ext cx="532383" cy="514868"/>
            </a:xfrm>
            <a:prstGeom prst="rect">
              <a:avLst/>
            </a:prstGeom>
            <a:noFill/>
          </p:spPr>
          <p:txBody>
            <a:bodyPr wrap="square" lIns="36000" tIns="36000" rIns="36000" bIns="36000" rtlCol="0">
              <a:spAutoFit/>
            </a:bodyPr>
            <a:lstStyle/>
            <a:p>
              <a:pPr algn="ctr"/>
              <a:r>
                <a:rPr lang="pt-BR" sz="1000" dirty="0" err="1" smtClean="0">
                  <a:solidFill>
                    <a:srgbClr val="000000"/>
                  </a:solidFill>
                  <a:latin typeface="Simplon BP" charset="0"/>
                  <a:ea typeface="Simplon BP" charset="0"/>
                  <a:cs typeface="Simplon BP" charset="0"/>
                </a:rPr>
                <a:t>MOi</a:t>
              </a:r>
              <a:endParaRPr lang="pt-BR" sz="1000" dirty="0" smtClean="0">
                <a:solidFill>
                  <a:srgbClr val="000000"/>
                </a:solidFill>
                <a:latin typeface="Simplon BP" charset="0"/>
                <a:ea typeface="Simplon BP" charset="0"/>
                <a:cs typeface="Simplon BP" charset="0"/>
              </a:endParaRPr>
            </a:p>
          </p:txBody>
        </p:sp>
      </p:grpSp>
      <p:sp>
        <p:nvSpPr>
          <p:cNvPr id="37" name="CaixaDeTexto 36"/>
          <p:cNvSpPr txBox="1"/>
          <p:nvPr/>
        </p:nvSpPr>
        <p:spPr>
          <a:xfrm>
            <a:off x="448339" y="4955444"/>
            <a:ext cx="4965171" cy="288147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pt-BR" sz="1400" b="1" dirty="0" smtClean="0">
                <a:solidFill>
                  <a:srgbClr val="000000"/>
                </a:solidFill>
                <a:latin typeface="Simplon BP" charset="0"/>
                <a:ea typeface="Simplon BP" charset="0"/>
                <a:cs typeface="Simplon BP" charset="0"/>
              </a:rPr>
              <a:t>EXTRAÇÕES</a:t>
            </a:r>
          </a:p>
        </p:txBody>
      </p:sp>
      <p:sp>
        <p:nvSpPr>
          <p:cNvPr id="38" name="CaixaDeTexto 37"/>
          <p:cNvSpPr txBox="1"/>
          <p:nvPr/>
        </p:nvSpPr>
        <p:spPr>
          <a:xfrm>
            <a:off x="1335018" y="5794947"/>
            <a:ext cx="821603" cy="288147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pt-BR" sz="1400" dirty="0" smtClean="0">
                <a:solidFill>
                  <a:srgbClr val="000000"/>
                </a:solidFill>
                <a:latin typeface="Simplon BP" charset="0"/>
                <a:ea typeface="Simplon BP" charset="0"/>
                <a:cs typeface="Simplon BP" charset="0"/>
              </a:rPr>
              <a:t>13/11</a:t>
            </a:r>
          </a:p>
        </p:txBody>
      </p:sp>
      <p:sp>
        <p:nvSpPr>
          <p:cNvPr id="39" name="CaixaDeTexto 38"/>
          <p:cNvSpPr txBox="1"/>
          <p:nvPr/>
        </p:nvSpPr>
        <p:spPr>
          <a:xfrm>
            <a:off x="2686170" y="5794947"/>
            <a:ext cx="821603" cy="288147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pt-BR" sz="1400" dirty="0" smtClean="0">
                <a:solidFill>
                  <a:srgbClr val="000000"/>
                </a:solidFill>
                <a:latin typeface="Simplon BP" charset="0"/>
                <a:ea typeface="Simplon BP" charset="0"/>
                <a:cs typeface="Simplon BP" charset="0"/>
              </a:rPr>
              <a:t>16/11</a:t>
            </a:r>
          </a:p>
        </p:txBody>
      </p:sp>
      <p:sp>
        <p:nvSpPr>
          <p:cNvPr id="40" name="CaixaDeTexto 39"/>
          <p:cNvSpPr txBox="1"/>
          <p:nvPr/>
        </p:nvSpPr>
        <p:spPr>
          <a:xfrm>
            <a:off x="4242041" y="5794947"/>
            <a:ext cx="821603" cy="288147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pt-BR" sz="1400" dirty="0" smtClean="0">
                <a:solidFill>
                  <a:srgbClr val="000000"/>
                </a:solidFill>
                <a:latin typeface="Simplon BP" charset="0"/>
                <a:ea typeface="Simplon BP" charset="0"/>
                <a:cs typeface="Simplon BP" charset="0"/>
              </a:rPr>
              <a:t>18/10</a:t>
            </a:r>
          </a:p>
        </p:txBody>
      </p:sp>
    </p:spTree>
    <p:extLst>
      <p:ext uri="{BB962C8B-B14F-4D97-AF65-F5344CB8AC3E}">
        <p14:creationId xmlns:p14="http://schemas.microsoft.com/office/powerpoint/2010/main" val="37749380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ço Reservado para Conteúdo 2"/>
          <p:cNvSpPr>
            <a:spLocks noGrp="1"/>
          </p:cNvSpPr>
          <p:nvPr>
            <p:ph sz="quarter" idx="14"/>
          </p:nvPr>
        </p:nvSpPr>
        <p:spPr>
          <a:xfrm>
            <a:off x="611977" y="2325645"/>
            <a:ext cx="11142701" cy="3481676"/>
          </a:xfrm>
        </p:spPr>
        <p:txBody>
          <a:bodyPr vert="horz" lIns="0" tIns="0" rIns="0" bIns="0" rtlCol="0" anchor="t">
            <a:noAutofit/>
          </a:bodyPr>
          <a:lstStyle/>
          <a:p>
            <a:pPr algn="just">
              <a:spcBef>
                <a:spcPts val="2352"/>
              </a:spcBef>
              <a:spcAft>
                <a:spcPts val="0"/>
              </a:spcAft>
            </a:pPr>
            <a:r>
              <a:rPr lang="pt-BR" sz="2400" dirty="0" smtClean="0">
                <a:solidFill>
                  <a:schemeClr val="tx1"/>
                </a:solidFill>
                <a:latin typeface="Simplon Oi"/>
                <a:cs typeface="Simplon Oi Headline"/>
              </a:rPr>
              <a:t>Entender </a:t>
            </a:r>
            <a:r>
              <a:rPr lang="pt-BR" sz="2400" dirty="0">
                <a:solidFill>
                  <a:schemeClr val="tx1"/>
                </a:solidFill>
                <a:latin typeface="Simplon Oi"/>
                <a:cs typeface="Simplon Oi Headline"/>
              </a:rPr>
              <a:t>fluxo da informação e </a:t>
            </a:r>
            <a:r>
              <a:rPr lang="pt-BR" sz="2400" dirty="0" smtClean="0">
                <a:solidFill>
                  <a:schemeClr val="tx1"/>
                </a:solidFill>
                <a:latin typeface="Simplon Oi"/>
                <a:cs typeface="Simplon Oi Headline"/>
              </a:rPr>
              <a:t>potenciais </a:t>
            </a:r>
            <a:r>
              <a:rPr lang="pt-BR" sz="2400" dirty="0">
                <a:solidFill>
                  <a:schemeClr val="tx1"/>
                </a:solidFill>
                <a:latin typeface="Simplon Oi"/>
                <a:cs typeface="Simplon Oi Headline"/>
              </a:rPr>
              <a:t>ofensores no processo de replicação/atualização</a:t>
            </a:r>
          </a:p>
          <a:p>
            <a:pPr algn="just">
              <a:spcBef>
                <a:spcPts val="2352"/>
              </a:spcBef>
              <a:spcAft>
                <a:spcPts val="0"/>
              </a:spcAft>
            </a:pPr>
            <a:r>
              <a:rPr lang="pt-BR" sz="2400" dirty="0">
                <a:solidFill>
                  <a:schemeClr val="tx1"/>
                </a:solidFill>
                <a:latin typeface="Simplon Oi"/>
                <a:cs typeface="Simplon Oi Headline"/>
              </a:rPr>
              <a:t>Identificar e confirmar causa-raiz dos casos mais sérios de divergências (ex: nome de planos, status e posse de terminais)</a:t>
            </a:r>
          </a:p>
          <a:p>
            <a:pPr algn="just">
              <a:spcBef>
                <a:spcPts val="2352"/>
              </a:spcBef>
              <a:spcAft>
                <a:spcPts val="0"/>
              </a:spcAft>
            </a:pPr>
            <a:r>
              <a:rPr lang="pt-BR" sz="2400" dirty="0" smtClean="0">
                <a:solidFill>
                  <a:schemeClr val="tx1"/>
                </a:solidFill>
                <a:latin typeface="Simplon Oi"/>
                <a:cs typeface="Simplon Oi Headline"/>
              </a:rPr>
              <a:t>Desenvolver processos/scripts </a:t>
            </a:r>
            <a:r>
              <a:rPr lang="pt-BR" sz="2400" dirty="0">
                <a:solidFill>
                  <a:schemeClr val="tx1"/>
                </a:solidFill>
                <a:latin typeface="Simplon Oi"/>
                <a:cs typeface="Simplon Oi Headline"/>
              </a:rPr>
              <a:t>de correção </a:t>
            </a:r>
            <a:r>
              <a:rPr lang="pt-BR" sz="2400" dirty="0" smtClean="0">
                <a:solidFill>
                  <a:schemeClr val="tx1"/>
                </a:solidFill>
                <a:latin typeface="Simplon Oi"/>
                <a:cs typeface="Simplon Oi Headline"/>
              </a:rPr>
              <a:t>da </a:t>
            </a:r>
            <a:r>
              <a:rPr lang="pt-BR" sz="2400" dirty="0">
                <a:solidFill>
                  <a:schemeClr val="tx1"/>
                </a:solidFill>
                <a:latin typeface="Simplon Oi"/>
                <a:cs typeface="Simplon Oi Headline"/>
              </a:rPr>
              <a:t>Minha </a:t>
            </a:r>
            <a:r>
              <a:rPr lang="pt-BR" sz="2400" dirty="0" smtClean="0">
                <a:solidFill>
                  <a:schemeClr val="tx1"/>
                </a:solidFill>
                <a:latin typeface="Simplon Oi"/>
                <a:cs typeface="Simplon Oi Headline"/>
              </a:rPr>
              <a:t>Oi, </a:t>
            </a:r>
            <a:r>
              <a:rPr lang="pt-BR" sz="2400" dirty="0">
                <a:solidFill>
                  <a:schemeClr val="tx1"/>
                </a:solidFill>
                <a:latin typeface="Simplon Oi"/>
                <a:cs typeface="Simplon Oi Headline"/>
              </a:rPr>
              <a:t>bem como, implementar correções sistêmicas </a:t>
            </a:r>
            <a:r>
              <a:rPr lang="pt-BR" sz="2400" dirty="0" smtClean="0">
                <a:solidFill>
                  <a:schemeClr val="tx1"/>
                </a:solidFill>
                <a:latin typeface="Simplon Oi"/>
                <a:cs typeface="Simplon Oi Headline"/>
              </a:rPr>
              <a:t>para. </a:t>
            </a:r>
            <a:r>
              <a:rPr lang="pt-BR" sz="2400" dirty="0">
                <a:solidFill>
                  <a:schemeClr val="tx1"/>
                </a:solidFill>
                <a:latin typeface="Simplon Oi"/>
                <a:cs typeface="Simplon Oi Headline"/>
              </a:rPr>
              <a:t>eliminação das principais </a:t>
            </a:r>
            <a:r>
              <a:rPr lang="pt-BR" sz="2400" dirty="0" smtClean="0">
                <a:solidFill>
                  <a:schemeClr val="tx1"/>
                </a:solidFill>
                <a:latin typeface="Simplon Oi"/>
                <a:cs typeface="Simplon Oi Headline"/>
              </a:rPr>
              <a:t>discrepâncias</a:t>
            </a:r>
            <a:endParaRPr lang="pt-BR" sz="2400" dirty="0">
              <a:solidFill>
                <a:schemeClr val="tx1"/>
              </a:solidFill>
              <a:latin typeface="Simplon Oi"/>
              <a:cs typeface="Simplon Oi Headline"/>
            </a:endParaRPr>
          </a:p>
        </p:txBody>
      </p:sp>
      <p:sp>
        <p:nvSpPr>
          <p:cNvPr id="22" name="Title 1"/>
          <p:cNvSpPr>
            <a:spLocks noGrp="1"/>
          </p:cNvSpPr>
          <p:nvPr>
            <p:ph type="title"/>
          </p:nvPr>
        </p:nvSpPr>
        <p:spPr>
          <a:xfrm>
            <a:off x="328681" y="40550"/>
            <a:ext cx="11008457" cy="931462"/>
          </a:xfrm>
        </p:spPr>
        <p:txBody>
          <a:bodyPr/>
          <a:lstStyle/>
          <a:p>
            <a:pPr>
              <a:spcBef>
                <a:spcPts val="0"/>
              </a:spcBef>
            </a:pPr>
            <a:r>
              <a:rPr lang="pt-BR" sz="3700" dirty="0" smtClean="0"/>
              <a:t>BATIMENTOS - Objetivo </a:t>
            </a:r>
            <a:r>
              <a:rPr lang="pt-BR" sz="3700" dirty="0"/>
              <a:t>&amp; desafios</a:t>
            </a:r>
            <a:endParaRPr lang="en-US" sz="3700" dirty="0"/>
          </a:p>
        </p:txBody>
      </p:sp>
      <p:sp>
        <p:nvSpPr>
          <p:cNvPr id="2" name="Retângulo 1"/>
          <p:cNvSpPr/>
          <p:nvPr/>
        </p:nvSpPr>
        <p:spPr>
          <a:xfrm>
            <a:off x="261559" y="972012"/>
            <a:ext cx="11142700" cy="982425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119485" tIns="59742" rIns="119485" bIns="59742">
            <a:spAutoFit/>
          </a:bodyPr>
          <a:lstStyle/>
          <a:p>
            <a:pPr algn="ctr">
              <a:spcBef>
                <a:spcPts val="4704"/>
              </a:spcBef>
            </a:pPr>
            <a:r>
              <a:rPr lang="pt-BR" sz="2800" dirty="0">
                <a:solidFill>
                  <a:srgbClr val="000000"/>
                </a:solidFill>
                <a:latin typeface="Simplon Oi"/>
                <a:cs typeface="Simplon Oi Headline"/>
              </a:rPr>
              <a:t>Reduzir discrepâncias entre </a:t>
            </a:r>
            <a:r>
              <a:rPr lang="pt-BR" sz="2800" dirty="0" smtClean="0">
                <a:solidFill>
                  <a:srgbClr val="000000"/>
                </a:solidFill>
                <a:latin typeface="Simplon Oi"/>
                <a:cs typeface="Simplon Oi Headline"/>
              </a:rPr>
              <a:t>Minha Oi </a:t>
            </a:r>
            <a:r>
              <a:rPr lang="pt-BR" sz="2800" dirty="0">
                <a:solidFill>
                  <a:srgbClr val="000000"/>
                </a:solidFill>
                <a:latin typeface="Simplon Oi"/>
                <a:cs typeface="Simplon Oi Headline"/>
              </a:rPr>
              <a:t>&amp;</a:t>
            </a:r>
            <a:r>
              <a:rPr lang="pt-BR" sz="2800" dirty="0" smtClean="0">
                <a:solidFill>
                  <a:srgbClr val="000000"/>
                </a:solidFill>
                <a:latin typeface="Simplon Oi"/>
                <a:cs typeface="Simplon Oi Headline"/>
              </a:rPr>
              <a:t> </a:t>
            </a:r>
            <a:r>
              <a:rPr lang="pt-BR" sz="2800" dirty="0" err="1" smtClean="0">
                <a:solidFill>
                  <a:srgbClr val="000000"/>
                </a:solidFill>
                <a:latin typeface="Simplon Oi"/>
                <a:cs typeface="Simplon Oi Headline"/>
              </a:rPr>
              <a:t>CRMs</a:t>
            </a:r>
            <a:r>
              <a:rPr lang="pt-BR" sz="2800" dirty="0" smtClean="0">
                <a:solidFill>
                  <a:srgbClr val="000000"/>
                </a:solidFill>
                <a:latin typeface="Simplon Oi"/>
                <a:cs typeface="Simplon Oi Headline"/>
              </a:rPr>
              <a:t>, diminuindo número de reclamações de clientes no uso do </a:t>
            </a:r>
            <a:r>
              <a:rPr lang="pt-BR" sz="2800" dirty="0" err="1" smtClean="0">
                <a:solidFill>
                  <a:srgbClr val="000000"/>
                </a:solidFill>
                <a:latin typeface="Simplon Oi"/>
                <a:cs typeface="Simplon Oi Headline"/>
              </a:rPr>
              <a:t>App</a:t>
            </a:r>
            <a:r>
              <a:rPr lang="pt-BR" sz="2800" dirty="0" smtClean="0">
                <a:solidFill>
                  <a:srgbClr val="000000"/>
                </a:solidFill>
                <a:latin typeface="Simplon Oi"/>
                <a:cs typeface="Simplon Oi Headline"/>
              </a:rPr>
              <a:t> e Portal Minha Oi  </a:t>
            </a:r>
            <a:endParaRPr lang="pt-BR" sz="2800" dirty="0">
              <a:solidFill>
                <a:srgbClr val="000000"/>
              </a:solidFill>
              <a:latin typeface="Simplon Oi"/>
              <a:cs typeface="Simplon Oi Headline"/>
            </a:endParaRPr>
          </a:p>
        </p:txBody>
      </p:sp>
    </p:spTree>
    <p:extLst>
      <p:ext uri="{BB962C8B-B14F-4D97-AF65-F5344CB8AC3E}">
        <p14:creationId xmlns:p14="http://schemas.microsoft.com/office/powerpoint/2010/main" val="29799092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584272" y="283591"/>
            <a:ext cx="10725160" cy="405646"/>
          </a:xfrm>
        </p:spPr>
        <p:txBody>
          <a:bodyPr vert="horz" lIns="0" tIns="0" rIns="0" bIns="0" rtlCol="0" anchor="t">
            <a:noAutofit/>
          </a:bodyPr>
          <a:lstStyle/>
          <a:p>
            <a:r>
              <a:rPr lang="pt-BR" sz="2800" dirty="0" smtClean="0">
                <a:solidFill>
                  <a:srgbClr val="A02BFF"/>
                </a:solidFill>
                <a:latin typeface="Simplon Oi Headline" pitchFamily="2" charset="0"/>
              </a:rPr>
              <a:t>Batimento portal oi – </a:t>
            </a:r>
            <a:r>
              <a:rPr lang="pt-BR" sz="2800" u="sng" dirty="0" smtClean="0">
                <a:solidFill>
                  <a:srgbClr val="A02BFF"/>
                </a:solidFill>
                <a:latin typeface="Simplon Oi Headline" pitchFamily="2" charset="0"/>
              </a:rPr>
              <a:t>solução manual</a:t>
            </a:r>
            <a:endParaRPr lang="pt-BR" sz="2800" u="sng" dirty="0">
              <a:solidFill>
                <a:srgbClr val="A02BFF"/>
              </a:solidFill>
            </a:endParaRPr>
          </a:p>
        </p:txBody>
      </p:sp>
      <p:sp>
        <p:nvSpPr>
          <p:cNvPr id="55" name="Footer Placeholder 1"/>
          <p:cNvSpPr txBox="1">
            <a:spLocks/>
          </p:cNvSpPr>
          <p:nvPr/>
        </p:nvSpPr>
        <p:spPr>
          <a:xfrm>
            <a:off x="475088" y="33411"/>
            <a:ext cx="10176095" cy="282264"/>
          </a:xfrm>
          <a:prstGeom prst="rect">
            <a:avLst/>
          </a:prstGeom>
        </p:spPr>
        <p:txBody>
          <a:bodyPr vert="horz" lIns="119408" tIns="59702" rIns="119408" bIns="59702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2"/>
                </a:solidFill>
                <a:latin typeface="Simplon BP Regular"/>
                <a:ea typeface="+mn-ea"/>
                <a:cs typeface="Simplon BP Regular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pt-BR" sz="1600" b="1" dirty="0" smtClean="0">
                <a:solidFill>
                  <a:srgbClr val="4D4E50"/>
                </a:solidFill>
              </a:rPr>
              <a:t>COORDENAÇÃO OPERACIONAL DIGITAL</a:t>
            </a:r>
            <a:endParaRPr lang="pt-BR" sz="1600" b="1" dirty="0">
              <a:solidFill>
                <a:srgbClr val="4D4E50"/>
              </a:solidFill>
            </a:endParaRPr>
          </a:p>
        </p:txBody>
      </p:sp>
      <p:grpSp>
        <p:nvGrpSpPr>
          <p:cNvPr id="9" name="Grupo 8"/>
          <p:cNvGrpSpPr/>
          <p:nvPr/>
        </p:nvGrpSpPr>
        <p:grpSpPr>
          <a:xfrm>
            <a:off x="253341" y="873068"/>
            <a:ext cx="11553177" cy="2603739"/>
            <a:chOff x="253341" y="886716"/>
            <a:chExt cx="11553177" cy="2125961"/>
          </a:xfrm>
        </p:grpSpPr>
        <p:sp>
          <p:nvSpPr>
            <p:cNvPr id="5" name="Forma livre 4"/>
            <p:cNvSpPr/>
            <p:nvPr/>
          </p:nvSpPr>
          <p:spPr>
            <a:xfrm>
              <a:off x="2714478" y="939417"/>
              <a:ext cx="9092040" cy="2039493"/>
            </a:xfrm>
            <a:custGeom>
              <a:avLst/>
              <a:gdLst>
                <a:gd name="connsiteX0" fmla="*/ 343078 w 2058426"/>
                <a:gd name="connsiteY0" fmla="*/ 0 h 8728969"/>
                <a:gd name="connsiteX1" fmla="*/ 1715348 w 2058426"/>
                <a:gd name="connsiteY1" fmla="*/ 0 h 8728969"/>
                <a:gd name="connsiteX2" fmla="*/ 2058426 w 2058426"/>
                <a:gd name="connsiteY2" fmla="*/ 343078 h 8728969"/>
                <a:gd name="connsiteX3" fmla="*/ 2058426 w 2058426"/>
                <a:gd name="connsiteY3" fmla="*/ 8728969 h 8728969"/>
                <a:gd name="connsiteX4" fmla="*/ 2058426 w 2058426"/>
                <a:gd name="connsiteY4" fmla="*/ 8728969 h 8728969"/>
                <a:gd name="connsiteX5" fmla="*/ 0 w 2058426"/>
                <a:gd name="connsiteY5" fmla="*/ 8728969 h 8728969"/>
                <a:gd name="connsiteX6" fmla="*/ 0 w 2058426"/>
                <a:gd name="connsiteY6" fmla="*/ 8728969 h 8728969"/>
                <a:gd name="connsiteX7" fmla="*/ 0 w 2058426"/>
                <a:gd name="connsiteY7" fmla="*/ 343078 h 8728969"/>
                <a:gd name="connsiteX8" fmla="*/ 343078 w 2058426"/>
                <a:gd name="connsiteY8" fmla="*/ 0 h 87289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058426" h="8728969">
                  <a:moveTo>
                    <a:pt x="2058426" y="1454859"/>
                  </a:moveTo>
                  <a:lnTo>
                    <a:pt x="2058426" y="7274110"/>
                  </a:lnTo>
                  <a:cubicBezTo>
                    <a:pt x="2058426" y="8077606"/>
                    <a:pt x="2022204" y="8728967"/>
                    <a:pt x="1977523" y="8728967"/>
                  </a:cubicBezTo>
                  <a:lnTo>
                    <a:pt x="0" y="8728967"/>
                  </a:lnTo>
                  <a:lnTo>
                    <a:pt x="0" y="8728967"/>
                  </a:lnTo>
                  <a:lnTo>
                    <a:pt x="0" y="2"/>
                  </a:lnTo>
                  <a:lnTo>
                    <a:pt x="0" y="2"/>
                  </a:lnTo>
                  <a:lnTo>
                    <a:pt x="1977523" y="2"/>
                  </a:lnTo>
                  <a:cubicBezTo>
                    <a:pt x="2022204" y="2"/>
                    <a:pt x="2058426" y="651363"/>
                    <a:pt x="2058426" y="1454859"/>
                  </a:cubicBezTo>
                  <a:close/>
                </a:path>
              </a:pathLst>
            </a:custGeom>
            <a:solidFill>
              <a:schemeClr val="bg1">
                <a:lumMod val="95000"/>
                <a:alpha val="90000"/>
              </a:schemeClr>
            </a:solidFill>
            <a:ln>
              <a:noFill/>
            </a:ln>
          </p:spPr>
          <p:style>
            <a:lnRef idx="2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247651" tIns="224309" rIns="348134" bIns="224310" numCol="1" spcCol="1270" anchor="ctr" anchorCtr="0">
              <a:noAutofit/>
            </a:bodyPr>
            <a:lstStyle/>
            <a:p>
              <a:pPr marL="171450" lvl="1" indent="-171450" algn="l" defTabSz="711200">
                <a:lnSpc>
                  <a:spcPct val="90000"/>
                </a:lnSpc>
                <a:spcBef>
                  <a:spcPct val="0"/>
                </a:spcBef>
                <a:spcAft>
                  <a:spcPts val="600"/>
                </a:spcAft>
                <a:buChar char="••"/>
              </a:pPr>
              <a:r>
                <a:rPr lang="pt-BR" b="1" kern="1200" dirty="0" smtClean="0">
                  <a:latin typeface="Simplon BP Regular" pitchFamily="2" charset="0"/>
                  <a:cs typeface="Simplon Oi Headline"/>
                </a:rPr>
                <a:t>Projeto: </a:t>
              </a:r>
              <a:endParaRPr lang="pt-BR" b="1" kern="1200" dirty="0">
                <a:latin typeface="Simplon BP Regular" pitchFamily="2" charset="0"/>
              </a:endParaRPr>
            </a:p>
            <a:p>
              <a:pPr marL="171450" lvl="1" indent="-171450" algn="l" defTabSz="711200">
                <a:lnSpc>
                  <a:spcPct val="90000"/>
                </a:lnSpc>
                <a:spcBef>
                  <a:spcPct val="0"/>
                </a:spcBef>
                <a:spcAft>
                  <a:spcPts val="600"/>
                </a:spcAft>
                <a:buChar char="••"/>
              </a:pPr>
              <a:r>
                <a:rPr lang="pt-BR" b="1" kern="1200" dirty="0" smtClean="0">
                  <a:latin typeface="Simplon BP Regular" pitchFamily="2" charset="0"/>
                </a:rPr>
                <a:t>Líder:</a:t>
              </a:r>
              <a:r>
                <a:rPr lang="pt-BR" kern="1200" dirty="0" smtClean="0">
                  <a:latin typeface="Simplon BP Regular" pitchFamily="2" charset="0"/>
                </a:rPr>
                <a:t>	      Eduardo Amaral</a:t>
              </a:r>
              <a:endParaRPr lang="pt-BR" kern="1200" dirty="0">
                <a:latin typeface="Simplon BP Regular" pitchFamily="2" charset="0"/>
              </a:endParaRPr>
            </a:p>
            <a:p>
              <a:pPr marL="171450" lvl="1" indent="-171450" algn="l" defTabSz="711200">
                <a:lnSpc>
                  <a:spcPct val="90000"/>
                </a:lnSpc>
                <a:spcBef>
                  <a:spcPct val="0"/>
                </a:spcBef>
                <a:spcAft>
                  <a:spcPts val="600"/>
                </a:spcAft>
                <a:buChar char="••"/>
              </a:pPr>
              <a:r>
                <a:rPr lang="pt-BR" b="1" kern="1200" dirty="0" smtClean="0">
                  <a:latin typeface="Simplon BP Regular" pitchFamily="2" charset="0"/>
                </a:rPr>
                <a:t>Cruzamentos efetuados: </a:t>
              </a:r>
              <a:r>
                <a:rPr lang="pt-BR" kern="1200" dirty="0" smtClean="0">
                  <a:latin typeface="Simplon BP Regular" pitchFamily="2" charset="0"/>
                </a:rPr>
                <a:t>CPF(s), Terminais Ativos e Planos</a:t>
              </a:r>
              <a:endParaRPr lang="pt-BR" kern="1200" dirty="0">
                <a:latin typeface="Simplon BP Regular" pitchFamily="2" charset="0"/>
              </a:endParaRPr>
            </a:p>
            <a:p>
              <a:pPr marL="171450" lvl="1" indent="-171450" algn="l" defTabSz="711200">
                <a:lnSpc>
                  <a:spcPct val="90000"/>
                </a:lnSpc>
                <a:spcBef>
                  <a:spcPct val="0"/>
                </a:spcBef>
                <a:spcAft>
                  <a:spcPts val="600"/>
                </a:spcAft>
                <a:buChar char="••"/>
              </a:pPr>
              <a:r>
                <a:rPr lang="pt-BR" b="1" kern="1200" dirty="0" smtClean="0">
                  <a:latin typeface="Simplon BP Regular" pitchFamily="2" charset="0"/>
                </a:rPr>
                <a:t>Resultado (13/11): </a:t>
              </a:r>
              <a:r>
                <a:rPr lang="pt-BR" b="0" kern="1200" dirty="0" smtClean="0">
                  <a:latin typeface="Simplon BP Regular" pitchFamily="2" charset="0"/>
                </a:rPr>
                <a:t>Identificadas</a:t>
              </a:r>
              <a:r>
                <a:rPr lang="pt-BR" b="1" kern="1200" dirty="0" smtClean="0">
                  <a:latin typeface="Simplon BP Regular" pitchFamily="2" charset="0"/>
                </a:rPr>
                <a:t> </a:t>
              </a:r>
              <a:r>
                <a:rPr lang="pt-BR" b="1" kern="1200" dirty="0" smtClean="0">
                  <a:solidFill>
                    <a:srgbClr val="000000"/>
                  </a:solidFill>
                  <a:latin typeface="Simplon BP Regular" pitchFamily="2" charset="0"/>
                </a:rPr>
                <a:t>381.098</a:t>
              </a:r>
              <a:r>
                <a:rPr lang="pt-BR" kern="1200" dirty="0" smtClean="0">
                  <a:solidFill>
                    <a:srgbClr val="000000"/>
                  </a:solidFill>
                  <a:latin typeface="Simplon BP Regular" pitchFamily="2" charset="0"/>
                </a:rPr>
                <a:t> divergências de associações “código de plano x terminais” entre Minha Oi e CDI</a:t>
              </a:r>
              <a:endParaRPr lang="pt-BR" kern="1200" dirty="0">
                <a:latin typeface="Simplon BP Regular" pitchFamily="2" charset="0"/>
              </a:endParaRPr>
            </a:p>
            <a:p>
              <a:pPr marL="171450" lvl="1" indent="-171450" algn="l" defTabSz="711200">
                <a:lnSpc>
                  <a:spcPct val="90000"/>
                </a:lnSpc>
                <a:spcBef>
                  <a:spcPct val="0"/>
                </a:spcBef>
                <a:spcAft>
                  <a:spcPts val="600"/>
                </a:spcAft>
                <a:buChar char="••"/>
              </a:pPr>
              <a:r>
                <a:rPr lang="pt-BR" b="1" kern="1200" dirty="0" smtClean="0">
                  <a:solidFill>
                    <a:schemeClr val="tx1"/>
                  </a:solidFill>
                  <a:latin typeface="Simplon BP Regular" pitchFamily="2" charset="0"/>
                </a:rPr>
                <a:t>Correção: </a:t>
              </a:r>
              <a:r>
                <a:rPr lang="pt-BR" b="0" kern="1200" dirty="0" smtClean="0">
                  <a:solidFill>
                    <a:schemeClr val="tx1"/>
                  </a:solidFill>
                  <a:latin typeface="Simplon BP Regular" pitchFamily="2" charset="0"/>
                </a:rPr>
                <a:t>Previa da correção em 11/01 para uma massa reduzida. Posteriormente será aplicada a </a:t>
              </a:r>
              <a:r>
                <a:rPr lang="pt-BR" kern="1200" dirty="0" smtClean="0">
                  <a:solidFill>
                    <a:schemeClr val="tx1"/>
                  </a:solidFill>
                  <a:latin typeface="Simplon BP Regular" pitchFamily="2" charset="0"/>
                </a:rPr>
                <a:t>correção demais clientes (</a:t>
              </a:r>
              <a:r>
                <a:rPr lang="pt-BR" b="1" kern="1200" dirty="0" smtClean="0">
                  <a:solidFill>
                    <a:srgbClr val="0066CC"/>
                  </a:solidFill>
                  <a:latin typeface="Simplon BP Regular" pitchFamily="2" charset="0"/>
                </a:rPr>
                <a:t>previsão: 27/01</a:t>
              </a:r>
              <a:r>
                <a:rPr lang="pt-BR" kern="1200" dirty="0" smtClean="0">
                  <a:solidFill>
                    <a:schemeClr val="tx1"/>
                  </a:solidFill>
                  <a:latin typeface="Simplon BP Regular" pitchFamily="2" charset="0"/>
                </a:rPr>
                <a:t>).</a:t>
              </a:r>
              <a:endParaRPr lang="pt-BR" kern="1200" dirty="0">
                <a:solidFill>
                  <a:schemeClr val="tx1"/>
                </a:solidFill>
                <a:latin typeface="Simplon BP Regular" pitchFamily="2" charset="0"/>
              </a:endParaRPr>
            </a:p>
          </p:txBody>
        </p:sp>
        <p:sp>
          <p:nvSpPr>
            <p:cNvPr id="6" name="Forma livre 5"/>
            <p:cNvSpPr/>
            <p:nvPr/>
          </p:nvSpPr>
          <p:spPr>
            <a:xfrm>
              <a:off x="253341" y="886716"/>
              <a:ext cx="2459864" cy="2125961"/>
            </a:xfrm>
            <a:custGeom>
              <a:avLst/>
              <a:gdLst>
                <a:gd name="connsiteX0" fmla="*/ 0 w 2459864"/>
                <a:gd name="connsiteY0" fmla="*/ 354334 h 2125961"/>
                <a:gd name="connsiteX1" fmla="*/ 354334 w 2459864"/>
                <a:gd name="connsiteY1" fmla="*/ 0 h 2125961"/>
                <a:gd name="connsiteX2" fmla="*/ 2105530 w 2459864"/>
                <a:gd name="connsiteY2" fmla="*/ 0 h 2125961"/>
                <a:gd name="connsiteX3" fmla="*/ 2459864 w 2459864"/>
                <a:gd name="connsiteY3" fmla="*/ 354334 h 2125961"/>
                <a:gd name="connsiteX4" fmla="*/ 2459864 w 2459864"/>
                <a:gd name="connsiteY4" fmla="*/ 1771627 h 2125961"/>
                <a:gd name="connsiteX5" fmla="*/ 2105530 w 2459864"/>
                <a:gd name="connsiteY5" fmla="*/ 2125961 h 2125961"/>
                <a:gd name="connsiteX6" fmla="*/ 354334 w 2459864"/>
                <a:gd name="connsiteY6" fmla="*/ 2125961 h 2125961"/>
                <a:gd name="connsiteX7" fmla="*/ 0 w 2459864"/>
                <a:gd name="connsiteY7" fmla="*/ 1771627 h 2125961"/>
                <a:gd name="connsiteX8" fmla="*/ 0 w 2459864"/>
                <a:gd name="connsiteY8" fmla="*/ 354334 h 21259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459864" h="2125961">
                  <a:moveTo>
                    <a:pt x="0" y="354334"/>
                  </a:moveTo>
                  <a:cubicBezTo>
                    <a:pt x="0" y="158641"/>
                    <a:pt x="158641" y="0"/>
                    <a:pt x="354334" y="0"/>
                  </a:cubicBezTo>
                  <a:lnTo>
                    <a:pt x="2105530" y="0"/>
                  </a:lnTo>
                  <a:cubicBezTo>
                    <a:pt x="2301223" y="0"/>
                    <a:pt x="2459864" y="158641"/>
                    <a:pt x="2459864" y="354334"/>
                  </a:cubicBezTo>
                  <a:lnTo>
                    <a:pt x="2459864" y="1771627"/>
                  </a:lnTo>
                  <a:cubicBezTo>
                    <a:pt x="2459864" y="1967320"/>
                    <a:pt x="2301223" y="2125961"/>
                    <a:pt x="2105530" y="2125961"/>
                  </a:cubicBezTo>
                  <a:lnTo>
                    <a:pt x="354334" y="2125961"/>
                  </a:lnTo>
                  <a:cubicBezTo>
                    <a:pt x="158641" y="2125961"/>
                    <a:pt x="0" y="1967320"/>
                    <a:pt x="0" y="1771627"/>
                  </a:cubicBezTo>
                  <a:lnTo>
                    <a:pt x="0" y="354334"/>
                  </a:lnTo>
                  <a:close/>
                </a:path>
              </a:pathLst>
            </a:cu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95221" tIns="149501" rIns="195221" bIns="149501" numCol="1" spcCol="1270" anchor="ctr" anchorCtr="0">
              <a:noAutofit/>
            </a:bodyPr>
            <a:lstStyle/>
            <a:p>
              <a:pPr lvl="0" algn="ctr" defTabSz="10668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pt-BR" sz="2400" kern="1200" dirty="0" smtClean="0">
                  <a:latin typeface="Simplon BP Regular" pitchFamily="2" charset="0"/>
                </a:rPr>
                <a:t>1º Batimento </a:t>
              </a:r>
            </a:p>
            <a:p>
              <a:pPr lvl="0" algn="ctr" defTabSz="10668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pt-BR" sz="2400" kern="1200" dirty="0" smtClean="0">
                  <a:latin typeface="Simplon BP Regular" pitchFamily="2" charset="0"/>
                </a:rPr>
                <a:t>CDI X Portal </a:t>
              </a:r>
              <a:endParaRPr lang="pt-BR" sz="2400" kern="1200" dirty="0">
                <a:latin typeface="Simplon BP Regular" pitchFamily="2" charset="0"/>
              </a:endParaRPr>
            </a:p>
          </p:txBody>
        </p:sp>
      </p:grpSp>
      <p:sp>
        <p:nvSpPr>
          <p:cNvPr id="15" name="Botão de ação: Avançar ou Próximo 14">
            <a:hlinkClick r:id="rId3" action="ppaction://hlinksldjump" highlightClick="1"/>
          </p:cNvPr>
          <p:cNvSpPr/>
          <p:nvPr/>
        </p:nvSpPr>
        <p:spPr>
          <a:xfrm>
            <a:off x="10851337" y="2929031"/>
            <a:ext cx="458095" cy="423081"/>
          </a:xfrm>
          <a:prstGeom prst="actionButtonForwardNext">
            <a:avLst/>
          </a:prstGeom>
          <a:ln>
            <a:solidFill>
              <a:schemeClr val="tx2"/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pt-BR" sz="1400" dirty="0" smtClean="0">
              <a:latin typeface="Simplon BP Regular"/>
              <a:cs typeface="Simplon BP Regular"/>
            </a:endParaRPr>
          </a:p>
        </p:txBody>
      </p:sp>
      <p:sp>
        <p:nvSpPr>
          <p:cNvPr id="16" name="CaixaDeTexto 15"/>
          <p:cNvSpPr txBox="1"/>
          <p:nvPr/>
        </p:nvSpPr>
        <p:spPr>
          <a:xfrm>
            <a:off x="201618" y="3624482"/>
            <a:ext cx="11518177" cy="2646947"/>
          </a:xfrm>
          <a:prstGeom prst="rect">
            <a:avLst/>
          </a:prstGeom>
          <a:noFill/>
          <a:ln>
            <a:noFill/>
          </a:ln>
        </p:spPr>
        <p:txBody>
          <a:bodyPr vert="horz" lIns="0" tIns="0" rIns="0" bIns="0" rtlCol="0" anchor="t">
            <a:noAutofit/>
          </a:bodyPr>
          <a:lstStyle>
            <a:lvl1pPr marL="184150" indent="-184150" algn="just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Font typeface="Wingdings" charset="2"/>
              <a:buChar char="§"/>
              <a:tabLst/>
              <a:defRPr lang="es-ES_tradnl" smtClean="0">
                <a:latin typeface="Simplon Oi"/>
                <a:ea typeface="ＭＳ Ｐゴシック" charset="0"/>
                <a:cs typeface="Simplon Oi Headline"/>
              </a:defRPr>
            </a:lvl1pPr>
            <a:lvl2pPr marL="365125" indent="-1762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charset="2"/>
              <a:buChar char="§"/>
              <a:tabLst>
                <a:tab pos="365125" algn="l"/>
              </a:tabLst>
              <a:defRPr lang="es-ES_tradnl" sz="1400" smtClean="0">
                <a:solidFill>
                  <a:srgbClr val="000000"/>
                </a:solidFill>
                <a:latin typeface="Simplon BP Regular"/>
                <a:ea typeface="ＭＳ Ｐゴシック" charset="0"/>
                <a:cs typeface="Simplon BP Regular"/>
              </a:defRPr>
            </a:lvl2pPr>
            <a:lvl3pPr marL="541338" indent="-1762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charset="2"/>
              <a:buChar char="§"/>
              <a:tabLst>
                <a:tab pos="541338" algn="l"/>
              </a:tabLst>
              <a:defRPr lang="es-ES_tradnl" sz="1400" smtClean="0">
                <a:solidFill>
                  <a:srgbClr val="000000"/>
                </a:solidFill>
                <a:latin typeface="Simplon BP Regular"/>
                <a:ea typeface="ＭＳ Ｐゴシック" charset="0"/>
                <a:cs typeface="Simplon BP Regular"/>
              </a:defRPr>
            </a:lvl3pPr>
            <a:lvl4pPr marL="717550" indent="-1762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charset="2"/>
              <a:buChar char="§"/>
              <a:tabLst>
                <a:tab pos="717550" algn="l"/>
              </a:tabLst>
              <a:defRPr lang="es-ES_tradnl" sz="1400" smtClean="0">
                <a:solidFill>
                  <a:srgbClr val="000000"/>
                </a:solidFill>
                <a:latin typeface="Simplon BP Regular"/>
                <a:ea typeface="ＭＳ Ｐゴシック" charset="0"/>
                <a:cs typeface="Simplon BP Regular"/>
              </a:defRPr>
            </a:lvl4pPr>
            <a:lvl5pPr marL="893763" indent="-1762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charset="2"/>
              <a:buChar char="§"/>
              <a:tabLst>
                <a:tab pos="893763" algn="l"/>
              </a:tabLst>
              <a:defRPr lang="pt-BR" sz="1400" smtClean="0">
                <a:solidFill>
                  <a:srgbClr val="000000"/>
                </a:solidFill>
                <a:latin typeface="Simplon BP Regular"/>
                <a:ea typeface="ＭＳ Ｐゴシック" charset="0"/>
                <a:cs typeface="Simplon BP Regular"/>
              </a:defRPr>
            </a:lvl5pPr>
            <a:lvl6pPr marL="2514600" indent="-228600">
              <a:spcBef>
                <a:spcPct val="20000"/>
              </a:spcBef>
              <a:buFont typeface="Arial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/>
              <a:buChar char="•"/>
              <a:defRPr sz="2000"/>
            </a:lvl9pPr>
          </a:lstStyle>
          <a:p>
            <a:pPr marL="0" indent="0" defTabSz="597355" fontAlgn="auto">
              <a:buNone/>
            </a:pPr>
            <a:r>
              <a:rPr lang="pt-BR" dirty="0" smtClean="0">
                <a:latin typeface="Simplon BP Regular" pitchFamily="2" charset="0"/>
              </a:rPr>
              <a:t>O processo de correção irá tratar as </a:t>
            </a:r>
            <a:r>
              <a:rPr lang="pt-BR" b="1" dirty="0" smtClean="0">
                <a:latin typeface="Simplon BP Regular" pitchFamily="2" charset="0"/>
              </a:rPr>
              <a:t>381.098</a:t>
            </a:r>
            <a:r>
              <a:rPr lang="pt-BR" dirty="0" smtClean="0">
                <a:latin typeface="Simplon BP Regular" pitchFamily="2" charset="0"/>
              </a:rPr>
              <a:t> </a:t>
            </a:r>
            <a:r>
              <a:rPr lang="pt-BR" dirty="0">
                <a:latin typeface="Simplon BP Regular" pitchFamily="2" charset="0"/>
              </a:rPr>
              <a:t>divergências de associações “código de plano x terminais” entre Minha Oi e CDI</a:t>
            </a:r>
            <a:r>
              <a:rPr lang="pt-BR" dirty="0" smtClean="0">
                <a:latin typeface="Simplon BP Regular" pitchFamily="2" charset="0"/>
              </a:rPr>
              <a:t>.</a:t>
            </a:r>
          </a:p>
          <a:p>
            <a:pPr marL="0" indent="0" defTabSz="597355" fontAlgn="auto">
              <a:buNone/>
            </a:pPr>
            <a:r>
              <a:rPr lang="pt-BR" dirty="0" smtClean="0">
                <a:latin typeface="Simplon BP Regular" pitchFamily="2" charset="0"/>
              </a:rPr>
              <a:t>Com base na posse atual da Minha Oi, após aplicar script de correção teremos:</a:t>
            </a:r>
          </a:p>
          <a:p>
            <a:pPr marL="180975" lvl="1" indent="0" defTabSz="597355" fontAlgn="auto">
              <a:buNone/>
            </a:pPr>
            <a:endParaRPr lang="pt-BR" sz="1600" b="1" dirty="0" smtClean="0">
              <a:solidFill>
                <a:schemeClr val="tx1"/>
              </a:solidFill>
              <a:latin typeface="Simplon BP Regular" pitchFamily="2" charset="0"/>
            </a:endParaRPr>
          </a:p>
          <a:p>
            <a:pPr marL="180975" lvl="1" indent="0" defTabSz="597355" fontAlgn="auto">
              <a:buNone/>
            </a:pPr>
            <a:r>
              <a:rPr lang="pt-BR" sz="1600" b="1" dirty="0" smtClean="0">
                <a:solidFill>
                  <a:schemeClr val="tx1"/>
                </a:solidFill>
                <a:latin typeface="Simplon BP Regular" pitchFamily="2" charset="0"/>
              </a:rPr>
              <a:t>Negativo</a:t>
            </a:r>
            <a:r>
              <a:rPr lang="pt-BR" sz="1600" dirty="0" smtClean="0">
                <a:solidFill>
                  <a:schemeClr val="tx1"/>
                </a:solidFill>
                <a:latin typeface="Simplon BP Regular" pitchFamily="2" charset="0"/>
              </a:rPr>
              <a:t>  - </a:t>
            </a:r>
            <a:r>
              <a:rPr lang="pt-BR" sz="1600" b="1" dirty="0">
                <a:solidFill>
                  <a:schemeClr val="tx1"/>
                </a:solidFill>
                <a:latin typeface="Simplon BP Regular" pitchFamily="2" charset="0"/>
              </a:rPr>
              <a:t>73.781 </a:t>
            </a:r>
            <a:r>
              <a:rPr lang="pt-BR" sz="1600" dirty="0" smtClean="0">
                <a:solidFill>
                  <a:schemeClr val="tx1"/>
                </a:solidFill>
                <a:latin typeface="Simplon BP Regular" pitchFamily="2" charset="0"/>
              </a:rPr>
              <a:t>Clientes que terão a posse alterada de </a:t>
            </a:r>
            <a:r>
              <a:rPr lang="pt-BR" sz="1600" b="1" dirty="0" smtClean="0">
                <a:solidFill>
                  <a:schemeClr val="tx1"/>
                </a:solidFill>
                <a:latin typeface="Simplon BP Regular" pitchFamily="2" charset="0"/>
              </a:rPr>
              <a:t>Pós</a:t>
            </a:r>
            <a:r>
              <a:rPr lang="pt-BR" sz="1600" dirty="0" smtClean="0">
                <a:solidFill>
                  <a:schemeClr val="tx1"/>
                </a:solidFill>
                <a:latin typeface="Simplon BP Regular" pitchFamily="2" charset="0"/>
              </a:rPr>
              <a:t> para </a:t>
            </a:r>
            <a:r>
              <a:rPr lang="pt-BR" sz="1600" b="1" dirty="0" err="1" smtClean="0">
                <a:solidFill>
                  <a:schemeClr val="tx1"/>
                </a:solidFill>
                <a:latin typeface="Simplon BP Regular" pitchFamily="2" charset="0"/>
              </a:rPr>
              <a:t>Pré</a:t>
            </a:r>
            <a:r>
              <a:rPr lang="pt-BR" sz="1600" dirty="0" smtClean="0">
                <a:solidFill>
                  <a:schemeClr val="tx1"/>
                </a:solidFill>
                <a:latin typeface="Simplon BP Regular" pitchFamily="2" charset="0"/>
              </a:rPr>
              <a:t>: clientes possuem somente um produto Pós ou um Pós e um </a:t>
            </a:r>
            <a:r>
              <a:rPr lang="pt-BR" sz="1600" dirty="0" err="1" smtClean="0">
                <a:solidFill>
                  <a:schemeClr val="tx1"/>
                </a:solidFill>
                <a:latin typeface="Simplon BP Regular" pitchFamily="2" charset="0"/>
              </a:rPr>
              <a:t>Pré</a:t>
            </a:r>
            <a:r>
              <a:rPr lang="pt-BR" sz="1600" dirty="0" smtClean="0">
                <a:solidFill>
                  <a:schemeClr val="tx1"/>
                </a:solidFill>
                <a:latin typeface="Simplon BP Regular" pitchFamily="2" charset="0"/>
              </a:rPr>
              <a:t>. </a:t>
            </a:r>
            <a:r>
              <a:rPr lang="pt-BR" sz="1600" dirty="0">
                <a:solidFill>
                  <a:schemeClr val="tx1"/>
                </a:solidFill>
                <a:latin typeface="Simplon BP Regular" pitchFamily="2" charset="0"/>
              </a:rPr>
              <a:t>A</a:t>
            </a:r>
            <a:r>
              <a:rPr lang="pt-BR" sz="1600" dirty="0" smtClean="0">
                <a:solidFill>
                  <a:schemeClr val="tx1"/>
                </a:solidFill>
                <a:latin typeface="Simplon BP Regular" pitchFamily="2" charset="0"/>
              </a:rPr>
              <a:t>pós aplicar a correção não farão mais parte da base de “Produtos Faturados”</a:t>
            </a:r>
          </a:p>
          <a:p>
            <a:pPr marL="180975" lvl="1" indent="0" defTabSz="597355" fontAlgn="auto">
              <a:buNone/>
            </a:pPr>
            <a:endParaRPr lang="pt-BR" sz="1600" dirty="0">
              <a:solidFill>
                <a:schemeClr val="tx1"/>
              </a:solidFill>
              <a:latin typeface="Simplon BP Regular" pitchFamily="2" charset="0"/>
            </a:endParaRPr>
          </a:p>
          <a:p>
            <a:pPr marL="180975" lvl="1" indent="0" defTabSz="597355" fontAlgn="auto">
              <a:buNone/>
            </a:pPr>
            <a:r>
              <a:rPr lang="pt-BR" sz="1600" b="1" dirty="0" smtClean="0">
                <a:solidFill>
                  <a:schemeClr val="tx1"/>
                </a:solidFill>
                <a:latin typeface="Simplon BP Regular" pitchFamily="2" charset="0"/>
              </a:rPr>
              <a:t>Positivo</a:t>
            </a:r>
            <a:r>
              <a:rPr lang="pt-BR" sz="1600" dirty="0" smtClean="0">
                <a:solidFill>
                  <a:schemeClr val="tx1"/>
                </a:solidFill>
                <a:latin typeface="Simplon BP Regular" pitchFamily="2" charset="0"/>
              </a:rPr>
              <a:t> – </a:t>
            </a:r>
            <a:r>
              <a:rPr lang="pt-BR" sz="1600" b="1" dirty="0">
                <a:solidFill>
                  <a:schemeClr val="tx1"/>
                </a:solidFill>
                <a:latin typeface="Simplon BP Regular" pitchFamily="2" charset="0"/>
              </a:rPr>
              <a:t>2.939</a:t>
            </a:r>
            <a:r>
              <a:rPr lang="pt-BR" sz="1600" dirty="0">
                <a:solidFill>
                  <a:schemeClr val="tx1"/>
                </a:solidFill>
                <a:latin typeface="Simplon BP Regular" pitchFamily="2" charset="0"/>
              </a:rPr>
              <a:t> Clientes que terão a posse alterada de </a:t>
            </a:r>
            <a:r>
              <a:rPr lang="pt-BR" sz="1600" b="1" dirty="0" err="1" smtClean="0">
                <a:solidFill>
                  <a:schemeClr val="tx1"/>
                </a:solidFill>
                <a:latin typeface="Simplon BP Regular" pitchFamily="2" charset="0"/>
              </a:rPr>
              <a:t>Pré</a:t>
            </a:r>
            <a:r>
              <a:rPr lang="pt-BR" sz="1600" dirty="0" smtClean="0">
                <a:solidFill>
                  <a:schemeClr val="tx1"/>
                </a:solidFill>
                <a:latin typeface="Simplon BP Regular" pitchFamily="2" charset="0"/>
              </a:rPr>
              <a:t> </a:t>
            </a:r>
            <a:r>
              <a:rPr lang="pt-BR" sz="1600" dirty="0">
                <a:solidFill>
                  <a:schemeClr val="tx1"/>
                </a:solidFill>
                <a:latin typeface="Simplon BP Regular" pitchFamily="2" charset="0"/>
              </a:rPr>
              <a:t>para </a:t>
            </a:r>
            <a:r>
              <a:rPr lang="pt-BR" sz="1600" b="1" dirty="0" smtClean="0">
                <a:solidFill>
                  <a:schemeClr val="tx1"/>
                </a:solidFill>
                <a:latin typeface="Simplon BP Regular" pitchFamily="2" charset="0"/>
              </a:rPr>
              <a:t>Pós:</a:t>
            </a:r>
            <a:r>
              <a:rPr lang="pt-BR" sz="1600" dirty="0" smtClean="0">
                <a:solidFill>
                  <a:schemeClr val="tx1"/>
                </a:solidFill>
                <a:latin typeface="Simplon BP Regular" pitchFamily="2" charset="0"/>
              </a:rPr>
              <a:t> clientes </a:t>
            </a:r>
            <a:r>
              <a:rPr lang="pt-BR" sz="1600" dirty="0">
                <a:solidFill>
                  <a:schemeClr val="tx1"/>
                </a:solidFill>
                <a:latin typeface="Simplon BP Regular" pitchFamily="2" charset="0"/>
              </a:rPr>
              <a:t>possuem somente um produto </a:t>
            </a:r>
            <a:r>
              <a:rPr lang="pt-BR" sz="1600" dirty="0" err="1">
                <a:solidFill>
                  <a:schemeClr val="tx1"/>
                </a:solidFill>
                <a:latin typeface="Simplon BP Regular" pitchFamily="2" charset="0"/>
              </a:rPr>
              <a:t>P</a:t>
            </a:r>
            <a:r>
              <a:rPr lang="pt-BR" sz="1600" dirty="0" err="1" smtClean="0">
                <a:solidFill>
                  <a:schemeClr val="tx1"/>
                </a:solidFill>
                <a:latin typeface="Simplon BP Regular" pitchFamily="2" charset="0"/>
              </a:rPr>
              <a:t>ré</a:t>
            </a:r>
            <a:r>
              <a:rPr lang="pt-BR" sz="1600" dirty="0" smtClean="0">
                <a:solidFill>
                  <a:schemeClr val="tx1"/>
                </a:solidFill>
                <a:latin typeface="Simplon BP Regular" pitchFamily="2" charset="0"/>
              </a:rPr>
              <a:t>, </a:t>
            </a:r>
            <a:r>
              <a:rPr lang="pt-BR" sz="1600" dirty="0">
                <a:solidFill>
                  <a:schemeClr val="tx1"/>
                </a:solidFill>
                <a:latin typeface="Simplon BP Regular" pitchFamily="2" charset="0"/>
              </a:rPr>
              <a:t>ou seja</a:t>
            </a:r>
            <a:r>
              <a:rPr lang="pt-BR" sz="1600" dirty="0" smtClean="0">
                <a:solidFill>
                  <a:schemeClr val="tx1"/>
                </a:solidFill>
                <a:latin typeface="Simplon BP Regular" pitchFamily="2" charset="0"/>
              </a:rPr>
              <a:t>, </a:t>
            </a:r>
            <a:r>
              <a:rPr lang="pt-BR" sz="1600" dirty="0">
                <a:solidFill>
                  <a:schemeClr val="tx1"/>
                </a:solidFill>
                <a:latin typeface="Simplon BP Regular" pitchFamily="2" charset="0"/>
              </a:rPr>
              <a:t>após </a:t>
            </a:r>
            <a:r>
              <a:rPr lang="pt-BR" sz="1600" dirty="0" smtClean="0">
                <a:solidFill>
                  <a:schemeClr val="tx1"/>
                </a:solidFill>
                <a:latin typeface="Simplon BP Regular" pitchFamily="2" charset="0"/>
              </a:rPr>
              <a:t>a correção serão adicionados na </a:t>
            </a:r>
            <a:r>
              <a:rPr lang="pt-BR" sz="1600" dirty="0">
                <a:solidFill>
                  <a:schemeClr val="tx1"/>
                </a:solidFill>
                <a:latin typeface="Simplon BP Regular" pitchFamily="2" charset="0"/>
              </a:rPr>
              <a:t>base de “Produtos Faturados”</a:t>
            </a:r>
          </a:p>
        </p:txBody>
      </p:sp>
      <p:sp>
        <p:nvSpPr>
          <p:cNvPr id="3" name="Retângulo 2"/>
          <p:cNvSpPr/>
          <p:nvPr/>
        </p:nvSpPr>
        <p:spPr>
          <a:xfrm>
            <a:off x="3104452" y="4367654"/>
            <a:ext cx="5186036" cy="92333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pt-BR" sz="5400" b="1" cap="none" spc="0" dirty="0" smtClean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accent5"/>
                </a:solidFill>
                <a:effectLst>
                  <a:outerShdw blurRad="12700" dist="38100" dir="2700000" algn="tl" rotWithShape="0">
                    <a:schemeClr val="accent5">
                      <a:lumMod val="60000"/>
                      <a:lumOff val="40000"/>
                    </a:schemeClr>
                  </a:outerShdw>
                </a:effectLst>
              </a:rPr>
              <a:t>Em atualização</a:t>
            </a:r>
            <a:endParaRPr lang="pt-BR" sz="5400" b="1" cap="none" spc="0" dirty="0">
              <a:ln w="9525">
                <a:solidFill>
                  <a:schemeClr val="bg1"/>
                </a:solidFill>
                <a:prstDash val="solid"/>
              </a:ln>
              <a:solidFill>
                <a:schemeClr val="accent5"/>
              </a:solidFill>
              <a:effectLst>
                <a:outerShdw blurRad="12700" dist="38100" dir="2700000" algn="tl" rotWithShape="0">
                  <a:schemeClr val="accent5">
                    <a:lumMod val="60000"/>
                    <a:lumOff val="40000"/>
                  </a:scheme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38371757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le 1"/>
          <p:cNvSpPr>
            <a:spLocks noGrp="1"/>
          </p:cNvSpPr>
          <p:nvPr>
            <p:ph type="title"/>
          </p:nvPr>
        </p:nvSpPr>
        <p:spPr>
          <a:xfrm>
            <a:off x="328681" y="40550"/>
            <a:ext cx="11008457" cy="931462"/>
          </a:xfrm>
        </p:spPr>
        <p:txBody>
          <a:bodyPr/>
          <a:lstStyle/>
          <a:p>
            <a:pPr>
              <a:spcBef>
                <a:spcPts val="0"/>
              </a:spcBef>
            </a:pPr>
            <a:r>
              <a:rPr lang="pt-BR" sz="3700" dirty="0"/>
              <a:t>ECOSSISTEMA </a:t>
            </a:r>
            <a:r>
              <a:rPr lang="pt-BR" sz="3700" dirty="0" smtClean="0"/>
              <a:t>batimento manual – </a:t>
            </a:r>
            <a:r>
              <a:rPr lang="pt-BR" sz="3700" dirty="0"/>
              <a:t>visão macro</a:t>
            </a:r>
          </a:p>
        </p:txBody>
      </p:sp>
      <p:sp>
        <p:nvSpPr>
          <p:cNvPr id="7" name="CaixaDeTexto 6"/>
          <p:cNvSpPr txBox="1"/>
          <p:nvPr/>
        </p:nvSpPr>
        <p:spPr>
          <a:xfrm>
            <a:off x="611977" y="820056"/>
            <a:ext cx="10725159" cy="1022628"/>
          </a:xfrm>
          <a:prstGeom prst="rect">
            <a:avLst/>
          </a:prstGeom>
          <a:noFill/>
          <a:ln>
            <a:noFill/>
          </a:ln>
        </p:spPr>
        <p:txBody>
          <a:bodyPr vert="horz" lIns="0" tIns="0" rIns="0" bIns="0" rtlCol="0" anchor="t">
            <a:noAutofit/>
          </a:bodyPr>
          <a:lstStyle>
            <a:lvl1pPr marL="184150" indent="-184150" algn="just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Font typeface="Wingdings" charset="2"/>
              <a:buChar char="§"/>
              <a:tabLst/>
              <a:defRPr lang="es-ES_tradnl" smtClean="0">
                <a:latin typeface="Simplon Oi"/>
                <a:ea typeface="ＭＳ Ｐゴシック" charset="0"/>
                <a:cs typeface="Simplon Oi Headline"/>
              </a:defRPr>
            </a:lvl1pPr>
            <a:lvl2pPr marL="365125" indent="-1762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charset="2"/>
              <a:buChar char="§"/>
              <a:tabLst>
                <a:tab pos="365125" algn="l"/>
              </a:tabLst>
              <a:defRPr lang="es-ES_tradnl" sz="1400" smtClean="0">
                <a:solidFill>
                  <a:srgbClr val="000000"/>
                </a:solidFill>
                <a:latin typeface="Simplon BP Regular"/>
                <a:ea typeface="ＭＳ Ｐゴシック" charset="0"/>
                <a:cs typeface="Simplon BP Regular"/>
              </a:defRPr>
            </a:lvl2pPr>
            <a:lvl3pPr marL="541338" indent="-1762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charset="2"/>
              <a:buChar char="§"/>
              <a:tabLst>
                <a:tab pos="541338" algn="l"/>
              </a:tabLst>
              <a:defRPr lang="es-ES_tradnl" sz="1400" smtClean="0">
                <a:solidFill>
                  <a:srgbClr val="000000"/>
                </a:solidFill>
                <a:latin typeface="Simplon BP Regular"/>
                <a:ea typeface="ＭＳ Ｐゴシック" charset="0"/>
                <a:cs typeface="Simplon BP Regular"/>
              </a:defRPr>
            </a:lvl3pPr>
            <a:lvl4pPr marL="717550" indent="-1762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charset="2"/>
              <a:buChar char="§"/>
              <a:tabLst>
                <a:tab pos="717550" algn="l"/>
              </a:tabLst>
              <a:defRPr lang="es-ES_tradnl" sz="1400" smtClean="0">
                <a:solidFill>
                  <a:srgbClr val="000000"/>
                </a:solidFill>
                <a:latin typeface="Simplon BP Regular"/>
                <a:ea typeface="ＭＳ Ｐゴシック" charset="0"/>
                <a:cs typeface="Simplon BP Regular"/>
              </a:defRPr>
            </a:lvl4pPr>
            <a:lvl5pPr marL="893763" indent="-1762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charset="2"/>
              <a:buChar char="§"/>
              <a:tabLst>
                <a:tab pos="893763" algn="l"/>
              </a:tabLst>
              <a:defRPr lang="pt-BR" sz="1400" smtClean="0">
                <a:solidFill>
                  <a:srgbClr val="000000"/>
                </a:solidFill>
                <a:latin typeface="Simplon BP Regular"/>
                <a:ea typeface="ＭＳ Ｐゴシック" charset="0"/>
                <a:cs typeface="Simplon BP Regular"/>
              </a:defRPr>
            </a:lvl5pPr>
            <a:lvl6pPr marL="2514600" indent="-228600">
              <a:spcBef>
                <a:spcPct val="20000"/>
              </a:spcBef>
              <a:buFont typeface="Arial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/>
              <a:buChar char="•"/>
              <a:defRPr sz="2000"/>
            </a:lvl9pPr>
          </a:lstStyle>
          <a:p>
            <a:pPr marL="0" indent="0">
              <a:buNone/>
            </a:pPr>
            <a:r>
              <a:rPr lang="pt-BR" sz="2000" dirty="0"/>
              <a:t>A solução Portal Minha Oi engloba um conjunto alargado de sistemas e interfaces batch e online. Destaca-se a sua forte integração aos sistemas CDI e SSO para popular informação de clientes e produtos associados.</a:t>
            </a:r>
          </a:p>
        </p:txBody>
      </p:sp>
      <p:pic>
        <p:nvPicPr>
          <p:cNvPr id="47" name="Picture 4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057531" y="3930608"/>
            <a:ext cx="593580" cy="7056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8" name="Picture 4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057531" y="2425018"/>
            <a:ext cx="593580" cy="7056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9" name="Picture 4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057531" y="3177813"/>
            <a:ext cx="593580" cy="7056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0" name="CaixaDeTexto 49"/>
          <p:cNvSpPr txBox="1"/>
          <p:nvPr/>
        </p:nvSpPr>
        <p:spPr>
          <a:xfrm>
            <a:off x="2214249" y="4196263"/>
            <a:ext cx="576477" cy="321759"/>
          </a:xfrm>
          <a:prstGeom prst="rect">
            <a:avLst/>
          </a:prstGeom>
          <a:noFill/>
        </p:spPr>
        <p:txBody>
          <a:bodyPr wrap="none" lIns="119485" tIns="59742" rIns="119485" bIns="59742" rtlCol="0">
            <a:spAutoFit/>
          </a:bodyPr>
          <a:lstStyle/>
          <a:p>
            <a:r>
              <a:rPr lang="pt-BR" sz="1300" b="1" dirty="0">
                <a:latin typeface="Simplon Oi"/>
              </a:rPr>
              <a:t>STC</a:t>
            </a:r>
          </a:p>
        </p:txBody>
      </p:sp>
      <p:sp>
        <p:nvSpPr>
          <p:cNvPr id="51" name="CaixaDeTexto 50"/>
          <p:cNvSpPr txBox="1"/>
          <p:nvPr/>
        </p:nvSpPr>
        <p:spPr>
          <a:xfrm>
            <a:off x="2067616" y="2660189"/>
            <a:ext cx="1012349" cy="320706"/>
          </a:xfrm>
          <a:prstGeom prst="rect">
            <a:avLst/>
          </a:prstGeom>
          <a:noFill/>
        </p:spPr>
        <p:txBody>
          <a:bodyPr wrap="none" lIns="119485" tIns="59742" rIns="119485" bIns="59742" rtlCol="0">
            <a:spAutoFit/>
          </a:bodyPr>
          <a:lstStyle/>
          <a:p>
            <a:r>
              <a:rPr lang="pt-BR" sz="1300" b="1" dirty="0">
                <a:latin typeface="Simplon Oi"/>
              </a:rPr>
              <a:t>Siebel </a:t>
            </a:r>
            <a:r>
              <a:rPr lang="pt-BR" sz="1300" b="1" dirty="0" smtClean="0">
                <a:latin typeface="Simplon Oi"/>
              </a:rPr>
              <a:t>6.3</a:t>
            </a:r>
            <a:endParaRPr lang="pt-BR" sz="1300" b="1" dirty="0">
              <a:latin typeface="Simplon Oi"/>
            </a:endParaRPr>
          </a:p>
        </p:txBody>
      </p:sp>
      <p:sp>
        <p:nvSpPr>
          <p:cNvPr id="52" name="CaixaDeTexto 51"/>
          <p:cNvSpPr txBox="1"/>
          <p:nvPr/>
        </p:nvSpPr>
        <p:spPr>
          <a:xfrm>
            <a:off x="2067616" y="3467622"/>
            <a:ext cx="869744" cy="321759"/>
          </a:xfrm>
          <a:prstGeom prst="rect">
            <a:avLst/>
          </a:prstGeom>
          <a:noFill/>
        </p:spPr>
        <p:txBody>
          <a:bodyPr wrap="none" lIns="119485" tIns="59742" rIns="119485" bIns="59742" rtlCol="0">
            <a:spAutoFit/>
          </a:bodyPr>
          <a:lstStyle/>
          <a:p>
            <a:r>
              <a:rPr lang="pt-BR" sz="1300" b="1" dirty="0">
                <a:latin typeface="Simplon Oi"/>
              </a:rPr>
              <a:t>Siebel 8</a:t>
            </a:r>
          </a:p>
        </p:txBody>
      </p:sp>
      <p:pic>
        <p:nvPicPr>
          <p:cNvPr id="57" name="Picture 4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5438122" y="4197593"/>
            <a:ext cx="591999" cy="7037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8" name="CaixaDeTexto 57"/>
          <p:cNvSpPr txBox="1"/>
          <p:nvPr/>
        </p:nvSpPr>
        <p:spPr>
          <a:xfrm>
            <a:off x="5237454" y="4879112"/>
            <a:ext cx="816782" cy="274539"/>
          </a:xfrm>
          <a:prstGeom prst="rect">
            <a:avLst/>
          </a:prstGeom>
          <a:noFill/>
        </p:spPr>
        <p:txBody>
          <a:bodyPr wrap="none" lIns="119485" tIns="59742" rIns="119485" bIns="59742" rtlCol="0">
            <a:spAutoFit/>
          </a:bodyPr>
          <a:lstStyle>
            <a:defPPr>
              <a:defRPr lang="en-US"/>
            </a:defPPr>
            <a:lvl1pPr>
              <a:defRPr sz="1000" b="1">
                <a:latin typeface="Simplon Oi"/>
              </a:defRPr>
            </a:lvl1pPr>
          </a:lstStyle>
          <a:p>
            <a:r>
              <a:rPr lang="pt-BR" dirty="0" smtClean="0"/>
              <a:t>SAC – R2</a:t>
            </a:r>
            <a:endParaRPr lang="pt-BR" dirty="0"/>
          </a:p>
        </p:txBody>
      </p:sp>
      <p:sp>
        <p:nvSpPr>
          <p:cNvPr id="59" name="Cilindro 58"/>
          <p:cNvSpPr>
            <a:spLocks noChangeAspect="1"/>
          </p:cNvSpPr>
          <p:nvPr/>
        </p:nvSpPr>
        <p:spPr>
          <a:xfrm>
            <a:off x="7258968" y="2325645"/>
            <a:ext cx="281535" cy="2969325"/>
          </a:xfrm>
          <a:prstGeom prst="can">
            <a:avLst/>
          </a:prstGeom>
          <a:solidFill>
            <a:schemeClr val="bg2">
              <a:lumMod val="90000"/>
            </a:schemeClr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lIns="119485" tIns="59742" rIns="119485" bIns="59742" rtlCol="0" anchor="ctr" anchorCtr="1">
            <a:noAutofit/>
          </a:bodyPr>
          <a:lstStyle/>
          <a:p>
            <a:pPr algn="ctr"/>
            <a:r>
              <a:rPr lang="pt-BR" sz="2100" dirty="0">
                <a:solidFill>
                  <a:schemeClr val="tx1"/>
                </a:solidFill>
                <a:latin typeface="Simplon Oi"/>
              </a:rPr>
              <a:t>Barramento</a:t>
            </a:r>
          </a:p>
        </p:txBody>
      </p:sp>
      <p:pic>
        <p:nvPicPr>
          <p:cNvPr id="64" name="Picture 4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057531" y="4683402"/>
            <a:ext cx="593580" cy="7056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5" name="CaixaDeTexto 64"/>
          <p:cNvSpPr txBox="1"/>
          <p:nvPr/>
        </p:nvSpPr>
        <p:spPr>
          <a:xfrm>
            <a:off x="2181780" y="4879112"/>
            <a:ext cx="641415" cy="321759"/>
          </a:xfrm>
          <a:prstGeom prst="rect">
            <a:avLst/>
          </a:prstGeom>
          <a:noFill/>
        </p:spPr>
        <p:txBody>
          <a:bodyPr wrap="none" lIns="119485" tIns="59742" rIns="119485" bIns="59742" rtlCol="0">
            <a:spAutoFit/>
          </a:bodyPr>
          <a:lstStyle/>
          <a:p>
            <a:r>
              <a:rPr lang="pt-BR" sz="1300" b="1" dirty="0">
                <a:latin typeface="Simplon Oi"/>
              </a:rPr>
              <a:t>SINN</a:t>
            </a:r>
          </a:p>
        </p:txBody>
      </p:sp>
      <p:pic>
        <p:nvPicPr>
          <p:cNvPr id="66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8503597" y="2663355"/>
            <a:ext cx="591999" cy="6962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7" name="CaixaDeTexto 66"/>
          <p:cNvSpPr txBox="1"/>
          <p:nvPr/>
        </p:nvSpPr>
        <p:spPr>
          <a:xfrm>
            <a:off x="8331210" y="2357062"/>
            <a:ext cx="773501" cy="274539"/>
          </a:xfrm>
          <a:prstGeom prst="rect">
            <a:avLst/>
          </a:prstGeom>
          <a:noFill/>
        </p:spPr>
        <p:txBody>
          <a:bodyPr wrap="none" lIns="119485" tIns="59742" rIns="119485" bIns="59742" rtlCol="0">
            <a:spAutoFit/>
          </a:bodyPr>
          <a:lstStyle>
            <a:defPPr>
              <a:defRPr lang="en-US"/>
            </a:defPPr>
            <a:lvl1pPr>
              <a:defRPr sz="1000" b="1">
                <a:latin typeface="Simplon Oi"/>
              </a:defRPr>
            </a:lvl1pPr>
          </a:lstStyle>
          <a:p>
            <a:r>
              <a:rPr lang="pt-BR" dirty="0"/>
              <a:t>Portal Oi</a:t>
            </a:r>
          </a:p>
        </p:txBody>
      </p:sp>
      <p:sp>
        <p:nvSpPr>
          <p:cNvPr id="69" name="CaixaDeTexto 68"/>
          <p:cNvSpPr txBox="1"/>
          <p:nvPr/>
        </p:nvSpPr>
        <p:spPr>
          <a:xfrm>
            <a:off x="8502979" y="4973211"/>
            <a:ext cx="510608" cy="274539"/>
          </a:xfrm>
          <a:prstGeom prst="rect">
            <a:avLst/>
          </a:prstGeom>
          <a:noFill/>
        </p:spPr>
        <p:txBody>
          <a:bodyPr wrap="none" lIns="119485" tIns="59742" rIns="119485" bIns="59742" rtlCol="0">
            <a:spAutoFit/>
          </a:bodyPr>
          <a:lstStyle>
            <a:defPPr>
              <a:defRPr lang="en-US"/>
            </a:defPPr>
            <a:lvl1pPr>
              <a:defRPr sz="1000" b="1">
                <a:latin typeface="Simplon Oi"/>
              </a:defRPr>
            </a:lvl1pPr>
          </a:lstStyle>
          <a:p>
            <a:r>
              <a:rPr lang="pt-BR" dirty="0"/>
              <a:t>SSO</a:t>
            </a:r>
          </a:p>
        </p:txBody>
      </p:sp>
      <p:cxnSp>
        <p:nvCxnSpPr>
          <p:cNvPr id="70" name="Conector de seta reta 69"/>
          <p:cNvCxnSpPr/>
          <p:nvPr/>
        </p:nvCxnSpPr>
        <p:spPr>
          <a:xfrm>
            <a:off x="8799597" y="3519467"/>
            <a:ext cx="0" cy="602569"/>
          </a:xfrm>
          <a:prstGeom prst="straightConnector1">
            <a:avLst/>
          </a:prstGeom>
          <a:ln w="19050">
            <a:solidFill>
              <a:schemeClr val="tx1"/>
            </a:solidFill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0" name="Picture 4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5438122" y="2883983"/>
            <a:ext cx="591999" cy="7037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1" name="CaixaDeTexto 80"/>
          <p:cNvSpPr txBox="1"/>
          <p:nvPr/>
        </p:nvSpPr>
        <p:spPr>
          <a:xfrm>
            <a:off x="5269924" y="3576139"/>
            <a:ext cx="767089" cy="274539"/>
          </a:xfrm>
          <a:prstGeom prst="rect">
            <a:avLst/>
          </a:prstGeom>
          <a:noFill/>
        </p:spPr>
        <p:txBody>
          <a:bodyPr wrap="none" lIns="119485" tIns="59742" rIns="119485" bIns="59742" rtlCol="0">
            <a:spAutoFit/>
          </a:bodyPr>
          <a:lstStyle>
            <a:defPPr>
              <a:defRPr lang="en-US"/>
            </a:defPPr>
            <a:lvl1pPr>
              <a:defRPr sz="1000" b="1">
                <a:latin typeface="Simplon Oi"/>
              </a:defRPr>
            </a:lvl1pPr>
          </a:lstStyle>
          <a:p>
            <a:r>
              <a:rPr lang="pt-BR" dirty="0" smtClean="0"/>
              <a:t>CDI – R1</a:t>
            </a:r>
            <a:endParaRPr lang="pt-BR" dirty="0"/>
          </a:p>
        </p:txBody>
      </p:sp>
      <p:cxnSp>
        <p:nvCxnSpPr>
          <p:cNvPr id="91" name="Conector de seta reta 90"/>
          <p:cNvCxnSpPr>
            <a:stCxn id="48" idx="3"/>
          </p:cNvCxnSpPr>
          <p:nvPr/>
        </p:nvCxnSpPr>
        <p:spPr>
          <a:xfrm>
            <a:off x="3651111" y="2777852"/>
            <a:ext cx="1478337" cy="235170"/>
          </a:xfrm>
          <a:prstGeom prst="straightConnector1">
            <a:avLst/>
          </a:prstGeom>
          <a:ln w="19050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Conector de seta reta 93"/>
          <p:cNvCxnSpPr>
            <a:stCxn id="49" idx="3"/>
          </p:cNvCxnSpPr>
          <p:nvPr/>
        </p:nvCxnSpPr>
        <p:spPr>
          <a:xfrm flipV="1">
            <a:off x="3651111" y="3233936"/>
            <a:ext cx="1478337" cy="296711"/>
          </a:xfrm>
          <a:prstGeom prst="straightConnector1">
            <a:avLst/>
          </a:prstGeom>
          <a:ln w="19050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Conector de seta reta 102"/>
          <p:cNvCxnSpPr>
            <a:stCxn id="47" idx="3"/>
          </p:cNvCxnSpPr>
          <p:nvPr/>
        </p:nvCxnSpPr>
        <p:spPr>
          <a:xfrm flipV="1">
            <a:off x="3651111" y="3456198"/>
            <a:ext cx="1478337" cy="827243"/>
          </a:xfrm>
          <a:prstGeom prst="straightConnector1">
            <a:avLst/>
          </a:prstGeom>
          <a:ln w="19050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5" name="Conector de seta reta 104"/>
          <p:cNvCxnSpPr>
            <a:stCxn id="64" idx="3"/>
          </p:cNvCxnSpPr>
          <p:nvPr/>
        </p:nvCxnSpPr>
        <p:spPr>
          <a:xfrm flipV="1">
            <a:off x="3651111" y="3737019"/>
            <a:ext cx="1478337" cy="1299217"/>
          </a:xfrm>
          <a:prstGeom prst="straightConnector1">
            <a:avLst/>
          </a:prstGeom>
          <a:ln w="19050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4" name="Conector de seta reta 113"/>
          <p:cNvCxnSpPr/>
          <p:nvPr/>
        </p:nvCxnSpPr>
        <p:spPr>
          <a:xfrm>
            <a:off x="6234283" y="3235875"/>
            <a:ext cx="777582" cy="220324"/>
          </a:xfrm>
          <a:prstGeom prst="straightConnector1">
            <a:avLst/>
          </a:prstGeom>
          <a:ln w="19050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5" name="Conector de seta reta 114"/>
          <p:cNvCxnSpPr/>
          <p:nvPr/>
        </p:nvCxnSpPr>
        <p:spPr>
          <a:xfrm flipV="1">
            <a:off x="6219721" y="4283441"/>
            <a:ext cx="792144" cy="258734"/>
          </a:xfrm>
          <a:prstGeom prst="straightConnector1">
            <a:avLst/>
          </a:prstGeom>
          <a:ln w="19050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ector de seta reta 117"/>
          <p:cNvCxnSpPr/>
          <p:nvPr/>
        </p:nvCxnSpPr>
        <p:spPr>
          <a:xfrm>
            <a:off x="7737848" y="4156570"/>
            <a:ext cx="622135" cy="392915"/>
          </a:xfrm>
          <a:prstGeom prst="straightConnector1">
            <a:avLst/>
          </a:prstGeom>
          <a:ln w="19050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1" name="Conector de seta reta 120"/>
          <p:cNvCxnSpPr/>
          <p:nvPr/>
        </p:nvCxnSpPr>
        <p:spPr>
          <a:xfrm flipH="1">
            <a:off x="7736356" y="3145980"/>
            <a:ext cx="607928" cy="352833"/>
          </a:xfrm>
          <a:prstGeom prst="straightConnector1">
            <a:avLst/>
          </a:prstGeom>
          <a:ln w="19050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88" name="Picture 2" descr="G:\OI\GER\04-ARQ\02-Proj\02.Em execução\2017.05-Roadmap Digital\e-Care\Database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31463" y="4212907"/>
            <a:ext cx="536269" cy="676397"/>
          </a:xfrm>
          <a:prstGeom prst="rect">
            <a:avLst/>
          </a:prstGeom>
          <a:solidFill>
            <a:schemeClr val="bg1"/>
          </a:solidFill>
          <a:extLst/>
        </p:spPr>
      </p:pic>
      <p:sp>
        <p:nvSpPr>
          <p:cNvPr id="30" name="Botão de ação: Voltar ou Anterior 29">
            <a:hlinkClick r:id="rId5" action="ppaction://hlinksldjump" highlightClick="1"/>
          </p:cNvPr>
          <p:cNvSpPr/>
          <p:nvPr/>
        </p:nvSpPr>
        <p:spPr>
          <a:xfrm>
            <a:off x="11337136" y="6168168"/>
            <a:ext cx="368489" cy="368490"/>
          </a:xfrm>
          <a:prstGeom prst="actionButtonBackPrevious">
            <a:avLst/>
          </a:prstGeom>
          <a:ln>
            <a:solidFill>
              <a:schemeClr val="tx2"/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pt-BR" sz="1400" dirty="0" smtClean="0"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96663583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584272" y="283591"/>
            <a:ext cx="10725160" cy="405646"/>
          </a:xfrm>
        </p:spPr>
        <p:txBody>
          <a:bodyPr vert="horz" lIns="0" tIns="0" rIns="0" bIns="0" rtlCol="0" anchor="t">
            <a:noAutofit/>
          </a:bodyPr>
          <a:lstStyle/>
          <a:p>
            <a:r>
              <a:rPr lang="pt-BR" sz="2800" dirty="0" smtClean="0">
                <a:solidFill>
                  <a:srgbClr val="A02BFF"/>
                </a:solidFill>
                <a:latin typeface="Simplon Oi Headline" pitchFamily="2" charset="0"/>
              </a:rPr>
              <a:t>Batimento CONTA ON-LINE – </a:t>
            </a:r>
            <a:r>
              <a:rPr lang="pt-BR" sz="2800" u="sng" dirty="0" smtClean="0">
                <a:solidFill>
                  <a:srgbClr val="A02BFF"/>
                </a:solidFill>
                <a:latin typeface="Simplon Oi Headline" pitchFamily="2" charset="0"/>
              </a:rPr>
              <a:t>solução manual</a:t>
            </a:r>
            <a:endParaRPr lang="pt-BR" sz="2800" u="sng" dirty="0">
              <a:solidFill>
                <a:srgbClr val="A02BFF"/>
              </a:solidFill>
            </a:endParaRPr>
          </a:p>
        </p:txBody>
      </p:sp>
      <p:sp>
        <p:nvSpPr>
          <p:cNvPr id="55" name="Footer Placeholder 1"/>
          <p:cNvSpPr txBox="1">
            <a:spLocks/>
          </p:cNvSpPr>
          <p:nvPr/>
        </p:nvSpPr>
        <p:spPr>
          <a:xfrm>
            <a:off x="475088" y="33411"/>
            <a:ext cx="10176095" cy="282264"/>
          </a:xfrm>
          <a:prstGeom prst="rect">
            <a:avLst/>
          </a:prstGeom>
        </p:spPr>
        <p:txBody>
          <a:bodyPr vert="horz" lIns="119408" tIns="59702" rIns="119408" bIns="59702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2"/>
                </a:solidFill>
                <a:latin typeface="Simplon BP Regular"/>
                <a:ea typeface="+mn-ea"/>
                <a:cs typeface="Simplon BP Regular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pt-BR" sz="1600" b="1" dirty="0" smtClean="0">
                <a:solidFill>
                  <a:srgbClr val="4D4E50"/>
                </a:solidFill>
              </a:rPr>
              <a:t>COORDENAÇÃO OPERACIONAL DIGITAL</a:t>
            </a:r>
            <a:endParaRPr lang="pt-BR" sz="1600" b="1" dirty="0">
              <a:solidFill>
                <a:srgbClr val="4D4E50"/>
              </a:solidFill>
            </a:endParaRPr>
          </a:p>
        </p:txBody>
      </p:sp>
      <p:grpSp>
        <p:nvGrpSpPr>
          <p:cNvPr id="12" name="Grupo 11"/>
          <p:cNvGrpSpPr/>
          <p:nvPr/>
        </p:nvGrpSpPr>
        <p:grpSpPr>
          <a:xfrm>
            <a:off x="253341" y="887104"/>
            <a:ext cx="11553176" cy="1803623"/>
            <a:chOff x="253341" y="3166791"/>
            <a:chExt cx="11553176" cy="1660703"/>
          </a:xfrm>
        </p:grpSpPr>
        <p:sp>
          <p:nvSpPr>
            <p:cNvPr id="7" name="Forma livre 6"/>
            <p:cNvSpPr/>
            <p:nvPr/>
          </p:nvSpPr>
          <p:spPr>
            <a:xfrm>
              <a:off x="2667616" y="3201996"/>
              <a:ext cx="9138901" cy="1590293"/>
            </a:xfrm>
            <a:custGeom>
              <a:avLst/>
              <a:gdLst>
                <a:gd name="connsiteX0" fmla="*/ 265054 w 1590292"/>
                <a:gd name="connsiteY0" fmla="*/ 0 h 8751735"/>
                <a:gd name="connsiteX1" fmla="*/ 1325238 w 1590292"/>
                <a:gd name="connsiteY1" fmla="*/ 0 h 8751735"/>
                <a:gd name="connsiteX2" fmla="*/ 1590292 w 1590292"/>
                <a:gd name="connsiteY2" fmla="*/ 265054 h 8751735"/>
                <a:gd name="connsiteX3" fmla="*/ 1590292 w 1590292"/>
                <a:gd name="connsiteY3" fmla="*/ 8751735 h 8751735"/>
                <a:gd name="connsiteX4" fmla="*/ 1590292 w 1590292"/>
                <a:gd name="connsiteY4" fmla="*/ 8751735 h 8751735"/>
                <a:gd name="connsiteX5" fmla="*/ 0 w 1590292"/>
                <a:gd name="connsiteY5" fmla="*/ 8751735 h 8751735"/>
                <a:gd name="connsiteX6" fmla="*/ 0 w 1590292"/>
                <a:gd name="connsiteY6" fmla="*/ 8751735 h 8751735"/>
                <a:gd name="connsiteX7" fmla="*/ 0 w 1590292"/>
                <a:gd name="connsiteY7" fmla="*/ 265054 h 8751735"/>
                <a:gd name="connsiteX8" fmla="*/ 265054 w 1590292"/>
                <a:gd name="connsiteY8" fmla="*/ 0 h 87517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590292" h="8751735">
                  <a:moveTo>
                    <a:pt x="1590292" y="1458654"/>
                  </a:moveTo>
                  <a:lnTo>
                    <a:pt x="1590292" y="7293081"/>
                  </a:lnTo>
                  <a:cubicBezTo>
                    <a:pt x="1590292" y="8098670"/>
                    <a:pt x="1568728" y="8751732"/>
                    <a:pt x="1542129" y="8751732"/>
                  </a:cubicBezTo>
                  <a:lnTo>
                    <a:pt x="0" y="8751732"/>
                  </a:lnTo>
                  <a:lnTo>
                    <a:pt x="0" y="8751732"/>
                  </a:lnTo>
                  <a:lnTo>
                    <a:pt x="0" y="3"/>
                  </a:lnTo>
                  <a:lnTo>
                    <a:pt x="0" y="3"/>
                  </a:lnTo>
                  <a:lnTo>
                    <a:pt x="1542129" y="3"/>
                  </a:lnTo>
                  <a:cubicBezTo>
                    <a:pt x="1568728" y="3"/>
                    <a:pt x="1590292" y="653065"/>
                    <a:pt x="1590292" y="1458654"/>
                  </a:cubicBezTo>
                  <a:close/>
                </a:path>
              </a:pathLst>
            </a:custGeom>
            <a:solidFill>
              <a:schemeClr val="bg1">
                <a:lumMod val="95000"/>
                <a:alpha val="90000"/>
              </a:schemeClr>
            </a:solidFill>
            <a:ln>
              <a:noFill/>
            </a:ln>
          </p:spPr>
          <p:style>
            <a:lnRef idx="2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247651" tIns="201457" rIns="325282" bIns="201458" numCol="1" spcCol="1270" anchor="ctr" anchorCtr="0">
              <a:noAutofit/>
            </a:bodyPr>
            <a:lstStyle/>
            <a:p>
              <a:pPr marL="171450" lvl="1" indent="-171450" algn="l" defTabSz="711200">
                <a:lnSpc>
                  <a:spcPct val="90000"/>
                </a:lnSpc>
                <a:spcBef>
                  <a:spcPct val="0"/>
                </a:spcBef>
                <a:spcAft>
                  <a:spcPts val="600"/>
                </a:spcAft>
                <a:buChar char="••"/>
              </a:pPr>
              <a:r>
                <a:rPr lang="pt-BR" b="1" kern="1200" dirty="0" smtClean="0">
                  <a:latin typeface="Simplon BP Regular" pitchFamily="2" charset="0"/>
                </a:rPr>
                <a:t>Projetos: </a:t>
              </a:r>
              <a:r>
                <a:rPr lang="pt-BR" kern="1200" dirty="0" smtClean="0">
                  <a:latin typeface="Simplon BP Regular" pitchFamily="2" charset="0"/>
                </a:rPr>
                <a:t>PRJ 27117 (Extração CDI) e PRJ 27120 (Extração Siebel) – </a:t>
              </a:r>
              <a:r>
                <a:rPr lang="pt-BR" b="1" i="1" kern="1200" dirty="0" smtClean="0">
                  <a:latin typeface="Simplon BP Regular" pitchFamily="2" charset="0"/>
                </a:rPr>
                <a:t>Estes projetos consideram apenas dados para batimento de Conta On-line</a:t>
              </a:r>
              <a:endParaRPr lang="pt-BR" b="1" i="1" kern="1200" dirty="0">
                <a:latin typeface="Simplon BP Regular" pitchFamily="2" charset="0"/>
              </a:endParaRPr>
            </a:p>
            <a:p>
              <a:pPr marL="171450" lvl="1" indent="-171450" algn="l" defTabSz="711200">
                <a:lnSpc>
                  <a:spcPct val="90000"/>
                </a:lnSpc>
                <a:spcBef>
                  <a:spcPct val="0"/>
                </a:spcBef>
                <a:spcAft>
                  <a:spcPts val="600"/>
                </a:spcAft>
                <a:buChar char="••"/>
              </a:pPr>
              <a:r>
                <a:rPr lang="pt-BR" b="1" kern="1200" dirty="0" smtClean="0">
                  <a:latin typeface="Simplon BP Regular" pitchFamily="2" charset="0"/>
                </a:rPr>
                <a:t>Líder:       </a:t>
              </a:r>
              <a:r>
                <a:rPr lang="pt-BR" kern="1200" dirty="0" smtClean="0">
                  <a:latin typeface="Simplon BP Regular" pitchFamily="2" charset="0"/>
                </a:rPr>
                <a:t>Guilherme Dias</a:t>
              </a:r>
            </a:p>
            <a:p>
              <a:pPr marL="171450" lvl="1" indent="-171450" algn="l" defTabSz="711200">
                <a:lnSpc>
                  <a:spcPct val="90000"/>
                </a:lnSpc>
                <a:spcBef>
                  <a:spcPct val="0"/>
                </a:spcBef>
                <a:spcAft>
                  <a:spcPts val="600"/>
                </a:spcAft>
                <a:buChar char="••"/>
              </a:pPr>
              <a:r>
                <a:rPr lang="pt-BR" b="1" kern="1200" dirty="0" smtClean="0">
                  <a:latin typeface="Simplon BP Regular" pitchFamily="2" charset="0"/>
                </a:rPr>
                <a:t>Cruzamentos:</a:t>
              </a:r>
              <a:r>
                <a:rPr lang="pt-BR" kern="1200" dirty="0" smtClean="0">
                  <a:latin typeface="Simplon BP Regular" pitchFamily="2" charset="0"/>
                </a:rPr>
                <a:t> CPF(s) e Conta Fatura</a:t>
              </a:r>
              <a:endParaRPr lang="pt-BR" kern="1200" dirty="0">
                <a:latin typeface="Simplon BP Regular" pitchFamily="2" charset="0"/>
              </a:endParaRPr>
            </a:p>
            <a:p>
              <a:pPr marL="171450" lvl="1" indent="-171450" algn="l" defTabSz="711200">
                <a:lnSpc>
                  <a:spcPct val="90000"/>
                </a:lnSpc>
                <a:spcBef>
                  <a:spcPct val="0"/>
                </a:spcBef>
                <a:spcAft>
                  <a:spcPts val="600"/>
                </a:spcAft>
                <a:buChar char="••"/>
              </a:pPr>
              <a:r>
                <a:rPr lang="pt-BR" b="1" kern="1200" dirty="0" smtClean="0">
                  <a:solidFill>
                    <a:srgbClr val="0066CC"/>
                  </a:solidFill>
                  <a:latin typeface="Simplon BP Regular" pitchFamily="2" charset="0"/>
                </a:rPr>
                <a:t>Previsão: </a:t>
              </a:r>
              <a:r>
                <a:rPr lang="pt-BR" kern="1200" dirty="0" smtClean="0">
                  <a:solidFill>
                    <a:srgbClr val="0066CC"/>
                  </a:solidFill>
                  <a:latin typeface="Simplon BP Regular" pitchFamily="2" charset="0"/>
                </a:rPr>
                <a:t>22/01</a:t>
              </a:r>
            </a:p>
          </p:txBody>
        </p:sp>
        <p:sp>
          <p:nvSpPr>
            <p:cNvPr id="8" name="Forma livre 7"/>
            <p:cNvSpPr/>
            <p:nvPr/>
          </p:nvSpPr>
          <p:spPr>
            <a:xfrm>
              <a:off x="253341" y="3166791"/>
              <a:ext cx="2438669" cy="1660703"/>
            </a:xfrm>
            <a:custGeom>
              <a:avLst/>
              <a:gdLst>
                <a:gd name="connsiteX0" fmla="*/ 0 w 2438669"/>
                <a:gd name="connsiteY0" fmla="*/ 276437 h 1658587"/>
                <a:gd name="connsiteX1" fmla="*/ 276437 w 2438669"/>
                <a:gd name="connsiteY1" fmla="*/ 0 h 1658587"/>
                <a:gd name="connsiteX2" fmla="*/ 2162232 w 2438669"/>
                <a:gd name="connsiteY2" fmla="*/ 0 h 1658587"/>
                <a:gd name="connsiteX3" fmla="*/ 2438669 w 2438669"/>
                <a:gd name="connsiteY3" fmla="*/ 276437 h 1658587"/>
                <a:gd name="connsiteX4" fmla="*/ 2438669 w 2438669"/>
                <a:gd name="connsiteY4" fmla="*/ 1382150 h 1658587"/>
                <a:gd name="connsiteX5" fmla="*/ 2162232 w 2438669"/>
                <a:gd name="connsiteY5" fmla="*/ 1658587 h 1658587"/>
                <a:gd name="connsiteX6" fmla="*/ 276437 w 2438669"/>
                <a:gd name="connsiteY6" fmla="*/ 1658587 h 1658587"/>
                <a:gd name="connsiteX7" fmla="*/ 0 w 2438669"/>
                <a:gd name="connsiteY7" fmla="*/ 1382150 h 1658587"/>
                <a:gd name="connsiteX8" fmla="*/ 0 w 2438669"/>
                <a:gd name="connsiteY8" fmla="*/ 276437 h 16585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438669" h="1658587">
                  <a:moveTo>
                    <a:pt x="0" y="276437"/>
                  </a:moveTo>
                  <a:cubicBezTo>
                    <a:pt x="0" y="123765"/>
                    <a:pt x="123765" y="0"/>
                    <a:pt x="276437" y="0"/>
                  </a:cubicBezTo>
                  <a:lnTo>
                    <a:pt x="2162232" y="0"/>
                  </a:lnTo>
                  <a:cubicBezTo>
                    <a:pt x="2314904" y="0"/>
                    <a:pt x="2438669" y="123765"/>
                    <a:pt x="2438669" y="276437"/>
                  </a:cubicBezTo>
                  <a:lnTo>
                    <a:pt x="2438669" y="1382150"/>
                  </a:lnTo>
                  <a:cubicBezTo>
                    <a:pt x="2438669" y="1534822"/>
                    <a:pt x="2314904" y="1658587"/>
                    <a:pt x="2162232" y="1658587"/>
                  </a:cubicBezTo>
                  <a:lnTo>
                    <a:pt x="276437" y="1658587"/>
                  </a:lnTo>
                  <a:cubicBezTo>
                    <a:pt x="123765" y="1658587"/>
                    <a:pt x="0" y="1534822"/>
                    <a:pt x="0" y="1382150"/>
                  </a:cubicBezTo>
                  <a:lnTo>
                    <a:pt x="0" y="276437"/>
                  </a:lnTo>
                  <a:close/>
                </a:path>
              </a:pathLst>
            </a:cu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72406" tIns="126686" rIns="172406" bIns="126686" numCol="1" spcCol="1270" anchor="ctr" anchorCtr="0">
              <a:noAutofit/>
            </a:bodyPr>
            <a:lstStyle/>
            <a:p>
              <a:pPr lvl="0" algn="ctr" defTabSz="10668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pt-BR" sz="2400" kern="1200" dirty="0" smtClean="0">
                  <a:latin typeface="Simplon BP Regular" pitchFamily="2" charset="0"/>
                </a:rPr>
                <a:t>Batimento </a:t>
              </a:r>
            </a:p>
            <a:p>
              <a:pPr lvl="0" algn="ctr" defTabSz="10668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pt-BR" sz="2400" kern="1200" dirty="0" smtClean="0">
                  <a:latin typeface="Simplon BP Regular" pitchFamily="2" charset="0"/>
                </a:rPr>
                <a:t>CRM Siebel 6.3 X CDI</a:t>
              </a:r>
              <a:endParaRPr lang="pt-BR" sz="2400" kern="1200" dirty="0">
                <a:latin typeface="Simplon BP Regular" pitchFamily="2" charset="0"/>
              </a:endParaRPr>
            </a:p>
          </p:txBody>
        </p:sp>
      </p:grpSp>
      <p:grpSp>
        <p:nvGrpSpPr>
          <p:cNvPr id="13" name="Grupo 12"/>
          <p:cNvGrpSpPr/>
          <p:nvPr/>
        </p:nvGrpSpPr>
        <p:grpSpPr>
          <a:xfrm>
            <a:off x="253341" y="2881386"/>
            <a:ext cx="11571106" cy="1704252"/>
            <a:chOff x="253341" y="4959727"/>
            <a:chExt cx="11571106" cy="1660703"/>
          </a:xfrm>
        </p:grpSpPr>
        <p:sp>
          <p:nvSpPr>
            <p:cNvPr id="10" name="Forma livre 9"/>
            <p:cNvSpPr/>
            <p:nvPr/>
          </p:nvSpPr>
          <p:spPr>
            <a:xfrm>
              <a:off x="2685546" y="4994932"/>
              <a:ext cx="9138901" cy="1590293"/>
            </a:xfrm>
            <a:custGeom>
              <a:avLst/>
              <a:gdLst>
                <a:gd name="connsiteX0" fmla="*/ 265054 w 1590292"/>
                <a:gd name="connsiteY0" fmla="*/ 0 h 8751735"/>
                <a:gd name="connsiteX1" fmla="*/ 1325238 w 1590292"/>
                <a:gd name="connsiteY1" fmla="*/ 0 h 8751735"/>
                <a:gd name="connsiteX2" fmla="*/ 1590292 w 1590292"/>
                <a:gd name="connsiteY2" fmla="*/ 265054 h 8751735"/>
                <a:gd name="connsiteX3" fmla="*/ 1590292 w 1590292"/>
                <a:gd name="connsiteY3" fmla="*/ 8751735 h 8751735"/>
                <a:gd name="connsiteX4" fmla="*/ 1590292 w 1590292"/>
                <a:gd name="connsiteY4" fmla="*/ 8751735 h 8751735"/>
                <a:gd name="connsiteX5" fmla="*/ 0 w 1590292"/>
                <a:gd name="connsiteY5" fmla="*/ 8751735 h 8751735"/>
                <a:gd name="connsiteX6" fmla="*/ 0 w 1590292"/>
                <a:gd name="connsiteY6" fmla="*/ 8751735 h 8751735"/>
                <a:gd name="connsiteX7" fmla="*/ 0 w 1590292"/>
                <a:gd name="connsiteY7" fmla="*/ 265054 h 8751735"/>
                <a:gd name="connsiteX8" fmla="*/ 265054 w 1590292"/>
                <a:gd name="connsiteY8" fmla="*/ 0 h 87517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590292" h="8751735">
                  <a:moveTo>
                    <a:pt x="1590292" y="1458654"/>
                  </a:moveTo>
                  <a:lnTo>
                    <a:pt x="1590292" y="7293081"/>
                  </a:lnTo>
                  <a:cubicBezTo>
                    <a:pt x="1590292" y="8098670"/>
                    <a:pt x="1568728" y="8751732"/>
                    <a:pt x="1542129" y="8751732"/>
                  </a:cubicBezTo>
                  <a:lnTo>
                    <a:pt x="0" y="8751732"/>
                  </a:lnTo>
                  <a:lnTo>
                    <a:pt x="0" y="8751732"/>
                  </a:lnTo>
                  <a:lnTo>
                    <a:pt x="0" y="3"/>
                  </a:lnTo>
                  <a:lnTo>
                    <a:pt x="0" y="3"/>
                  </a:lnTo>
                  <a:lnTo>
                    <a:pt x="1542129" y="3"/>
                  </a:lnTo>
                  <a:cubicBezTo>
                    <a:pt x="1568728" y="3"/>
                    <a:pt x="1590292" y="653065"/>
                    <a:pt x="1590292" y="1458654"/>
                  </a:cubicBezTo>
                  <a:close/>
                </a:path>
              </a:pathLst>
            </a:custGeom>
            <a:solidFill>
              <a:schemeClr val="bg1">
                <a:lumMod val="95000"/>
                <a:alpha val="90000"/>
              </a:schemeClr>
            </a:solidFill>
            <a:ln>
              <a:noFill/>
            </a:ln>
          </p:spPr>
          <p:style>
            <a:lnRef idx="2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247651" tIns="201457" rIns="325282" bIns="201458" numCol="1" spcCol="1270" anchor="ctr" anchorCtr="0">
              <a:noAutofit/>
            </a:bodyPr>
            <a:lstStyle/>
            <a:p>
              <a:pPr marL="171450" lvl="1" indent="-171450" defTabSz="711200">
                <a:lnSpc>
                  <a:spcPct val="90000"/>
                </a:lnSpc>
                <a:spcAft>
                  <a:spcPts val="600"/>
                </a:spcAft>
                <a:buFontTx/>
                <a:buChar char="••"/>
              </a:pPr>
              <a:r>
                <a:rPr lang="pt-BR" b="1" kern="1200" dirty="0" smtClean="0">
                  <a:latin typeface="Simplon BP Regular" pitchFamily="2" charset="0"/>
                </a:rPr>
                <a:t>Projetos: </a:t>
              </a:r>
              <a:r>
                <a:rPr lang="pt-BR" kern="1200" dirty="0" smtClean="0">
                  <a:latin typeface="Simplon BP Regular" pitchFamily="2" charset="0"/>
                </a:rPr>
                <a:t>PRJ </a:t>
              </a:r>
              <a:r>
                <a:rPr lang="pt-BR" dirty="0">
                  <a:latin typeface="Simplon BP Regular" pitchFamily="2" charset="0"/>
                </a:rPr>
                <a:t>27997 </a:t>
              </a:r>
              <a:r>
                <a:rPr lang="pt-BR" kern="1200" dirty="0" smtClean="0">
                  <a:latin typeface="Simplon BP Regular" pitchFamily="2" charset="0"/>
                </a:rPr>
                <a:t>(Extração STC), PRJ </a:t>
              </a:r>
              <a:r>
                <a:rPr lang="pt-BR" dirty="0">
                  <a:latin typeface="Simplon BP Regular" pitchFamily="2" charset="0"/>
                </a:rPr>
                <a:t>28002 </a:t>
              </a:r>
              <a:r>
                <a:rPr lang="pt-BR" kern="1200" dirty="0" smtClean="0">
                  <a:latin typeface="Simplon BP Regular" pitchFamily="2" charset="0"/>
                </a:rPr>
                <a:t>(Extração </a:t>
              </a:r>
              <a:r>
                <a:rPr lang="pt-BR" dirty="0">
                  <a:latin typeface="Simplon BP Regular" pitchFamily="2" charset="0"/>
                </a:rPr>
                <a:t>SINN) e PRJ </a:t>
              </a:r>
              <a:r>
                <a:rPr lang="pt-BR" dirty="0" smtClean="0">
                  <a:latin typeface="Simplon BP Regular" pitchFamily="2" charset="0"/>
                </a:rPr>
                <a:t>28007 (SAC) - </a:t>
              </a:r>
              <a:r>
                <a:rPr lang="pt-BR" b="1" i="1" dirty="0">
                  <a:latin typeface="Simplon BP Regular" pitchFamily="2" charset="0"/>
                </a:rPr>
                <a:t>Estes projetos consideram apenas dados para batimento de Conta </a:t>
              </a:r>
              <a:r>
                <a:rPr lang="pt-BR" b="1" i="1" dirty="0" smtClean="0">
                  <a:latin typeface="Simplon BP Regular" pitchFamily="2" charset="0"/>
                </a:rPr>
                <a:t>On-line</a:t>
              </a:r>
              <a:endParaRPr lang="pt-BR" b="1" i="1" kern="1200" dirty="0">
                <a:latin typeface="Simplon BP Regular" pitchFamily="2" charset="0"/>
              </a:endParaRPr>
            </a:p>
            <a:p>
              <a:pPr marL="171450" lvl="1" indent="-171450" algn="l" defTabSz="711200">
                <a:lnSpc>
                  <a:spcPct val="90000"/>
                </a:lnSpc>
                <a:spcBef>
                  <a:spcPct val="0"/>
                </a:spcBef>
                <a:spcAft>
                  <a:spcPts val="600"/>
                </a:spcAft>
                <a:buChar char="••"/>
              </a:pPr>
              <a:r>
                <a:rPr lang="pt-BR" b="1" kern="1200" dirty="0" smtClean="0">
                  <a:latin typeface="Simplon BP Regular" pitchFamily="2" charset="0"/>
                </a:rPr>
                <a:t>Líder:       </a:t>
              </a:r>
              <a:r>
                <a:rPr lang="pt-BR" kern="1200" dirty="0" smtClean="0">
                  <a:latin typeface="Simplon BP Regular" pitchFamily="2" charset="0"/>
                </a:rPr>
                <a:t>Marcel Barreto</a:t>
              </a:r>
            </a:p>
            <a:p>
              <a:pPr marL="171450" lvl="1" indent="-171450" defTabSz="711200">
                <a:lnSpc>
                  <a:spcPct val="90000"/>
                </a:lnSpc>
                <a:spcAft>
                  <a:spcPts val="600"/>
                </a:spcAft>
                <a:buFontTx/>
                <a:buChar char="••"/>
              </a:pPr>
              <a:r>
                <a:rPr lang="pt-BR" b="1" kern="1200" dirty="0" smtClean="0">
                  <a:latin typeface="Simplon BP Regular" pitchFamily="2" charset="0"/>
                </a:rPr>
                <a:t>Cruzamentos:</a:t>
              </a:r>
              <a:r>
                <a:rPr lang="pt-BR" kern="1200" dirty="0" smtClean="0">
                  <a:latin typeface="Simplon BP Regular" pitchFamily="2" charset="0"/>
                </a:rPr>
                <a:t> </a:t>
              </a:r>
              <a:r>
                <a:rPr lang="pt-BR" dirty="0">
                  <a:latin typeface="Simplon BP Regular" pitchFamily="2" charset="0"/>
                </a:rPr>
                <a:t>CPF(s) e Conta </a:t>
              </a:r>
              <a:r>
                <a:rPr lang="pt-BR" dirty="0" smtClean="0">
                  <a:latin typeface="Simplon BP Regular" pitchFamily="2" charset="0"/>
                </a:rPr>
                <a:t>Fatura</a:t>
              </a:r>
              <a:endParaRPr lang="pt-BR" kern="1200" dirty="0">
                <a:latin typeface="Simplon BP Regular" pitchFamily="2" charset="0"/>
              </a:endParaRPr>
            </a:p>
            <a:p>
              <a:pPr marL="171450" lvl="1" indent="-171450" algn="l" defTabSz="711200">
                <a:lnSpc>
                  <a:spcPct val="90000"/>
                </a:lnSpc>
                <a:spcBef>
                  <a:spcPct val="0"/>
                </a:spcBef>
                <a:spcAft>
                  <a:spcPts val="600"/>
                </a:spcAft>
                <a:buChar char="••"/>
              </a:pPr>
              <a:r>
                <a:rPr lang="pt-BR" b="1" kern="1200" dirty="0" smtClean="0">
                  <a:solidFill>
                    <a:schemeClr val="tx1"/>
                  </a:solidFill>
                  <a:latin typeface="Simplon BP Regular" pitchFamily="2" charset="0"/>
                </a:rPr>
                <a:t>Próximos passos: </a:t>
              </a:r>
              <a:r>
                <a:rPr lang="pt-BR" dirty="0" smtClean="0">
                  <a:solidFill>
                    <a:schemeClr val="tx1"/>
                  </a:solidFill>
                  <a:latin typeface="Simplon BP Regular" pitchFamily="2" charset="0"/>
                </a:rPr>
                <a:t>Alocação de RT para definição de macro estimativa</a:t>
              </a:r>
              <a:endParaRPr lang="pt-BR" kern="1200" dirty="0">
                <a:solidFill>
                  <a:srgbClr val="FF0000"/>
                </a:solidFill>
                <a:latin typeface="Simplon BP Regular" pitchFamily="2" charset="0"/>
              </a:endParaRPr>
            </a:p>
          </p:txBody>
        </p:sp>
        <p:sp>
          <p:nvSpPr>
            <p:cNvPr id="11" name="Forma livre 10"/>
            <p:cNvSpPr/>
            <p:nvPr/>
          </p:nvSpPr>
          <p:spPr>
            <a:xfrm>
              <a:off x="253341" y="4959727"/>
              <a:ext cx="2438669" cy="1660703"/>
            </a:xfrm>
            <a:custGeom>
              <a:avLst/>
              <a:gdLst>
                <a:gd name="connsiteX0" fmla="*/ 0 w 2438669"/>
                <a:gd name="connsiteY0" fmla="*/ 276437 h 1658587"/>
                <a:gd name="connsiteX1" fmla="*/ 276437 w 2438669"/>
                <a:gd name="connsiteY1" fmla="*/ 0 h 1658587"/>
                <a:gd name="connsiteX2" fmla="*/ 2162232 w 2438669"/>
                <a:gd name="connsiteY2" fmla="*/ 0 h 1658587"/>
                <a:gd name="connsiteX3" fmla="*/ 2438669 w 2438669"/>
                <a:gd name="connsiteY3" fmla="*/ 276437 h 1658587"/>
                <a:gd name="connsiteX4" fmla="*/ 2438669 w 2438669"/>
                <a:gd name="connsiteY4" fmla="*/ 1382150 h 1658587"/>
                <a:gd name="connsiteX5" fmla="*/ 2162232 w 2438669"/>
                <a:gd name="connsiteY5" fmla="*/ 1658587 h 1658587"/>
                <a:gd name="connsiteX6" fmla="*/ 276437 w 2438669"/>
                <a:gd name="connsiteY6" fmla="*/ 1658587 h 1658587"/>
                <a:gd name="connsiteX7" fmla="*/ 0 w 2438669"/>
                <a:gd name="connsiteY7" fmla="*/ 1382150 h 1658587"/>
                <a:gd name="connsiteX8" fmla="*/ 0 w 2438669"/>
                <a:gd name="connsiteY8" fmla="*/ 276437 h 16585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438669" h="1658587">
                  <a:moveTo>
                    <a:pt x="0" y="276437"/>
                  </a:moveTo>
                  <a:cubicBezTo>
                    <a:pt x="0" y="123765"/>
                    <a:pt x="123765" y="0"/>
                    <a:pt x="276437" y="0"/>
                  </a:cubicBezTo>
                  <a:lnTo>
                    <a:pt x="2162232" y="0"/>
                  </a:lnTo>
                  <a:cubicBezTo>
                    <a:pt x="2314904" y="0"/>
                    <a:pt x="2438669" y="123765"/>
                    <a:pt x="2438669" y="276437"/>
                  </a:cubicBezTo>
                  <a:lnTo>
                    <a:pt x="2438669" y="1382150"/>
                  </a:lnTo>
                  <a:cubicBezTo>
                    <a:pt x="2438669" y="1534822"/>
                    <a:pt x="2314904" y="1658587"/>
                    <a:pt x="2162232" y="1658587"/>
                  </a:cubicBezTo>
                  <a:lnTo>
                    <a:pt x="276437" y="1658587"/>
                  </a:lnTo>
                  <a:cubicBezTo>
                    <a:pt x="123765" y="1658587"/>
                    <a:pt x="0" y="1534822"/>
                    <a:pt x="0" y="1382150"/>
                  </a:cubicBezTo>
                  <a:lnTo>
                    <a:pt x="0" y="276437"/>
                  </a:lnTo>
                  <a:close/>
                </a:path>
              </a:pathLst>
            </a:cu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72406" tIns="126686" rIns="172406" bIns="126686" numCol="1" spcCol="1270" anchor="ctr" anchorCtr="0">
              <a:noAutofit/>
            </a:bodyPr>
            <a:lstStyle/>
            <a:p>
              <a:pPr lvl="0" algn="ctr" defTabSz="10668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pt-BR" sz="2400" kern="1200" dirty="0" smtClean="0">
                  <a:latin typeface="Simplon BP Regular" pitchFamily="2" charset="0"/>
                </a:rPr>
                <a:t>Batimentos STC, SINN e SAC X CDI</a:t>
              </a:r>
              <a:endParaRPr lang="pt-BR" sz="2400" kern="1200" dirty="0">
                <a:latin typeface="Simplon BP Regular" pitchFamily="2" charset="0"/>
              </a:endParaRPr>
            </a:p>
          </p:txBody>
        </p:sp>
      </p:grpSp>
      <p:grpSp>
        <p:nvGrpSpPr>
          <p:cNvPr id="15" name="Grupo 14"/>
          <p:cNvGrpSpPr/>
          <p:nvPr/>
        </p:nvGrpSpPr>
        <p:grpSpPr>
          <a:xfrm>
            <a:off x="253341" y="4776297"/>
            <a:ext cx="11571106" cy="1704252"/>
            <a:chOff x="253341" y="4959727"/>
            <a:chExt cx="11571106" cy="1660703"/>
          </a:xfrm>
        </p:grpSpPr>
        <p:sp>
          <p:nvSpPr>
            <p:cNvPr id="16" name="Forma livre 15"/>
            <p:cNvSpPr/>
            <p:nvPr/>
          </p:nvSpPr>
          <p:spPr>
            <a:xfrm>
              <a:off x="2685546" y="4994932"/>
              <a:ext cx="9138901" cy="1590293"/>
            </a:xfrm>
            <a:custGeom>
              <a:avLst/>
              <a:gdLst>
                <a:gd name="connsiteX0" fmla="*/ 265054 w 1590292"/>
                <a:gd name="connsiteY0" fmla="*/ 0 h 8751735"/>
                <a:gd name="connsiteX1" fmla="*/ 1325238 w 1590292"/>
                <a:gd name="connsiteY1" fmla="*/ 0 h 8751735"/>
                <a:gd name="connsiteX2" fmla="*/ 1590292 w 1590292"/>
                <a:gd name="connsiteY2" fmla="*/ 265054 h 8751735"/>
                <a:gd name="connsiteX3" fmla="*/ 1590292 w 1590292"/>
                <a:gd name="connsiteY3" fmla="*/ 8751735 h 8751735"/>
                <a:gd name="connsiteX4" fmla="*/ 1590292 w 1590292"/>
                <a:gd name="connsiteY4" fmla="*/ 8751735 h 8751735"/>
                <a:gd name="connsiteX5" fmla="*/ 0 w 1590292"/>
                <a:gd name="connsiteY5" fmla="*/ 8751735 h 8751735"/>
                <a:gd name="connsiteX6" fmla="*/ 0 w 1590292"/>
                <a:gd name="connsiteY6" fmla="*/ 8751735 h 8751735"/>
                <a:gd name="connsiteX7" fmla="*/ 0 w 1590292"/>
                <a:gd name="connsiteY7" fmla="*/ 265054 h 8751735"/>
                <a:gd name="connsiteX8" fmla="*/ 265054 w 1590292"/>
                <a:gd name="connsiteY8" fmla="*/ 0 h 87517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590292" h="8751735">
                  <a:moveTo>
                    <a:pt x="1590292" y="1458654"/>
                  </a:moveTo>
                  <a:lnTo>
                    <a:pt x="1590292" y="7293081"/>
                  </a:lnTo>
                  <a:cubicBezTo>
                    <a:pt x="1590292" y="8098670"/>
                    <a:pt x="1568728" y="8751732"/>
                    <a:pt x="1542129" y="8751732"/>
                  </a:cubicBezTo>
                  <a:lnTo>
                    <a:pt x="0" y="8751732"/>
                  </a:lnTo>
                  <a:lnTo>
                    <a:pt x="0" y="8751732"/>
                  </a:lnTo>
                  <a:lnTo>
                    <a:pt x="0" y="3"/>
                  </a:lnTo>
                  <a:lnTo>
                    <a:pt x="0" y="3"/>
                  </a:lnTo>
                  <a:lnTo>
                    <a:pt x="1542129" y="3"/>
                  </a:lnTo>
                  <a:cubicBezTo>
                    <a:pt x="1568728" y="3"/>
                    <a:pt x="1590292" y="653065"/>
                    <a:pt x="1590292" y="1458654"/>
                  </a:cubicBezTo>
                  <a:close/>
                </a:path>
              </a:pathLst>
            </a:custGeom>
            <a:solidFill>
              <a:schemeClr val="bg1">
                <a:lumMod val="95000"/>
                <a:alpha val="90000"/>
              </a:schemeClr>
            </a:solidFill>
            <a:ln>
              <a:noFill/>
            </a:ln>
          </p:spPr>
          <p:style>
            <a:lnRef idx="2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247651" tIns="201457" rIns="325282" bIns="201458" numCol="1" spcCol="1270" anchor="ctr" anchorCtr="0">
              <a:noAutofit/>
            </a:bodyPr>
            <a:lstStyle/>
            <a:p>
              <a:pPr marL="171450" lvl="1" indent="-171450" defTabSz="711200">
                <a:lnSpc>
                  <a:spcPct val="90000"/>
                </a:lnSpc>
                <a:spcAft>
                  <a:spcPts val="600"/>
                </a:spcAft>
                <a:buChar char="••"/>
              </a:pPr>
              <a:r>
                <a:rPr lang="pt-BR" b="1" kern="1200" dirty="0" smtClean="0">
                  <a:latin typeface="Simplon BP Regular" pitchFamily="2" charset="0"/>
                </a:rPr>
                <a:t>Projetos: </a:t>
              </a:r>
              <a:r>
                <a:rPr lang="pt-BR" kern="1200" dirty="0" smtClean="0">
                  <a:latin typeface="Simplon BP Regular" pitchFamily="2" charset="0"/>
                </a:rPr>
                <a:t>Numa próxima onda serão abertos </a:t>
              </a:r>
              <a:r>
                <a:rPr lang="pt-BR" u="sng" kern="1200" dirty="0" smtClean="0">
                  <a:latin typeface="Simplon BP Regular" pitchFamily="2" charset="0"/>
                </a:rPr>
                <a:t>novos projetos</a:t>
              </a:r>
              <a:r>
                <a:rPr lang="pt-BR" kern="1200" dirty="0" smtClean="0">
                  <a:latin typeface="Simplon BP Regular" pitchFamily="2" charset="0"/>
                </a:rPr>
                <a:t> para extração de todos  os dados das bases dos </a:t>
              </a:r>
              <a:r>
                <a:rPr lang="pt-BR" kern="1200" dirty="0" err="1" smtClean="0">
                  <a:latin typeface="Simplon BP Regular" pitchFamily="2" charset="0"/>
                </a:rPr>
                <a:t>CRM’s</a:t>
              </a:r>
              <a:r>
                <a:rPr lang="pt-BR" kern="1200" dirty="0" smtClean="0">
                  <a:latin typeface="Simplon BP Regular" pitchFamily="2" charset="0"/>
                </a:rPr>
                <a:t> e CDI.</a:t>
              </a:r>
              <a:endParaRPr lang="pt-BR" kern="1200" dirty="0">
                <a:latin typeface="Simplon BP Regular" pitchFamily="2" charset="0"/>
              </a:endParaRPr>
            </a:p>
            <a:p>
              <a:pPr marL="171450" lvl="1" indent="-171450" algn="l" defTabSz="711200">
                <a:lnSpc>
                  <a:spcPct val="90000"/>
                </a:lnSpc>
                <a:spcBef>
                  <a:spcPct val="0"/>
                </a:spcBef>
                <a:spcAft>
                  <a:spcPts val="600"/>
                </a:spcAft>
                <a:buChar char="••"/>
              </a:pPr>
              <a:r>
                <a:rPr lang="pt-BR" b="1" kern="1200" dirty="0" smtClean="0">
                  <a:latin typeface="Simplon BP Regular" pitchFamily="2" charset="0"/>
                </a:rPr>
                <a:t>Líder:       </a:t>
              </a:r>
              <a:r>
                <a:rPr lang="pt-BR" kern="1200" dirty="0" smtClean="0">
                  <a:latin typeface="Simplon BP Regular" pitchFamily="2" charset="0"/>
                </a:rPr>
                <a:t>Marcel Barreto</a:t>
              </a:r>
            </a:p>
            <a:p>
              <a:pPr marL="171450" lvl="1" indent="-171450" algn="l" defTabSz="711200">
                <a:lnSpc>
                  <a:spcPct val="90000"/>
                </a:lnSpc>
                <a:spcBef>
                  <a:spcPct val="0"/>
                </a:spcBef>
                <a:spcAft>
                  <a:spcPts val="600"/>
                </a:spcAft>
                <a:buChar char="••"/>
              </a:pPr>
              <a:r>
                <a:rPr lang="pt-BR" b="1" kern="1200" dirty="0" smtClean="0">
                  <a:latin typeface="Simplon BP Regular" pitchFamily="2" charset="0"/>
                </a:rPr>
                <a:t>Cruzamentos:</a:t>
              </a:r>
              <a:r>
                <a:rPr lang="pt-BR" kern="1200" dirty="0" smtClean="0">
                  <a:latin typeface="Simplon BP Regular" pitchFamily="2" charset="0"/>
                </a:rPr>
                <a:t> CPF(s), Terminais Ativos e Planos</a:t>
              </a:r>
              <a:endParaRPr lang="pt-BR" kern="1200" dirty="0">
                <a:latin typeface="Simplon BP Regular" pitchFamily="2" charset="0"/>
              </a:endParaRPr>
            </a:p>
            <a:p>
              <a:pPr marL="171450" lvl="1" indent="-171450" algn="l" defTabSz="711200">
                <a:lnSpc>
                  <a:spcPct val="90000"/>
                </a:lnSpc>
                <a:spcBef>
                  <a:spcPct val="0"/>
                </a:spcBef>
                <a:spcAft>
                  <a:spcPts val="600"/>
                </a:spcAft>
                <a:buChar char="••"/>
              </a:pPr>
              <a:r>
                <a:rPr lang="pt-BR" b="1" kern="1200" dirty="0" smtClean="0">
                  <a:solidFill>
                    <a:schemeClr val="tx1"/>
                  </a:solidFill>
                  <a:latin typeface="Simplon BP Regular" pitchFamily="2" charset="0"/>
                </a:rPr>
                <a:t>Próximo passo:</a:t>
              </a:r>
              <a:r>
                <a:rPr lang="pt-BR" kern="1200" dirty="0" smtClean="0">
                  <a:solidFill>
                    <a:schemeClr val="tx1"/>
                  </a:solidFill>
                  <a:latin typeface="Simplon BP Regular" pitchFamily="2" charset="0"/>
                </a:rPr>
                <a:t> Abertura dos projetos para extração</a:t>
              </a:r>
              <a:endParaRPr lang="pt-BR" kern="1200" dirty="0">
                <a:solidFill>
                  <a:srgbClr val="FF0000"/>
                </a:solidFill>
                <a:latin typeface="Simplon BP Regular" pitchFamily="2" charset="0"/>
              </a:endParaRPr>
            </a:p>
          </p:txBody>
        </p:sp>
        <p:sp>
          <p:nvSpPr>
            <p:cNvPr id="17" name="Forma livre 16"/>
            <p:cNvSpPr/>
            <p:nvPr/>
          </p:nvSpPr>
          <p:spPr>
            <a:xfrm>
              <a:off x="253341" y="4959727"/>
              <a:ext cx="2438669" cy="1660703"/>
            </a:xfrm>
            <a:custGeom>
              <a:avLst/>
              <a:gdLst>
                <a:gd name="connsiteX0" fmla="*/ 0 w 2438669"/>
                <a:gd name="connsiteY0" fmla="*/ 276437 h 1658587"/>
                <a:gd name="connsiteX1" fmla="*/ 276437 w 2438669"/>
                <a:gd name="connsiteY1" fmla="*/ 0 h 1658587"/>
                <a:gd name="connsiteX2" fmla="*/ 2162232 w 2438669"/>
                <a:gd name="connsiteY2" fmla="*/ 0 h 1658587"/>
                <a:gd name="connsiteX3" fmla="*/ 2438669 w 2438669"/>
                <a:gd name="connsiteY3" fmla="*/ 276437 h 1658587"/>
                <a:gd name="connsiteX4" fmla="*/ 2438669 w 2438669"/>
                <a:gd name="connsiteY4" fmla="*/ 1382150 h 1658587"/>
                <a:gd name="connsiteX5" fmla="*/ 2162232 w 2438669"/>
                <a:gd name="connsiteY5" fmla="*/ 1658587 h 1658587"/>
                <a:gd name="connsiteX6" fmla="*/ 276437 w 2438669"/>
                <a:gd name="connsiteY6" fmla="*/ 1658587 h 1658587"/>
                <a:gd name="connsiteX7" fmla="*/ 0 w 2438669"/>
                <a:gd name="connsiteY7" fmla="*/ 1382150 h 1658587"/>
                <a:gd name="connsiteX8" fmla="*/ 0 w 2438669"/>
                <a:gd name="connsiteY8" fmla="*/ 276437 h 16585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438669" h="1658587">
                  <a:moveTo>
                    <a:pt x="0" y="276437"/>
                  </a:moveTo>
                  <a:cubicBezTo>
                    <a:pt x="0" y="123765"/>
                    <a:pt x="123765" y="0"/>
                    <a:pt x="276437" y="0"/>
                  </a:cubicBezTo>
                  <a:lnTo>
                    <a:pt x="2162232" y="0"/>
                  </a:lnTo>
                  <a:cubicBezTo>
                    <a:pt x="2314904" y="0"/>
                    <a:pt x="2438669" y="123765"/>
                    <a:pt x="2438669" y="276437"/>
                  </a:cubicBezTo>
                  <a:lnTo>
                    <a:pt x="2438669" y="1382150"/>
                  </a:lnTo>
                  <a:cubicBezTo>
                    <a:pt x="2438669" y="1534822"/>
                    <a:pt x="2314904" y="1658587"/>
                    <a:pt x="2162232" y="1658587"/>
                  </a:cubicBezTo>
                  <a:lnTo>
                    <a:pt x="276437" y="1658587"/>
                  </a:lnTo>
                  <a:cubicBezTo>
                    <a:pt x="123765" y="1658587"/>
                    <a:pt x="0" y="1534822"/>
                    <a:pt x="0" y="1382150"/>
                  </a:cubicBezTo>
                  <a:lnTo>
                    <a:pt x="0" y="276437"/>
                  </a:lnTo>
                  <a:close/>
                </a:path>
              </a:pathLst>
            </a:cu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72406" tIns="126686" rIns="172406" bIns="126686" numCol="1" spcCol="1270" anchor="ctr" anchorCtr="0">
              <a:noAutofit/>
            </a:bodyPr>
            <a:lstStyle/>
            <a:p>
              <a:pPr lvl="0" algn="ctr" defTabSz="10668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pt-BR" sz="2400" kern="1200" dirty="0" smtClean="0">
                  <a:latin typeface="Simplon BP Regular" pitchFamily="2" charset="0"/>
                </a:rPr>
                <a:t>Batimentos </a:t>
              </a:r>
              <a:r>
                <a:rPr lang="pt-BR" sz="2400" kern="1200" dirty="0" err="1" smtClean="0">
                  <a:latin typeface="Simplon BP Regular" pitchFamily="2" charset="0"/>
                </a:rPr>
                <a:t>CRM’s</a:t>
              </a:r>
              <a:r>
                <a:rPr lang="pt-BR" sz="2400" kern="1200" dirty="0" smtClean="0">
                  <a:latin typeface="Simplon BP Regular" pitchFamily="2" charset="0"/>
                </a:rPr>
                <a:t> X CDI</a:t>
              </a:r>
              <a:endParaRPr lang="pt-BR" sz="2400" kern="1200" dirty="0">
                <a:latin typeface="Simplon BP Regular" pitchFamily="2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3001172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584272" y="283591"/>
            <a:ext cx="10725160" cy="405646"/>
          </a:xfrm>
        </p:spPr>
        <p:txBody>
          <a:bodyPr vert="horz" lIns="0" tIns="0" rIns="0" bIns="0" rtlCol="0" anchor="t">
            <a:noAutofit/>
          </a:bodyPr>
          <a:lstStyle/>
          <a:p>
            <a:r>
              <a:rPr lang="pt-BR" sz="2800" dirty="0" smtClean="0">
                <a:solidFill>
                  <a:srgbClr val="A02BFF"/>
                </a:solidFill>
                <a:latin typeface="Simplon Oi Headline" pitchFamily="2" charset="0"/>
              </a:rPr>
              <a:t>Batimento portal oi – RESILIÊNCIA &amp; AUTOMATIZAÇÃO</a:t>
            </a:r>
            <a:endParaRPr lang="pt-BR" sz="2800" dirty="0">
              <a:solidFill>
                <a:srgbClr val="A02BFF"/>
              </a:solidFill>
            </a:endParaRPr>
          </a:p>
        </p:txBody>
      </p:sp>
      <p:sp>
        <p:nvSpPr>
          <p:cNvPr id="55" name="Footer Placeholder 1"/>
          <p:cNvSpPr txBox="1">
            <a:spLocks/>
          </p:cNvSpPr>
          <p:nvPr/>
        </p:nvSpPr>
        <p:spPr>
          <a:xfrm>
            <a:off x="475088" y="33411"/>
            <a:ext cx="10176095" cy="282264"/>
          </a:xfrm>
          <a:prstGeom prst="rect">
            <a:avLst/>
          </a:prstGeom>
        </p:spPr>
        <p:txBody>
          <a:bodyPr vert="horz" lIns="119408" tIns="59702" rIns="119408" bIns="59702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2"/>
                </a:solidFill>
                <a:latin typeface="Simplon BP Regular"/>
                <a:ea typeface="+mn-ea"/>
                <a:cs typeface="Simplon BP Regular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pt-BR" sz="1600" b="1" dirty="0" smtClean="0">
                <a:solidFill>
                  <a:srgbClr val="4D4E50"/>
                </a:solidFill>
              </a:rPr>
              <a:t>COORDENAÇÃO OPERACIONAL DIGITAL</a:t>
            </a:r>
            <a:endParaRPr lang="pt-BR" sz="1600" b="1" dirty="0">
              <a:solidFill>
                <a:srgbClr val="4D4E50"/>
              </a:solidFill>
            </a:endParaRPr>
          </a:p>
        </p:txBody>
      </p:sp>
      <p:grpSp>
        <p:nvGrpSpPr>
          <p:cNvPr id="9" name="Grupo 8"/>
          <p:cNvGrpSpPr/>
          <p:nvPr/>
        </p:nvGrpSpPr>
        <p:grpSpPr>
          <a:xfrm>
            <a:off x="447792" y="1014661"/>
            <a:ext cx="11180100" cy="2192564"/>
            <a:chOff x="447792" y="1014661"/>
            <a:chExt cx="11180100" cy="2192564"/>
          </a:xfrm>
        </p:grpSpPr>
        <p:sp>
          <p:nvSpPr>
            <p:cNvPr id="5" name="Forma livre 4"/>
            <p:cNvSpPr/>
            <p:nvPr/>
          </p:nvSpPr>
          <p:spPr>
            <a:xfrm>
              <a:off x="3103177" y="1120307"/>
              <a:ext cx="8524715" cy="1981272"/>
            </a:xfrm>
            <a:custGeom>
              <a:avLst/>
              <a:gdLst>
                <a:gd name="connsiteX0" fmla="*/ 345411 w 2072424"/>
                <a:gd name="connsiteY0" fmla="*/ 0 h 8355442"/>
                <a:gd name="connsiteX1" fmla="*/ 1727013 w 2072424"/>
                <a:gd name="connsiteY1" fmla="*/ 0 h 8355442"/>
                <a:gd name="connsiteX2" fmla="*/ 2072424 w 2072424"/>
                <a:gd name="connsiteY2" fmla="*/ 345411 h 8355442"/>
                <a:gd name="connsiteX3" fmla="*/ 2072424 w 2072424"/>
                <a:gd name="connsiteY3" fmla="*/ 8355442 h 8355442"/>
                <a:gd name="connsiteX4" fmla="*/ 2072424 w 2072424"/>
                <a:gd name="connsiteY4" fmla="*/ 8355442 h 8355442"/>
                <a:gd name="connsiteX5" fmla="*/ 0 w 2072424"/>
                <a:gd name="connsiteY5" fmla="*/ 8355442 h 8355442"/>
                <a:gd name="connsiteX6" fmla="*/ 0 w 2072424"/>
                <a:gd name="connsiteY6" fmla="*/ 8355442 h 8355442"/>
                <a:gd name="connsiteX7" fmla="*/ 0 w 2072424"/>
                <a:gd name="connsiteY7" fmla="*/ 345411 h 8355442"/>
                <a:gd name="connsiteX8" fmla="*/ 345411 w 2072424"/>
                <a:gd name="connsiteY8" fmla="*/ 0 h 8355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072424" h="8355442">
                  <a:moveTo>
                    <a:pt x="2072424" y="1392602"/>
                  </a:moveTo>
                  <a:lnTo>
                    <a:pt x="2072424" y="6962840"/>
                  </a:lnTo>
                  <a:cubicBezTo>
                    <a:pt x="2072424" y="7731952"/>
                    <a:pt x="2034067" y="8355442"/>
                    <a:pt x="1986751" y="8355442"/>
                  </a:cubicBezTo>
                  <a:lnTo>
                    <a:pt x="0" y="8355442"/>
                  </a:lnTo>
                  <a:lnTo>
                    <a:pt x="0" y="8355442"/>
                  </a:lnTo>
                  <a:lnTo>
                    <a:pt x="0" y="0"/>
                  </a:lnTo>
                  <a:lnTo>
                    <a:pt x="0" y="0"/>
                  </a:lnTo>
                  <a:lnTo>
                    <a:pt x="1986751" y="0"/>
                  </a:lnTo>
                  <a:cubicBezTo>
                    <a:pt x="2034067" y="0"/>
                    <a:pt x="2072424" y="623490"/>
                    <a:pt x="2072424" y="1392602"/>
                  </a:cubicBezTo>
                  <a:close/>
                </a:path>
              </a:pathLst>
            </a:custGeom>
          </p:spPr>
          <p:style>
            <a:lnRef idx="2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247651" tIns="224991" rIns="348816" bIns="224993" numCol="1" spcCol="1270" anchor="ctr" anchorCtr="0">
              <a:noAutofit/>
            </a:bodyPr>
            <a:lstStyle/>
            <a:p>
              <a:pPr marL="171450" lvl="1" indent="-171450" algn="l" defTabSz="800100">
                <a:lnSpc>
                  <a:spcPct val="90000"/>
                </a:lnSpc>
                <a:spcBef>
                  <a:spcPct val="0"/>
                </a:spcBef>
                <a:spcAft>
                  <a:spcPts val="600"/>
                </a:spcAft>
                <a:buChar char="••"/>
              </a:pPr>
              <a:r>
                <a:rPr lang="pt-BR" b="1" kern="1200" dirty="0" smtClean="0">
                  <a:latin typeface="Simplon BP Regular" pitchFamily="2" charset="0"/>
                </a:rPr>
                <a:t>Projeto: </a:t>
              </a:r>
              <a:r>
                <a:rPr lang="pt-BR" b="0" kern="1200" dirty="0" smtClean="0">
                  <a:latin typeface="Simplon BP Regular" pitchFamily="2" charset="0"/>
                </a:rPr>
                <a:t>PRJ 23716</a:t>
              </a:r>
              <a:endParaRPr lang="pt-BR" b="0" kern="1200" dirty="0">
                <a:latin typeface="Simplon BP Regular" pitchFamily="2" charset="0"/>
              </a:endParaRPr>
            </a:p>
            <a:p>
              <a:pPr marL="171450" lvl="1" indent="-171450" algn="l" defTabSz="800100">
                <a:lnSpc>
                  <a:spcPct val="90000"/>
                </a:lnSpc>
                <a:spcBef>
                  <a:spcPct val="0"/>
                </a:spcBef>
                <a:spcAft>
                  <a:spcPts val="600"/>
                </a:spcAft>
                <a:buChar char="••"/>
              </a:pPr>
              <a:r>
                <a:rPr lang="pt-BR" b="1" kern="1200" dirty="0" smtClean="0">
                  <a:latin typeface="Simplon BP Regular" pitchFamily="2" charset="0"/>
                </a:rPr>
                <a:t>Líder:     </a:t>
              </a:r>
              <a:r>
                <a:rPr lang="pt-BR" b="0" kern="1200" dirty="0" smtClean="0">
                  <a:latin typeface="Simplon BP Regular" pitchFamily="2" charset="0"/>
                </a:rPr>
                <a:t>Hilda Fiuza (CRM Fixa)</a:t>
              </a:r>
              <a:endParaRPr lang="pt-BR" b="0" kern="1200" dirty="0">
                <a:latin typeface="Simplon BP Regular" pitchFamily="2" charset="0"/>
              </a:endParaRPr>
            </a:p>
            <a:p>
              <a:pPr marL="171450" lvl="1" indent="-171450" algn="l" defTabSz="800100">
                <a:lnSpc>
                  <a:spcPct val="90000"/>
                </a:lnSpc>
                <a:spcBef>
                  <a:spcPct val="0"/>
                </a:spcBef>
                <a:spcAft>
                  <a:spcPts val="600"/>
                </a:spcAft>
                <a:buChar char="••"/>
              </a:pPr>
              <a:r>
                <a:rPr lang="pt-BR" b="1" kern="1200" dirty="0" smtClean="0">
                  <a:latin typeface="Simplon BP Regular" pitchFamily="2" charset="0"/>
                </a:rPr>
                <a:t>Objetivo: </a:t>
              </a:r>
              <a:r>
                <a:rPr lang="pt-BR" b="0" kern="1200" dirty="0" smtClean="0">
                  <a:latin typeface="Simplon BP Regular" pitchFamily="2" charset="0"/>
                </a:rPr>
                <a:t>Reenviar eventos de atualização dos dados dos CRM(s) para o CDI</a:t>
              </a:r>
              <a:endParaRPr lang="pt-BR" b="0" kern="1200" dirty="0">
                <a:latin typeface="Simplon BP Regular" pitchFamily="2" charset="0"/>
              </a:endParaRPr>
            </a:p>
            <a:p>
              <a:pPr marL="171450" lvl="1" indent="-171450" algn="l" defTabSz="800100">
                <a:lnSpc>
                  <a:spcPct val="90000"/>
                </a:lnSpc>
                <a:spcBef>
                  <a:spcPct val="0"/>
                </a:spcBef>
                <a:spcAft>
                  <a:spcPts val="600"/>
                </a:spcAft>
                <a:buChar char="••"/>
              </a:pPr>
              <a:r>
                <a:rPr lang="pt-BR" b="1" kern="1200" dirty="0" smtClean="0">
                  <a:latin typeface="Simplon BP Regular" pitchFamily="2" charset="0"/>
                </a:rPr>
                <a:t>Próximos passos:</a:t>
              </a:r>
              <a:r>
                <a:rPr lang="pt-BR" b="0" kern="1200" dirty="0" smtClean="0">
                  <a:latin typeface="Simplon BP Regular" pitchFamily="2" charset="0"/>
                </a:rPr>
                <a:t> Aprovação de DSOL (25/01) e aprovação financeira em 06/03.</a:t>
              </a:r>
              <a:endParaRPr lang="pt-BR" b="0" kern="1200" dirty="0">
                <a:latin typeface="Simplon BP Regular" pitchFamily="2" charset="0"/>
              </a:endParaRPr>
            </a:p>
            <a:p>
              <a:pPr marL="171450" lvl="1" indent="-171450" algn="l" defTabSz="800100">
                <a:lnSpc>
                  <a:spcPct val="90000"/>
                </a:lnSpc>
                <a:spcBef>
                  <a:spcPct val="0"/>
                </a:spcBef>
                <a:spcAft>
                  <a:spcPts val="600"/>
                </a:spcAft>
                <a:buChar char="••"/>
              </a:pPr>
              <a:r>
                <a:rPr lang="pt-BR" kern="1200" dirty="0" smtClean="0">
                  <a:solidFill>
                    <a:srgbClr val="0066CC"/>
                  </a:solidFill>
                  <a:latin typeface="Simplon BP Regular" pitchFamily="2" charset="0"/>
                </a:rPr>
                <a:t>Cronograma em 13/03.</a:t>
              </a:r>
              <a:endParaRPr lang="pt-BR" kern="1200" dirty="0">
                <a:solidFill>
                  <a:srgbClr val="0066CC"/>
                </a:solidFill>
                <a:latin typeface="Simplon BP Regular" pitchFamily="2" charset="0"/>
              </a:endParaRPr>
            </a:p>
          </p:txBody>
        </p:sp>
        <p:sp>
          <p:nvSpPr>
            <p:cNvPr id="6" name="Forma livre 5"/>
            <p:cNvSpPr/>
            <p:nvPr/>
          </p:nvSpPr>
          <p:spPr>
            <a:xfrm>
              <a:off x="447792" y="1014661"/>
              <a:ext cx="2641737" cy="2192564"/>
            </a:xfrm>
            <a:custGeom>
              <a:avLst/>
              <a:gdLst>
                <a:gd name="connsiteX0" fmla="*/ 0 w 2641737"/>
                <a:gd name="connsiteY0" fmla="*/ 431764 h 2590530"/>
                <a:gd name="connsiteX1" fmla="*/ 431764 w 2641737"/>
                <a:gd name="connsiteY1" fmla="*/ 0 h 2590530"/>
                <a:gd name="connsiteX2" fmla="*/ 2209973 w 2641737"/>
                <a:gd name="connsiteY2" fmla="*/ 0 h 2590530"/>
                <a:gd name="connsiteX3" fmla="*/ 2641737 w 2641737"/>
                <a:gd name="connsiteY3" fmla="*/ 431764 h 2590530"/>
                <a:gd name="connsiteX4" fmla="*/ 2641737 w 2641737"/>
                <a:gd name="connsiteY4" fmla="*/ 2158766 h 2590530"/>
                <a:gd name="connsiteX5" fmla="*/ 2209973 w 2641737"/>
                <a:gd name="connsiteY5" fmla="*/ 2590530 h 2590530"/>
                <a:gd name="connsiteX6" fmla="*/ 431764 w 2641737"/>
                <a:gd name="connsiteY6" fmla="*/ 2590530 h 2590530"/>
                <a:gd name="connsiteX7" fmla="*/ 0 w 2641737"/>
                <a:gd name="connsiteY7" fmla="*/ 2158766 h 2590530"/>
                <a:gd name="connsiteX8" fmla="*/ 0 w 2641737"/>
                <a:gd name="connsiteY8" fmla="*/ 431764 h 25905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641737" h="2590530">
                  <a:moveTo>
                    <a:pt x="0" y="431764"/>
                  </a:moveTo>
                  <a:cubicBezTo>
                    <a:pt x="0" y="193307"/>
                    <a:pt x="193307" y="0"/>
                    <a:pt x="431764" y="0"/>
                  </a:cubicBezTo>
                  <a:lnTo>
                    <a:pt x="2209973" y="0"/>
                  </a:lnTo>
                  <a:cubicBezTo>
                    <a:pt x="2448430" y="0"/>
                    <a:pt x="2641737" y="193307"/>
                    <a:pt x="2641737" y="431764"/>
                  </a:cubicBezTo>
                  <a:lnTo>
                    <a:pt x="2641737" y="2158766"/>
                  </a:lnTo>
                  <a:cubicBezTo>
                    <a:pt x="2641737" y="2397223"/>
                    <a:pt x="2448430" y="2590530"/>
                    <a:pt x="2209973" y="2590530"/>
                  </a:cubicBezTo>
                  <a:lnTo>
                    <a:pt x="431764" y="2590530"/>
                  </a:lnTo>
                  <a:cubicBezTo>
                    <a:pt x="193307" y="2590530"/>
                    <a:pt x="0" y="2397223"/>
                    <a:pt x="0" y="2158766"/>
                  </a:cubicBezTo>
                  <a:lnTo>
                    <a:pt x="0" y="431764"/>
                  </a:lnTo>
                  <a:close/>
                </a:path>
              </a:pathLst>
            </a:cu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217899" tIns="172179" rIns="217899" bIns="172179" numCol="1" spcCol="1270" anchor="ctr" anchorCtr="0">
              <a:noAutofit/>
            </a:bodyPr>
            <a:lstStyle/>
            <a:p>
              <a:pPr lvl="0" algn="ctr" defTabSz="10668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pt-BR" sz="2400" kern="1200" dirty="0" smtClean="0">
                  <a:latin typeface="Simplon BP Regular" pitchFamily="2" charset="0"/>
                </a:rPr>
                <a:t>Resiliência na replicação dos dados</a:t>
              </a:r>
              <a:endParaRPr lang="pt-BR" sz="2400" kern="1200" dirty="0">
                <a:latin typeface="Simplon BP Regular" pitchFamily="2" charset="0"/>
              </a:endParaRPr>
            </a:p>
          </p:txBody>
        </p:sp>
      </p:grpSp>
      <p:grpSp>
        <p:nvGrpSpPr>
          <p:cNvPr id="4" name="Grupo 3"/>
          <p:cNvGrpSpPr/>
          <p:nvPr/>
        </p:nvGrpSpPr>
        <p:grpSpPr>
          <a:xfrm>
            <a:off x="447792" y="3638296"/>
            <a:ext cx="11180100" cy="2530494"/>
            <a:chOff x="447792" y="3796018"/>
            <a:chExt cx="11180100" cy="2372771"/>
          </a:xfrm>
        </p:grpSpPr>
        <p:sp>
          <p:nvSpPr>
            <p:cNvPr id="7" name="Forma livre 6"/>
            <p:cNvSpPr/>
            <p:nvPr/>
          </p:nvSpPr>
          <p:spPr>
            <a:xfrm>
              <a:off x="3082345" y="3871104"/>
              <a:ext cx="8545547" cy="2222598"/>
            </a:xfrm>
            <a:custGeom>
              <a:avLst/>
              <a:gdLst>
                <a:gd name="connsiteX0" fmla="*/ 345411 w 2072424"/>
                <a:gd name="connsiteY0" fmla="*/ 0 h 8379949"/>
                <a:gd name="connsiteX1" fmla="*/ 1727013 w 2072424"/>
                <a:gd name="connsiteY1" fmla="*/ 0 h 8379949"/>
                <a:gd name="connsiteX2" fmla="*/ 2072424 w 2072424"/>
                <a:gd name="connsiteY2" fmla="*/ 345411 h 8379949"/>
                <a:gd name="connsiteX3" fmla="*/ 2072424 w 2072424"/>
                <a:gd name="connsiteY3" fmla="*/ 8379949 h 8379949"/>
                <a:gd name="connsiteX4" fmla="*/ 2072424 w 2072424"/>
                <a:gd name="connsiteY4" fmla="*/ 8379949 h 8379949"/>
                <a:gd name="connsiteX5" fmla="*/ 0 w 2072424"/>
                <a:gd name="connsiteY5" fmla="*/ 8379949 h 8379949"/>
                <a:gd name="connsiteX6" fmla="*/ 0 w 2072424"/>
                <a:gd name="connsiteY6" fmla="*/ 8379949 h 8379949"/>
                <a:gd name="connsiteX7" fmla="*/ 0 w 2072424"/>
                <a:gd name="connsiteY7" fmla="*/ 345411 h 8379949"/>
                <a:gd name="connsiteX8" fmla="*/ 345411 w 2072424"/>
                <a:gd name="connsiteY8" fmla="*/ 0 h 83799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072424" h="8379949">
                  <a:moveTo>
                    <a:pt x="2072424" y="1396688"/>
                  </a:moveTo>
                  <a:lnTo>
                    <a:pt x="2072424" y="6983261"/>
                  </a:lnTo>
                  <a:cubicBezTo>
                    <a:pt x="2072424" y="7754629"/>
                    <a:pt x="2034179" y="8379947"/>
                    <a:pt x="1987001" y="8379947"/>
                  </a:cubicBezTo>
                  <a:lnTo>
                    <a:pt x="0" y="8379947"/>
                  </a:lnTo>
                  <a:lnTo>
                    <a:pt x="0" y="8379947"/>
                  </a:lnTo>
                  <a:lnTo>
                    <a:pt x="0" y="2"/>
                  </a:lnTo>
                  <a:lnTo>
                    <a:pt x="0" y="2"/>
                  </a:lnTo>
                  <a:lnTo>
                    <a:pt x="1987001" y="2"/>
                  </a:lnTo>
                  <a:cubicBezTo>
                    <a:pt x="2034179" y="2"/>
                    <a:pt x="2072424" y="625320"/>
                    <a:pt x="2072424" y="1396688"/>
                  </a:cubicBezTo>
                  <a:close/>
                </a:path>
              </a:pathLst>
            </a:custGeom>
          </p:spPr>
          <p:style>
            <a:lnRef idx="2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247651" tIns="224992" rIns="348817" bIns="224993" numCol="1" spcCol="1270" anchor="ctr" anchorCtr="0">
              <a:noAutofit/>
            </a:bodyPr>
            <a:lstStyle/>
            <a:p>
              <a:pPr marL="171450" lvl="1" indent="-171450" algn="l" defTabSz="800100">
                <a:lnSpc>
                  <a:spcPct val="90000"/>
                </a:lnSpc>
                <a:spcBef>
                  <a:spcPct val="0"/>
                </a:spcBef>
                <a:spcAft>
                  <a:spcPts val="600"/>
                </a:spcAft>
                <a:buChar char="••"/>
              </a:pPr>
              <a:r>
                <a:rPr lang="pt-BR" b="1" kern="1200" dirty="0" smtClean="0">
                  <a:latin typeface="Simplon BP Regular" pitchFamily="2" charset="0"/>
                </a:rPr>
                <a:t>Projeto: </a:t>
              </a:r>
              <a:r>
                <a:rPr lang="pt-BR" kern="1200" dirty="0" smtClean="0">
                  <a:latin typeface="Simplon BP Regular" pitchFamily="2" charset="0"/>
                </a:rPr>
                <a:t>PRJ 21292</a:t>
              </a:r>
              <a:endParaRPr lang="pt-BR" kern="1200" dirty="0">
                <a:latin typeface="Simplon BP Regular" pitchFamily="2" charset="0"/>
              </a:endParaRPr>
            </a:p>
            <a:p>
              <a:pPr marL="171450" lvl="1" indent="-171450" algn="l" defTabSz="800100">
                <a:lnSpc>
                  <a:spcPct val="90000"/>
                </a:lnSpc>
                <a:spcBef>
                  <a:spcPct val="0"/>
                </a:spcBef>
                <a:spcAft>
                  <a:spcPts val="600"/>
                </a:spcAft>
                <a:buChar char="••"/>
              </a:pPr>
              <a:r>
                <a:rPr lang="pt-BR" b="1" kern="1200" dirty="0" smtClean="0">
                  <a:latin typeface="Simplon BP Regular" pitchFamily="2" charset="0"/>
                </a:rPr>
                <a:t>Líder:     </a:t>
              </a:r>
              <a:r>
                <a:rPr lang="pt-BR" kern="1200" dirty="0" smtClean="0">
                  <a:latin typeface="Simplon BP Regular" pitchFamily="2" charset="0"/>
                </a:rPr>
                <a:t>Eduardo Damasceno (Faturamento Convergente)</a:t>
              </a:r>
              <a:endParaRPr lang="pt-BR" kern="1200" dirty="0">
                <a:latin typeface="Simplon BP Regular" pitchFamily="2" charset="0"/>
              </a:endParaRPr>
            </a:p>
            <a:p>
              <a:pPr marL="171450" lvl="1" indent="-171450" algn="l" defTabSz="800100">
                <a:lnSpc>
                  <a:spcPct val="90000"/>
                </a:lnSpc>
                <a:spcBef>
                  <a:spcPct val="0"/>
                </a:spcBef>
                <a:spcAft>
                  <a:spcPts val="600"/>
                </a:spcAft>
                <a:buChar char="••"/>
              </a:pPr>
              <a:r>
                <a:rPr lang="pt-BR" b="1" kern="1200" dirty="0" smtClean="0">
                  <a:latin typeface="Simplon BP Regular" pitchFamily="2" charset="0"/>
                </a:rPr>
                <a:t>Objetivo: </a:t>
              </a:r>
              <a:r>
                <a:rPr lang="pt-BR" b="0" kern="1200" dirty="0" smtClean="0">
                  <a:latin typeface="Simplon BP Regular" pitchFamily="2" charset="0"/>
                </a:rPr>
                <a:t>Utilizar a ferramenta RAID para batimento e identificação de divergências dos dados de clientes do Portal Minha Oi </a:t>
              </a:r>
              <a:r>
                <a:rPr lang="pt-BR" dirty="0" smtClean="0">
                  <a:latin typeface="Simplon BP Regular" pitchFamily="2" charset="0"/>
                </a:rPr>
                <a:t>com as bases de</a:t>
              </a:r>
              <a:r>
                <a:rPr lang="pt-BR" b="0" kern="1200" dirty="0" smtClean="0">
                  <a:latin typeface="Simplon BP Regular" pitchFamily="2" charset="0"/>
                </a:rPr>
                <a:t> cadastro dos CRM(s) e sistemas de Faturamento.</a:t>
              </a:r>
            </a:p>
            <a:p>
              <a:pPr marL="171450" lvl="1" indent="-171450" algn="l" defTabSz="800100">
                <a:lnSpc>
                  <a:spcPct val="90000"/>
                </a:lnSpc>
                <a:spcBef>
                  <a:spcPct val="0"/>
                </a:spcBef>
                <a:spcAft>
                  <a:spcPts val="600"/>
                </a:spcAft>
                <a:buChar char="••"/>
              </a:pPr>
              <a:r>
                <a:rPr lang="pt-BR" dirty="0" smtClean="0">
                  <a:latin typeface="Simplon BP Regular" pitchFamily="2" charset="0"/>
                </a:rPr>
                <a:t>DSOL aprovado em 02/01</a:t>
              </a:r>
              <a:endParaRPr lang="pt-BR" b="0" kern="1200" dirty="0">
                <a:latin typeface="Simplon BP Regular" pitchFamily="2" charset="0"/>
              </a:endParaRPr>
            </a:p>
            <a:p>
              <a:pPr marL="171450" lvl="1" indent="-171450" algn="l" defTabSz="800100">
                <a:lnSpc>
                  <a:spcPct val="90000"/>
                </a:lnSpc>
                <a:spcBef>
                  <a:spcPct val="0"/>
                </a:spcBef>
                <a:spcAft>
                  <a:spcPts val="600"/>
                </a:spcAft>
                <a:buChar char="••"/>
              </a:pPr>
              <a:r>
                <a:rPr lang="pt-BR" b="1" kern="1200" dirty="0" smtClean="0">
                  <a:latin typeface="Simplon BP Regular" pitchFamily="2" charset="0"/>
                </a:rPr>
                <a:t>Próximos passos: </a:t>
              </a:r>
              <a:r>
                <a:rPr lang="pt-BR" b="0" kern="1200" dirty="0" smtClean="0">
                  <a:latin typeface="Simplon BP Regular" pitchFamily="2" charset="0"/>
                </a:rPr>
                <a:t>Propostas técnicas em 18/01 e Pré-candidatura em 29/01.</a:t>
              </a:r>
              <a:endParaRPr lang="pt-BR" b="0" kern="1200" dirty="0">
                <a:latin typeface="Simplon BP Regular" pitchFamily="2" charset="0"/>
              </a:endParaRPr>
            </a:p>
            <a:p>
              <a:pPr marL="171450" lvl="1" indent="-171450" algn="l" defTabSz="800100">
                <a:lnSpc>
                  <a:spcPct val="90000"/>
                </a:lnSpc>
                <a:spcBef>
                  <a:spcPct val="0"/>
                </a:spcBef>
                <a:spcAft>
                  <a:spcPts val="600"/>
                </a:spcAft>
                <a:buChar char="••"/>
              </a:pPr>
              <a:r>
                <a:rPr lang="pt-BR" kern="1200" dirty="0" smtClean="0">
                  <a:solidFill>
                    <a:srgbClr val="0066CC"/>
                  </a:solidFill>
                  <a:latin typeface="Simplon BP Regular" pitchFamily="2" charset="0"/>
                </a:rPr>
                <a:t>Cronograma em 26/02</a:t>
              </a:r>
            </a:p>
          </p:txBody>
        </p:sp>
        <p:sp>
          <p:nvSpPr>
            <p:cNvPr id="8" name="Forma livre 7"/>
            <p:cNvSpPr/>
            <p:nvPr/>
          </p:nvSpPr>
          <p:spPr>
            <a:xfrm>
              <a:off x="447792" y="3796018"/>
              <a:ext cx="2620907" cy="2372771"/>
            </a:xfrm>
            <a:custGeom>
              <a:avLst/>
              <a:gdLst>
                <a:gd name="connsiteX0" fmla="*/ 0 w 2620907"/>
                <a:gd name="connsiteY0" fmla="*/ 431764 h 2590530"/>
                <a:gd name="connsiteX1" fmla="*/ 431764 w 2620907"/>
                <a:gd name="connsiteY1" fmla="*/ 0 h 2590530"/>
                <a:gd name="connsiteX2" fmla="*/ 2189143 w 2620907"/>
                <a:gd name="connsiteY2" fmla="*/ 0 h 2590530"/>
                <a:gd name="connsiteX3" fmla="*/ 2620907 w 2620907"/>
                <a:gd name="connsiteY3" fmla="*/ 431764 h 2590530"/>
                <a:gd name="connsiteX4" fmla="*/ 2620907 w 2620907"/>
                <a:gd name="connsiteY4" fmla="*/ 2158766 h 2590530"/>
                <a:gd name="connsiteX5" fmla="*/ 2189143 w 2620907"/>
                <a:gd name="connsiteY5" fmla="*/ 2590530 h 2590530"/>
                <a:gd name="connsiteX6" fmla="*/ 431764 w 2620907"/>
                <a:gd name="connsiteY6" fmla="*/ 2590530 h 2590530"/>
                <a:gd name="connsiteX7" fmla="*/ 0 w 2620907"/>
                <a:gd name="connsiteY7" fmla="*/ 2158766 h 2590530"/>
                <a:gd name="connsiteX8" fmla="*/ 0 w 2620907"/>
                <a:gd name="connsiteY8" fmla="*/ 431764 h 25905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620907" h="2590530">
                  <a:moveTo>
                    <a:pt x="0" y="431764"/>
                  </a:moveTo>
                  <a:cubicBezTo>
                    <a:pt x="0" y="193307"/>
                    <a:pt x="193307" y="0"/>
                    <a:pt x="431764" y="0"/>
                  </a:cubicBezTo>
                  <a:lnTo>
                    <a:pt x="2189143" y="0"/>
                  </a:lnTo>
                  <a:cubicBezTo>
                    <a:pt x="2427600" y="0"/>
                    <a:pt x="2620907" y="193307"/>
                    <a:pt x="2620907" y="431764"/>
                  </a:cubicBezTo>
                  <a:lnTo>
                    <a:pt x="2620907" y="2158766"/>
                  </a:lnTo>
                  <a:cubicBezTo>
                    <a:pt x="2620907" y="2397223"/>
                    <a:pt x="2427600" y="2590530"/>
                    <a:pt x="2189143" y="2590530"/>
                  </a:cubicBezTo>
                  <a:lnTo>
                    <a:pt x="431764" y="2590530"/>
                  </a:lnTo>
                  <a:cubicBezTo>
                    <a:pt x="193307" y="2590530"/>
                    <a:pt x="0" y="2397223"/>
                    <a:pt x="0" y="2158766"/>
                  </a:cubicBezTo>
                  <a:lnTo>
                    <a:pt x="0" y="431764"/>
                  </a:lnTo>
                  <a:close/>
                </a:path>
              </a:pathLst>
            </a:cu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217899" tIns="172179" rIns="217899" bIns="172179" numCol="1" spcCol="1270" anchor="ctr" anchorCtr="0">
              <a:noAutofit/>
            </a:bodyPr>
            <a:lstStyle/>
            <a:p>
              <a:pPr lvl="0" algn="ctr" defTabSz="10668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pt-BR" sz="2400" kern="1200" dirty="0" smtClean="0">
                  <a:latin typeface="Simplon BP Regular" pitchFamily="2" charset="0"/>
                </a:rPr>
                <a:t>Automatização do batimento (RAID)</a:t>
              </a:r>
              <a:endParaRPr lang="pt-BR" sz="2400" kern="1200" dirty="0">
                <a:latin typeface="Simplon BP Regular" pitchFamily="2" charset="0"/>
              </a:endParaRPr>
            </a:p>
          </p:txBody>
        </p:sp>
      </p:grpSp>
      <p:sp>
        <p:nvSpPr>
          <p:cNvPr id="3" name="Botão de ação: Avançar ou Próximo 2">
            <a:hlinkClick r:id="rId3" action="ppaction://hlinksldjump" highlightClick="1"/>
          </p:cNvPr>
          <p:cNvSpPr/>
          <p:nvPr/>
        </p:nvSpPr>
        <p:spPr>
          <a:xfrm>
            <a:off x="10651183" y="5595582"/>
            <a:ext cx="458095" cy="423081"/>
          </a:xfrm>
          <a:prstGeom prst="actionButtonForwardNext">
            <a:avLst/>
          </a:prstGeom>
          <a:ln>
            <a:solidFill>
              <a:schemeClr val="tx2"/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pt-BR" sz="1400" dirty="0" smtClean="0"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39684790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le 1"/>
          <p:cNvSpPr>
            <a:spLocks noGrp="1"/>
          </p:cNvSpPr>
          <p:nvPr>
            <p:ph type="title"/>
          </p:nvPr>
        </p:nvSpPr>
        <p:spPr>
          <a:xfrm>
            <a:off x="765417" y="40550"/>
            <a:ext cx="10657767" cy="931462"/>
          </a:xfrm>
        </p:spPr>
        <p:txBody>
          <a:bodyPr vert="horz" lIns="0" tIns="0" rIns="0" bIns="0" rtlCol="0" anchor="t">
            <a:noAutofit/>
          </a:bodyPr>
          <a:lstStyle/>
          <a:p>
            <a:pPr>
              <a:spcBef>
                <a:spcPts val="0"/>
              </a:spcBef>
            </a:pPr>
            <a:r>
              <a:rPr lang="pt-BR" sz="3700" dirty="0">
                <a:solidFill>
                  <a:srgbClr val="A037FF"/>
                </a:solidFill>
              </a:rPr>
              <a:t>ECOSSISTEMA BATIMENTO </a:t>
            </a:r>
            <a:r>
              <a:rPr lang="pt-BR" sz="3700" dirty="0" err="1">
                <a:solidFill>
                  <a:srgbClr val="A037FF"/>
                </a:solidFill>
              </a:rPr>
              <a:t>rAID</a:t>
            </a:r>
            <a:r>
              <a:rPr lang="pt-BR" sz="3700" dirty="0">
                <a:solidFill>
                  <a:srgbClr val="A037FF"/>
                </a:solidFill>
              </a:rPr>
              <a:t> – visão macro</a:t>
            </a:r>
          </a:p>
        </p:txBody>
      </p:sp>
      <p:pic>
        <p:nvPicPr>
          <p:cNvPr id="48" name="Picture 4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133658" y="1159365"/>
            <a:ext cx="296790" cy="35283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9" name="Picture 4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570054" y="2964180"/>
            <a:ext cx="723111" cy="85965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1" name="CaixaDeTexto 50"/>
          <p:cNvSpPr txBox="1"/>
          <p:nvPr/>
        </p:nvSpPr>
        <p:spPr>
          <a:xfrm>
            <a:off x="235238" y="1237660"/>
            <a:ext cx="828003" cy="274539"/>
          </a:xfrm>
          <a:prstGeom prst="rect">
            <a:avLst/>
          </a:prstGeom>
          <a:noFill/>
        </p:spPr>
        <p:txBody>
          <a:bodyPr wrap="none" lIns="119485" tIns="59742" rIns="119485" bIns="59742" rtlCol="0">
            <a:spAutoFit/>
          </a:bodyPr>
          <a:lstStyle/>
          <a:p>
            <a:r>
              <a:rPr lang="pt-BR" sz="1000" b="1" dirty="0">
                <a:latin typeface="Simplon Oi"/>
              </a:rPr>
              <a:t>Siebel </a:t>
            </a:r>
            <a:r>
              <a:rPr lang="pt-BR" sz="1000" b="1" dirty="0" smtClean="0">
                <a:latin typeface="Simplon Oi"/>
              </a:rPr>
              <a:t>6.3</a:t>
            </a:r>
            <a:endParaRPr lang="pt-BR" sz="1000" b="1" dirty="0">
              <a:latin typeface="Simplon Oi"/>
            </a:endParaRPr>
          </a:p>
        </p:txBody>
      </p:sp>
      <p:sp>
        <p:nvSpPr>
          <p:cNvPr id="59" name="Cilindro 58"/>
          <p:cNvSpPr>
            <a:spLocks noChangeAspect="1"/>
          </p:cNvSpPr>
          <p:nvPr/>
        </p:nvSpPr>
        <p:spPr>
          <a:xfrm>
            <a:off x="2706987" y="1099402"/>
            <a:ext cx="200958" cy="2119489"/>
          </a:xfrm>
          <a:prstGeom prst="can">
            <a:avLst/>
          </a:prstGeom>
          <a:solidFill>
            <a:schemeClr val="bg2">
              <a:lumMod val="90000"/>
            </a:schemeClr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lIns="119485" tIns="59742" rIns="119485" bIns="59742" rtlCol="0" anchor="ctr" anchorCtr="1">
            <a:noAutofit/>
          </a:bodyPr>
          <a:lstStyle/>
          <a:p>
            <a:pPr algn="ctr"/>
            <a:r>
              <a:rPr lang="pt-BR" dirty="0" smtClean="0">
                <a:solidFill>
                  <a:schemeClr val="tx1"/>
                </a:solidFill>
                <a:latin typeface="Simplon Oi"/>
              </a:rPr>
              <a:t>INFORMATICA</a:t>
            </a:r>
            <a:endParaRPr lang="pt-BR" dirty="0">
              <a:solidFill>
                <a:schemeClr val="tx1"/>
              </a:solidFill>
              <a:latin typeface="Simplon Oi"/>
            </a:endParaRPr>
          </a:p>
        </p:txBody>
      </p:sp>
      <p:cxnSp>
        <p:nvCxnSpPr>
          <p:cNvPr id="91" name="Conector de seta reta 90"/>
          <p:cNvCxnSpPr/>
          <p:nvPr/>
        </p:nvCxnSpPr>
        <p:spPr>
          <a:xfrm>
            <a:off x="1430448" y="1306406"/>
            <a:ext cx="1251980" cy="0"/>
          </a:xfrm>
          <a:prstGeom prst="straightConnector1">
            <a:avLst/>
          </a:prstGeom>
          <a:ln w="19050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Conector de seta reta 93"/>
          <p:cNvCxnSpPr>
            <a:stCxn id="59" idx="4"/>
            <a:endCxn id="49" idx="1"/>
          </p:cNvCxnSpPr>
          <p:nvPr/>
        </p:nvCxnSpPr>
        <p:spPr>
          <a:xfrm>
            <a:off x="2907945" y="2159147"/>
            <a:ext cx="1662109" cy="1234862"/>
          </a:xfrm>
          <a:prstGeom prst="straightConnector1">
            <a:avLst/>
          </a:prstGeom>
          <a:ln w="19050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5" name="Conector de seta reta 114"/>
          <p:cNvCxnSpPr>
            <a:stCxn id="55" idx="4"/>
            <a:endCxn id="49" idx="1"/>
          </p:cNvCxnSpPr>
          <p:nvPr/>
        </p:nvCxnSpPr>
        <p:spPr>
          <a:xfrm flipV="1">
            <a:off x="2935241" y="3394009"/>
            <a:ext cx="1634813" cy="1242437"/>
          </a:xfrm>
          <a:prstGeom prst="straightConnector1">
            <a:avLst/>
          </a:prstGeom>
          <a:ln w="19050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1" name="Picture 4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135930" y="1612021"/>
            <a:ext cx="296790" cy="35283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2" name="CaixaDeTexto 31"/>
          <p:cNvSpPr txBox="1"/>
          <p:nvPr/>
        </p:nvSpPr>
        <p:spPr>
          <a:xfrm>
            <a:off x="237510" y="1690316"/>
            <a:ext cx="722205" cy="274539"/>
          </a:xfrm>
          <a:prstGeom prst="rect">
            <a:avLst/>
          </a:prstGeom>
          <a:noFill/>
        </p:spPr>
        <p:txBody>
          <a:bodyPr wrap="none" lIns="119485" tIns="59742" rIns="119485" bIns="59742" rtlCol="0">
            <a:spAutoFit/>
          </a:bodyPr>
          <a:lstStyle/>
          <a:p>
            <a:r>
              <a:rPr lang="pt-BR" sz="1000" b="1" dirty="0">
                <a:latin typeface="Simplon Oi"/>
              </a:rPr>
              <a:t>Siebel </a:t>
            </a:r>
            <a:r>
              <a:rPr lang="pt-BR" sz="1000" b="1" dirty="0" smtClean="0">
                <a:latin typeface="Simplon Oi"/>
              </a:rPr>
              <a:t>8</a:t>
            </a:r>
            <a:endParaRPr lang="pt-BR" sz="1000" b="1" dirty="0">
              <a:latin typeface="Simplon Oi"/>
            </a:endParaRPr>
          </a:p>
        </p:txBody>
      </p:sp>
      <p:pic>
        <p:nvPicPr>
          <p:cNvPr id="33" name="Picture 4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135930" y="2062405"/>
            <a:ext cx="296790" cy="35283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4" name="CaixaDeTexto 33"/>
          <p:cNvSpPr txBox="1"/>
          <p:nvPr/>
        </p:nvSpPr>
        <p:spPr>
          <a:xfrm>
            <a:off x="237510" y="2140700"/>
            <a:ext cx="712587" cy="274539"/>
          </a:xfrm>
          <a:prstGeom prst="rect">
            <a:avLst/>
          </a:prstGeom>
          <a:noFill/>
        </p:spPr>
        <p:txBody>
          <a:bodyPr wrap="none" lIns="119485" tIns="59742" rIns="119485" bIns="59742" rtlCol="0">
            <a:spAutoFit/>
          </a:bodyPr>
          <a:lstStyle/>
          <a:p>
            <a:r>
              <a:rPr lang="pt-BR" sz="1000" b="1" dirty="0" smtClean="0">
                <a:latin typeface="Simplon Oi"/>
              </a:rPr>
              <a:t>ARBOR</a:t>
            </a:r>
            <a:endParaRPr lang="pt-BR" sz="1000" b="1" dirty="0">
              <a:latin typeface="Simplon Oi"/>
            </a:endParaRPr>
          </a:p>
        </p:txBody>
      </p:sp>
      <p:pic>
        <p:nvPicPr>
          <p:cNvPr id="35" name="Picture 4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122282" y="2499141"/>
            <a:ext cx="296790" cy="35283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6" name="CaixaDeTexto 35"/>
          <p:cNvSpPr txBox="1"/>
          <p:nvPr/>
        </p:nvSpPr>
        <p:spPr>
          <a:xfrm>
            <a:off x="223862" y="2577436"/>
            <a:ext cx="462518" cy="274539"/>
          </a:xfrm>
          <a:prstGeom prst="rect">
            <a:avLst/>
          </a:prstGeom>
          <a:noFill/>
        </p:spPr>
        <p:txBody>
          <a:bodyPr wrap="none" lIns="119485" tIns="59742" rIns="119485" bIns="59742" rtlCol="0">
            <a:spAutoFit/>
          </a:bodyPr>
          <a:lstStyle/>
          <a:p>
            <a:r>
              <a:rPr lang="pt-BR" sz="1000" b="1" dirty="0" smtClean="0">
                <a:latin typeface="Simplon Oi"/>
              </a:rPr>
              <a:t>CDI</a:t>
            </a:r>
            <a:endParaRPr lang="pt-BR" sz="1000" b="1" dirty="0">
              <a:latin typeface="Simplon Oi"/>
            </a:endParaRPr>
          </a:p>
        </p:txBody>
      </p:sp>
      <p:pic>
        <p:nvPicPr>
          <p:cNvPr id="37" name="Picture 4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135930" y="3290725"/>
            <a:ext cx="296790" cy="35283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8" name="CaixaDeTexto 37"/>
          <p:cNvSpPr txBox="1"/>
          <p:nvPr/>
        </p:nvSpPr>
        <p:spPr>
          <a:xfrm>
            <a:off x="237510" y="3369020"/>
            <a:ext cx="938610" cy="274539"/>
          </a:xfrm>
          <a:prstGeom prst="rect">
            <a:avLst/>
          </a:prstGeom>
          <a:noFill/>
        </p:spPr>
        <p:txBody>
          <a:bodyPr wrap="none" lIns="119485" tIns="59742" rIns="119485" bIns="59742" rtlCol="0">
            <a:spAutoFit/>
          </a:bodyPr>
          <a:lstStyle/>
          <a:p>
            <a:r>
              <a:rPr lang="pt-BR" sz="1000" b="1" dirty="0" smtClean="0">
                <a:latin typeface="Simplon Oi"/>
              </a:rPr>
              <a:t>PORTAL OI</a:t>
            </a:r>
            <a:endParaRPr lang="pt-BR" sz="1000" b="1" dirty="0">
              <a:latin typeface="Simplon Oi"/>
            </a:endParaRPr>
          </a:p>
        </p:txBody>
      </p:sp>
      <p:pic>
        <p:nvPicPr>
          <p:cNvPr id="39" name="Picture 4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138202" y="3757029"/>
            <a:ext cx="296790" cy="35283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0" name="CaixaDeTexto 39"/>
          <p:cNvSpPr txBox="1"/>
          <p:nvPr/>
        </p:nvSpPr>
        <p:spPr>
          <a:xfrm>
            <a:off x="239782" y="3835324"/>
            <a:ext cx="710984" cy="274539"/>
          </a:xfrm>
          <a:prstGeom prst="rect">
            <a:avLst/>
          </a:prstGeom>
          <a:noFill/>
        </p:spPr>
        <p:txBody>
          <a:bodyPr wrap="none" lIns="119485" tIns="59742" rIns="119485" bIns="59742" rtlCol="0">
            <a:spAutoFit/>
          </a:bodyPr>
          <a:lstStyle/>
          <a:p>
            <a:r>
              <a:rPr lang="pt-BR" sz="1000" b="1" dirty="0" smtClean="0">
                <a:latin typeface="Simplon Oi"/>
              </a:rPr>
              <a:t>SISRAF</a:t>
            </a:r>
            <a:endParaRPr lang="pt-BR" sz="1000" b="1" dirty="0">
              <a:latin typeface="Simplon Oi"/>
            </a:endParaRPr>
          </a:p>
        </p:txBody>
      </p:sp>
      <p:pic>
        <p:nvPicPr>
          <p:cNvPr id="41" name="Picture 4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138202" y="4207413"/>
            <a:ext cx="296790" cy="35283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2" name="CaixaDeTexto 41"/>
          <p:cNvSpPr txBox="1"/>
          <p:nvPr/>
        </p:nvSpPr>
        <p:spPr>
          <a:xfrm>
            <a:off x="239782" y="4285708"/>
            <a:ext cx="547478" cy="274539"/>
          </a:xfrm>
          <a:prstGeom prst="rect">
            <a:avLst/>
          </a:prstGeom>
          <a:noFill/>
        </p:spPr>
        <p:txBody>
          <a:bodyPr wrap="none" lIns="119485" tIns="59742" rIns="119485" bIns="59742" rtlCol="0">
            <a:spAutoFit/>
          </a:bodyPr>
          <a:lstStyle/>
          <a:p>
            <a:r>
              <a:rPr lang="pt-BR" sz="1000" b="1" dirty="0" smtClean="0">
                <a:latin typeface="Simplon Oi"/>
              </a:rPr>
              <a:t>SINN</a:t>
            </a:r>
            <a:endParaRPr lang="pt-BR" sz="1000" b="1" dirty="0">
              <a:latin typeface="Simplon Oi"/>
            </a:endParaRPr>
          </a:p>
        </p:txBody>
      </p:sp>
      <p:pic>
        <p:nvPicPr>
          <p:cNvPr id="43" name="Picture 4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124554" y="4644149"/>
            <a:ext cx="296790" cy="35283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4" name="CaixaDeTexto 43"/>
          <p:cNvSpPr txBox="1"/>
          <p:nvPr/>
        </p:nvSpPr>
        <p:spPr>
          <a:xfrm>
            <a:off x="226134" y="4722444"/>
            <a:ext cx="497784" cy="274539"/>
          </a:xfrm>
          <a:prstGeom prst="rect">
            <a:avLst/>
          </a:prstGeom>
          <a:noFill/>
        </p:spPr>
        <p:txBody>
          <a:bodyPr wrap="none" lIns="119485" tIns="59742" rIns="119485" bIns="59742" rtlCol="0">
            <a:spAutoFit/>
          </a:bodyPr>
          <a:lstStyle/>
          <a:p>
            <a:r>
              <a:rPr lang="pt-BR" sz="1000" b="1" dirty="0" smtClean="0">
                <a:latin typeface="Simplon Oi"/>
              </a:rPr>
              <a:t>STC</a:t>
            </a:r>
            <a:endParaRPr lang="pt-BR" sz="1000" b="1" dirty="0">
              <a:latin typeface="Simplon Oi"/>
            </a:endParaRPr>
          </a:p>
        </p:txBody>
      </p:sp>
      <p:pic>
        <p:nvPicPr>
          <p:cNvPr id="45" name="Picture 4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113178" y="5083157"/>
            <a:ext cx="296790" cy="35283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6" name="CaixaDeTexto 45"/>
          <p:cNvSpPr txBox="1"/>
          <p:nvPr/>
        </p:nvSpPr>
        <p:spPr>
          <a:xfrm>
            <a:off x="214758" y="5161452"/>
            <a:ext cx="512212" cy="274539"/>
          </a:xfrm>
          <a:prstGeom prst="rect">
            <a:avLst/>
          </a:prstGeom>
          <a:noFill/>
        </p:spPr>
        <p:txBody>
          <a:bodyPr wrap="none" lIns="119485" tIns="59742" rIns="119485" bIns="59742" rtlCol="0">
            <a:spAutoFit/>
          </a:bodyPr>
          <a:lstStyle/>
          <a:p>
            <a:r>
              <a:rPr lang="pt-BR" sz="1000" b="1" dirty="0" smtClean="0">
                <a:latin typeface="Simplon Oi"/>
              </a:rPr>
              <a:t>SAC</a:t>
            </a:r>
            <a:endParaRPr lang="pt-BR" sz="1000" b="1" dirty="0">
              <a:latin typeface="Simplon Oi"/>
            </a:endParaRPr>
          </a:p>
        </p:txBody>
      </p:sp>
      <p:pic>
        <p:nvPicPr>
          <p:cNvPr id="53" name="Picture 4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099530" y="5519893"/>
            <a:ext cx="296790" cy="35283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4" name="CaixaDeTexto 53"/>
          <p:cNvSpPr txBox="1"/>
          <p:nvPr/>
        </p:nvSpPr>
        <p:spPr>
          <a:xfrm>
            <a:off x="201110" y="5598188"/>
            <a:ext cx="518624" cy="274539"/>
          </a:xfrm>
          <a:prstGeom prst="rect">
            <a:avLst/>
          </a:prstGeom>
          <a:noFill/>
        </p:spPr>
        <p:txBody>
          <a:bodyPr wrap="none" lIns="119485" tIns="59742" rIns="119485" bIns="59742" rtlCol="0">
            <a:spAutoFit/>
          </a:bodyPr>
          <a:lstStyle/>
          <a:p>
            <a:r>
              <a:rPr lang="pt-BR" sz="1000" b="1" dirty="0" smtClean="0">
                <a:latin typeface="Simplon Oi"/>
              </a:rPr>
              <a:t>SAG</a:t>
            </a:r>
            <a:endParaRPr lang="pt-BR" sz="1000" b="1" dirty="0">
              <a:latin typeface="Simplon Oi"/>
            </a:endParaRPr>
          </a:p>
        </p:txBody>
      </p:sp>
      <p:sp>
        <p:nvSpPr>
          <p:cNvPr id="55" name="Cilindro 54"/>
          <p:cNvSpPr>
            <a:spLocks noChangeAspect="1"/>
          </p:cNvSpPr>
          <p:nvPr/>
        </p:nvSpPr>
        <p:spPr>
          <a:xfrm>
            <a:off x="2694565" y="3367247"/>
            <a:ext cx="240676" cy="2538398"/>
          </a:xfrm>
          <a:prstGeom prst="can">
            <a:avLst/>
          </a:prstGeom>
          <a:solidFill>
            <a:schemeClr val="bg2">
              <a:lumMod val="90000"/>
            </a:schemeClr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lIns="119485" tIns="59742" rIns="119485" bIns="59742" rtlCol="0" anchor="ctr" anchorCtr="1">
            <a:noAutofit/>
          </a:bodyPr>
          <a:lstStyle/>
          <a:p>
            <a:pPr algn="ctr"/>
            <a:r>
              <a:rPr lang="pt-BR" dirty="0" smtClean="0">
                <a:solidFill>
                  <a:schemeClr val="tx1"/>
                </a:solidFill>
                <a:latin typeface="Simplon Oi"/>
              </a:rPr>
              <a:t>CONNECT DIRECT</a:t>
            </a:r>
            <a:endParaRPr lang="pt-BR" dirty="0">
              <a:solidFill>
                <a:schemeClr val="tx1"/>
              </a:solidFill>
              <a:latin typeface="Simplon Oi"/>
            </a:endParaRPr>
          </a:p>
        </p:txBody>
      </p:sp>
      <p:sp>
        <p:nvSpPr>
          <p:cNvPr id="56" name="CaixaDeTexto 55"/>
          <p:cNvSpPr txBox="1"/>
          <p:nvPr/>
        </p:nvSpPr>
        <p:spPr>
          <a:xfrm>
            <a:off x="4474518" y="2479632"/>
            <a:ext cx="938818" cy="428427"/>
          </a:xfrm>
          <a:prstGeom prst="rect">
            <a:avLst/>
          </a:prstGeom>
          <a:noFill/>
        </p:spPr>
        <p:txBody>
          <a:bodyPr wrap="square" lIns="119485" tIns="59742" rIns="119485" bIns="59742" rtlCol="0">
            <a:spAutoFit/>
          </a:bodyPr>
          <a:lstStyle/>
          <a:p>
            <a:r>
              <a:rPr lang="pt-BR" sz="2000" b="1" dirty="0" smtClean="0">
                <a:latin typeface="Simplon Oi"/>
              </a:rPr>
              <a:t>RAID</a:t>
            </a:r>
            <a:endParaRPr lang="pt-BR" sz="2000" b="1" dirty="0">
              <a:latin typeface="Simplon Oi"/>
            </a:endParaRPr>
          </a:p>
        </p:txBody>
      </p:sp>
      <p:sp>
        <p:nvSpPr>
          <p:cNvPr id="61" name="CaixaDeTexto 60"/>
          <p:cNvSpPr txBox="1"/>
          <p:nvPr/>
        </p:nvSpPr>
        <p:spPr>
          <a:xfrm>
            <a:off x="5211277" y="2851975"/>
            <a:ext cx="4772993" cy="582316"/>
          </a:xfrm>
          <a:prstGeom prst="rect">
            <a:avLst/>
          </a:prstGeom>
          <a:noFill/>
        </p:spPr>
        <p:txBody>
          <a:bodyPr wrap="none" lIns="119485" tIns="59742" rIns="119485" bIns="59742" rtlCol="0">
            <a:spAutoFit/>
          </a:bodyPr>
          <a:lstStyle/>
          <a:p>
            <a:r>
              <a:rPr lang="pt-BR" sz="1000" b="1" dirty="0" smtClean="0">
                <a:latin typeface="Simplon Oi"/>
              </a:rPr>
              <a:t>Disponibilização Semanal Automática de Relatórios dos Batimentos entre:</a:t>
            </a:r>
          </a:p>
          <a:p>
            <a:r>
              <a:rPr lang="pt-BR" sz="1000" b="1" dirty="0" smtClean="0">
                <a:latin typeface="Simplon Oi"/>
              </a:rPr>
              <a:t>. PORTAL OI e os </a:t>
            </a:r>
            <a:r>
              <a:rPr lang="pt-BR" sz="1000" b="1" dirty="0" err="1" smtClean="0">
                <a:latin typeface="Simplon Oi"/>
              </a:rPr>
              <a:t>CRMs</a:t>
            </a:r>
            <a:r>
              <a:rPr lang="pt-BR" sz="1000" b="1" dirty="0" smtClean="0">
                <a:latin typeface="Simplon Oi"/>
              </a:rPr>
              <a:t> e</a:t>
            </a:r>
          </a:p>
          <a:p>
            <a:r>
              <a:rPr lang="pt-BR" sz="1000" b="1" dirty="0" smtClean="0">
                <a:latin typeface="Simplon Oi"/>
              </a:rPr>
              <a:t>. PORTAL OI e os FATURAMENTOS</a:t>
            </a:r>
            <a:endParaRPr lang="pt-BR" sz="1000" b="1" dirty="0">
              <a:latin typeface="Simplon Oi"/>
            </a:endParaRPr>
          </a:p>
        </p:txBody>
      </p:sp>
      <p:cxnSp>
        <p:nvCxnSpPr>
          <p:cNvPr id="62" name="Conector de seta reta 61"/>
          <p:cNvCxnSpPr/>
          <p:nvPr/>
        </p:nvCxnSpPr>
        <p:spPr>
          <a:xfrm>
            <a:off x="1419072" y="1827585"/>
            <a:ext cx="1251980" cy="0"/>
          </a:xfrm>
          <a:prstGeom prst="straightConnector1">
            <a:avLst/>
          </a:prstGeom>
          <a:ln w="19050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Conector de seta reta 62"/>
          <p:cNvCxnSpPr/>
          <p:nvPr/>
        </p:nvCxnSpPr>
        <p:spPr>
          <a:xfrm>
            <a:off x="1421344" y="2238822"/>
            <a:ext cx="1251980" cy="0"/>
          </a:xfrm>
          <a:prstGeom prst="straightConnector1">
            <a:avLst/>
          </a:prstGeom>
          <a:ln w="19050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Conector de seta reta 67"/>
          <p:cNvCxnSpPr/>
          <p:nvPr/>
        </p:nvCxnSpPr>
        <p:spPr>
          <a:xfrm>
            <a:off x="1434992" y="2717750"/>
            <a:ext cx="1251980" cy="0"/>
          </a:xfrm>
          <a:prstGeom prst="straightConnector1">
            <a:avLst/>
          </a:prstGeom>
          <a:ln w="19050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Conector de seta reta 70"/>
          <p:cNvCxnSpPr/>
          <p:nvPr/>
        </p:nvCxnSpPr>
        <p:spPr>
          <a:xfrm>
            <a:off x="1434992" y="3506289"/>
            <a:ext cx="1251980" cy="0"/>
          </a:xfrm>
          <a:prstGeom prst="straightConnector1">
            <a:avLst/>
          </a:prstGeom>
          <a:ln w="19050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" name="Conector de seta reta 71"/>
          <p:cNvCxnSpPr/>
          <p:nvPr/>
        </p:nvCxnSpPr>
        <p:spPr>
          <a:xfrm>
            <a:off x="1421344" y="3972593"/>
            <a:ext cx="1251980" cy="0"/>
          </a:xfrm>
          <a:prstGeom prst="straightConnector1">
            <a:avLst/>
          </a:prstGeom>
          <a:ln w="19050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3" name="Conector de seta reta 72"/>
          <p:cNvCxnSpPr/>
          <p:nvPr/>
        </p:nvCxnSpPr>
        <p:spPr>
          <a:xfrm>
            <a:off x="1430448" y="4392499"/>
            <a:ext cx="1251980" cy="0"/>
          </a:xfrm>
          <a:prstGeom prst="straightConnector1">
            <a:avLst/>
          </a:prstGeom>
          <a:ln w="19050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" name="Conector de seta reta 73"/>
          <p:cNvCxnSpPr/>
          <p:nvPr/>
        </p:nvCxnSpPr>
        <p:spPr>
          <a:xfrm>
            <a:off x="1418602" y="4817862"/>
            <a:ext cx="1251980" cy="0"/>
          </a:xfrm>
          <a:prstGeom prst="straightConnector1">
            <a:avLst/>
          </a:prstGeom>
          <a:ln w="19050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Conector de seta reta 74"/>
          <p:cNvCxnSpPr/>
          <p:nvPr/>
        </p:nvCxnSpPr>
        <p:spPr>
          <a:xfrm>
            <a:off x="1396320" y="5259574"/>
            <a:ext cx="1251980" cy="0"/>
          </a:xfrm>
          <a:prstGeom prst="straightConnector1">
            <a:avLst/>
          </a:prstGeom>
          <a:ln w="19050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Conector de seta reta 75"/>
          <p:cNvCxnSpPr/>
          <p:nvPr/>
        </p:nvCxnSpPr>
        <p:spPr>
          <a:xfrm>
            <a:off x="1396320" y="5696310"/>
            <a:ext cx="1251980" cy="0"/>
          </a:xfrm>
          <a:prstGeom prst="straightConnector1">
            <a:avLst/>
          </a:prstGeom>
          <a:ln w="19050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68902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69084" y="2861813"/>
            <a:ext cx="742950" cy="962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77" name="Conector de seta reta 76"/>
          <p:cNvCxnSpPr/>
          <p:nvPr/>
        </p:nvCxnSpPr>
        <p:spPr>
          <a:xfrm flipV="1">
            <a:off x="5293165" y="3429405"/>
            <a:ext cx="4075919" cy="2"/>
          </a:xfrm>
          <a:prstGeom prst="straightConnector1">
            <a:avLst/>
          </a:prstGeom>
          <a:ln w="19050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8" name="CaixaDeTexto 77"/>
          <p:cNvSpPr txBox="1"/>
          <p:nvPr/>
        </p:nvSpPr>
        <p:spPr>
          <a:xfrm>
            <a:off x="8502660" y="3877957"/>
            <a:ext cx="3120297" cy="582316"/>
          </a:xfrm>
          <a:prstGeom prst="rect">
            <a:avLst/>
          </a:prstGeom>
          <a:noFill/>
        </p:spPr>
        <p:txBody>
          <a:bodyPr wrap="none" lIns="119485" tIns="59742" rIns="119485" bIns="59742" rtlCol="0">
            <a:spAutoFit/>
          </a:bodyPr>
          <a:lstStyle/>
          <a:p>
            <a:r>
              <a:rPr lang="pt-BR" sz="1000" b="1" dirty="0" smtClean="0">
                <a:latin typeface="Simplon Oi"/>
              </a:rPr>
              <a:t>OPERAÇÃO E-CARE, </a:t>
            </a:r>
          </a:p>
          <a:p>
            <a:r>
              <a:rPr lang="pt-BR" sz="1000" b="1" dirty="0" smtClean="0">
                <a:latin typeface="Simplon Oi"/>
              </a:rPr>
              <a:t>Analisa os relatórios de divergência e </a:t>
            </a:r>
          </a:p>
          <a:p>
            <a:r>
              <a:rPr lang="pt-BR" sz="1000" b="1" dirty="0" smtClean="0">
                <a:latin typeface="Simplon Oi"/>
              </a:rPr>
              <a:t>endereça o tratamento das divergências, em TI.</a:t>
            </a:r>
            <a:endParaRPr lang="pt-BR" sz="1000" b="1" dirty="0">
              <a:latin typeface="Simplon Oi"/>
            </a:endParaRPr>
          </a:p>
        </p:txBody>
      </p:sp>
      <p:sp>
        <p:nvSpPr>
          <p:cNvPr id="79" name="Retângulo 78"/>
          <p:cNvSpPr/>
          <p:nvPr/>
        </p:nvSpPr>
        <p:spPr>
          <a:xfrm>
            <a:off x="4527973" y="4670239"/>
            <a:ext cx="6235529" cy="1197869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119485" tIns="59742" rIns="119485" bIns="59742">
            <a:spAutoFit/>
          </a:bodyPr>
          <a:lstStyle/>
          <a:p>
            <a:pPr>
              <a:spcBef>
                <a:spcPts val="4704"/>
              </a:spcBef>
            </a:pPr>
            <a:r>
              <a:rPr lang="pt-BR" sz="1400" b="1" dirty="0" smtClean="0">
                <a:solidFill>
                  <a:srgbClr val="000000"/>
                </a:solidFill>
                <a:latin typeface="Simplon Oi"/>
                <a:cs typeface="Simplon Oi Headline"/>
              </a:rPr>
              <a:t>Benefícios do Batimento Automatizado</a:t>
            </a:r>
            <a:r>
              <a:rPr lang="pt-BR" sz="1400" dirty="0" smtClean="0">
                <a:solidFill>
                  <a:srgbClr val="000000"/>
                </a:solidFill>
                <a:latin typeface="Simplon Oi"/>
                <a:cs typeface="Simplon Oi Headline"/>
              </a:rPr>
              <a:t>: </a:t>
            </a:r>
          </a:p>
          <a:p>
            <a:pPr>
              <a:spcBef>
                <a:spcPts val="0"/>
              </a:spcBef>
            </a:pPr>
            <a:r>
              <a:rPr lang="pt-BR" sz="1400" dirty="0" smtClean="0">
                <a:solidFill>
                  <a:srgbClr val="000000"/>
                </a:solidFill>
                <a:latin typeface="Simplon Oi"/>
                <a:cs typeface="Simplon Oi Headline"/>
              </a:rPr>
              <a:t>Maior abrangência de batimentos gerando insumo, para o tratamento de divergências, entre o Portal Oi e os sistemas de CRM e Faturamento, e dessa forma diminuir </a:t>
            </a:r>
            <a:r>
              <a:rPr lang="pt-BR" sz="1400" dirty="0" err="1" smtClean="0">
                <a:solidFill>
                  <a:srgbClr val="000000"/>
                </a:solidFill>
                <a:latin typeface="Simplon Oi"/>
                <a:cs typeface="Simplon Oi Headline"/>
              </a:rPr>
              <a:t>proativamente</a:t>
            </a:r>
            <a:r>
              <a:rPr lang="pt-BR" sz="1400" dirty="0" smtClean="0">
                <a:solidFill>
                  <a:srgbClr val="000000"/>
                </a:solidFill>
                <a:latin typeface="Simplon Oi"/>
                <a:cs typeface="Simplon Oi Headline"/>
              </a:rPr>
              <a:t>, o número de reclamações de clientes no uso do </a:t>
            </a:r>
            <a:r>
              <a:rPr lang="pt-BR" sz="1400" dirty="0" err="1" smtClean="0">
                <a:solidFill>
                  <a:srgbClr val="000000"/>
                </a:solidFill>
                <a:latin typeface="Simplon Oi"/>
                <a:cs typeface="Simplon Oi Headline"/>
              </a:rPr>
              <a:t>App</a:t>
            </a:r>
            <a:r>
              <a:rPr lang="pt-BR" sz="1400" dirty="0" smtClean="0">
                <a:solidFill>
                  <a:srgbClr val="000000"/>
                </a:solidFill>
                <a:latin typeface="Simplon Oi"/>
                <a:cs typeface="Simplon Oi Headline"/>
              </a:rPr>
              <a:t> e Portal Minha Oi. </a:t>
            </a:r>
            <a:endParaRPr lang="pt-BR" sz="1400" dirty="0">
              <a:solidFill>
                <a:srgbClr val="000000"/>
              </a:solidFill>
              <a:latin typeface="Simplon Oi"/>
              <a:cs typeface="Simplon Oi Headline"/>
            </a:endParaRPr>
          </a:p>
        </p:txBody>
      </p:sp>
    </p:spTree>
    <p:extLst>
      <p:ext uri="{BB962C8B-B14F-4D97-AF65-F5344CB8AC3E}">
        <p14:creationId xmlns:p14="http://schemas.microsoft.com/office/powerpoint/2010/main" val="364732985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1190353" y="283591"/>
            <a:ext cx="8889337" cy="405646"/>
          </a:xfrm>
        </p:spPr>
        <p:txBody>
          <a:bodyPr vert="horz" lIns="0" tIns="0" rIns="0" bIns="0" rtlCol="0" anchor="t">
            <a:noAutofit/>
          </a:bodyPr>
          <a:lstStyle/>
          <a:p>
            <a:r>
              <a:rPr lang="pt-BR" sz="2800" dirty="0" smtClean="0">
                <a:solidFill>
                  <a:srgbClr val="A02BFF"/>
                </a:solidFill>
                <a:latin typeface="Simplon Oi Headline" pitchFamily="2" charset="0"/>
              </a:rPr>
              <a:t>47 </a:t>
            </a:r>
            <a:r>
              <a:rPr lang="pt-BR" sz="2800" dirty="0" err="1" smtClean="0">
                <a:solidFill>
                  <a:srgbClr val="A02BFF"/>
                </a:solidFill>
                <a:latin typeface="Simplon Oi Headline" pitchFamily="2" charset="0"/>
              </a:rPr>
              <a:t>BatimentoS</a:t>
            </a:r>
            <a:r>
              <a:rPr lang="pt-BR" sz="2800" dirty="0" smtClean="0">
                <a:solidFill>
                  <a:srgbClr val="A02BFF"/>
                </a:solidFill>
                <a:latin typeface="Simplon Oi Headline" pitchFamily="2" charset="0"/>
              </a:rPr>
              <a:t> automáticos SEMANAIS previstos</a:t>
            </a:r>
            <a:endParaRPr lang="pt-BR" sz="2800" u="sng" dirty="0">
              <a:solidFill>
                <a:srgbClr val="A02BFF"/>
              </a:solidFill>
            </a:endParaRPr>
          </a:p>
        </p:txBody>
      </p:sp>
      <p:graphicFrame>
        <p:nvGraphicFramePr>
          <p:cNvPr id="4" name="Tabela 3"/>
          <p:cNvGraphicFramePr>
            <a:graphicFrameLocks noGrp="1"/>
          </p:cNvGraphicFramePr>
          <p:nvPr>
            <p:extLst/>
          </p:nvPr>
        </p:nvGraphicFramePr>
        <p:xfrm>
          <a:off x="330260" y="1165101"/>
          <a:ext cx="3259102" cy="2473960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2250281"/>
                <a:gridCol w="1008821"/>
              </a:tblGrid>
              <a:tr h="177800">
                <a:tc>
                  <a:txBody>
                    <a:bodyPr/>
                    <a:lstStyle/>
                    <a:p>
                      <a:pPr marL="0" algn="l" defTabSz="593499" rtl="0" eaLnBrk="1" latinLnBrk="0" hangingPunct="1">
                        <a:spcAft>
                          <a:spcPts val="0"/>
                        </a:spcAft>
                      </a:pPr>
                      <a:r>
                        <a:rPr lang="pt-BR" sz="8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NCONSISTÊNCIA</a:t>
                      </a:r>
                      <a:r>
                        <a:rPr lang="pt-BR" sz="800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A SER IDENTIFICADA</a:t>
                      </a:r>
                      <a:endParaRPr lang="pt-BR" sz="800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pt-BR" sz="800">
                          <a:solidFill>
                            <a:schemeClr val="tx1"/>
                          </a:solidFill>
                          <a:effectLst/>
                        </a:rPr>
                        <a:t>CHAVE</a:t>
                      </a:r>
                      <a:endParaRPr lang="pt-BR" sz="120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44450" marR="44450" marT="0" marB="0" anchor="ctr"/>
                </a:tc>
              </a:tr>
              <a:tr h="196215">
                <a:tc>
                  <a:txBody>
                    <a:bodyPr/>
                    <a:lstStyle/>
                    <a:p>
                      <a:pPr marL="0" algn="l" defTabSz="593499" rtl="0" eaLnBrk="1" latinLnBrk="0" hangingPunct="1">
                        <a:spcAft>
                          <a:spcPts val="0"/>
                        </a:spcAft>
                      </a:pPr>
                      <a:r>
                        <a:rPr lang="pt-BR" sz="800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"Terminal existente no CRM e inexistente no Portal', "Terminal existente no Portal e inexistente no CRM para o mesmo CPF"</a:t>
                      </a:r>
                    </a:p>
                  </a:txBody>
                  <a:tcPr marL="44450" marR="44450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pt-BR" sz="800" dirty="0">
                          <a:solidFill>
                            <a:schemeClr val="tx1"/>
                          </a:solidFill>
                          <a:effectLst/>
                        </a:rPr>
                        <a:t>CPF</a:t>
                      </a:r>
                      <a:endParaRPr lang="pt-BR" sz="1200" dirty="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44450" marR="44450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</a:tr>
              <a:tr h="177800">
                <a:tc>
                  <a:txBody>
                    <a:bodyPr/>
                    <a:lstStyle/>
                    <a:p>
                      <a:pPr marL="0" algn="l" defTabSz="593499" rtl="0" eaLnBrk="1" latinLnBrk="0" hangingPunct="1">
                        <a:spcAft>
                          <a:spcPts val="0"/>
                        </a:spcAft>
                      </a:pPr>
                      <a:r>
                        <a:rPr lang="pt-BR" sz="800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"Status divergente"</a:t>
                      </a:r>
                    </a:p>
                  </a:txBody>
                  <a:tcPr marL="44450" marR="44450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pt-BR" sz="800" dirty="0">
                          <a:solidFill>
                            <a:schemeClr val="tx1"/>
                          </a:solidFill>
                          <a:effectLst/>
                        </a:rPr>
                        <a:t>CPF + TERMINAL</a:t>
                      </a:r>
                      <a:endParaRPr lang="pt-BR" sz="1200" dirty="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44450" marR="44450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</a:tr>
              <a:tr h="177800">
                <a:tc>
                  <a:txBody>
                    <a:bodyPr/>
                    <a:lstStyle/>
                    <a:p>
                      <a:pPr marL="0" algn="l" defTabSz="593499" rtl="0" eaLnBrk="1" latinLnBrk="0" hangingPunct="1">
                        <a:spcAft>
                          <a:spcPts val="0"/>
                        </a:spcAft>
                      </a:pPr>
                      <a:r>
                        <a:rPr lang="pt-BR" sz="800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"Produto existente no CRM e inexistente no Portal"</a:t>
                      </a:r>
                    </a:p>
                  </a:txBody>
                  <a:tcPr marL="44450" marR="44450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pt-BR" sz="800" dirty="0">
                          <a:solidFill>
                            <a:schemeClr val="tx1"/>
                          </a:solidFill>
                          <a:effectLst/>
                        </a:rPr>
                        <a:t>CPF + TERMINAL</a:t>
                      </a:r>
                      <a:endParaRPr lang="pt-BR" sz="1200" dirty="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44450" marR="44450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</a:tr>
              <a:tr h="177800">
                <a:tc>
                  <a:txBody>
                    <a:bodyPr/>
                    <a:lstStyle/>
                    <a:p>
                      <a:pPr marL="0" algn="l" defTabSz="593499" rtl="0" eaLnBrk="1" latinLnBrk="0" hangingPunct="1">
                        <a:spcAft>
                          <a:spcPts val="0"/>
                        </a:spcAft>
                      </a:pPr>
                      <a:r>
                        <a:rPr lang="pt-BR" sz="800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"Nome do Plano divergente"</a:t>
                      </a:r>
                    </a:p>
                  </a:txBody>
                  <a:tcPr marL="44450" marR="44450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pt-BR" sz="800" dirty="0">
                          <a:solidFill>
                            <a:schemeClr val="tx1"/>
                          </a:solidFill>
                          <a:effectLst/>
                        </a:rPr>
                        <a:t>CPF + TERMINAL</a:t>
                      </a:r>
                      <a:endParaRPr lang="pt-BR" sz="1200" dirty="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44450" marR="44450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</a:tr>
              <a:tr h="177800">
                <a:tc>
                  <a:txBody>
                    <a:bodyPr/>
                    <a:lstStyle/>
                    <a:p>
                      <a:pPr marL="0" algn="l" defTabSz="593499" rtl="0" eaLnBrk="1" latinLnBrk="0" hangingPunct="1">
                        <a:spcAft>
                          <a:spcPts val="0"/>
                        </a:spcAft>
                      </a:pPr>
                      <a:r>
                        <a:rPr lang="pt-BR" sz="800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"Status Conta Online divergente"</a:t>
                      </a:r>
                    </a:p>
                  </a:txBody>
                  <a:tcPr marL="44450" marR="44450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pt-BR" sz="800" dirty="0">
                          <a:solidFill>
                            <a:schemeClr val="tx1"/>
                          </a:solidFill>
                          <a:effectLst/>
                        </a:rPr>
                        <a:t>CPF + TERMINAL</a:t>
                      </a:r>
                      <a:endParaRPr lang="pt-BR" sz="1200" dirty="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44450" marR="44450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</a:tr>
              <a:tr h="177800">
                <a:tc>
                  <a:txBody>
                    <a:bodyPr/>
                    <a:lstStyle/>
                    <a:p>
                      <a:pPr marL="0" algn="l" defTabSz="593499" rtl="0" eaLnBrk="1" latinLnBrk="0" hangingPunct="1">
                        <a:spcAft>
                          <a:spcPts val="0"/>
                        </a:spcAft>
                      </a:pPr>
                      <a:r>
                        <a:rPr lang="pt-BR" sz="8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"</a:t>
                      </a:r>
                      <a:r>
                        <a:rPr lang="pt-BR" sz="800" kern="1200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Email</a:t>
                      </a:r>
                      <a:r>
                        <a:rPr lang="pt-BR" sz="8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Conta Online divergente"</a:t>
                      </a:r>
                    </a:p>
                  </a:txBody>
                  <a:tcPr marL="44450" marR="44450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pt-BR" sz="800" dirty="0">
                          <a:solidFill>
                            <a:schemeClr val="tx1"/>
                          </a:solidFill>
                          <a:effectLst/>
                        </a:rPr>
                        <a:t>CPF + TERMINAL</a:t>
                      </a:r>
                      <a:endParaRPr lang="pt-BR" sz="1200" dirty="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44450" marR="44450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</a:tr>
              <a:tr h="177800">
                <a:tc>
                  <a:txBody>
                    <a:bodyPr/>
                    <a:lstStyle/>
                    <a:p>
                      <a:pPr marL="0" algn="l" defTabSz="593499" rtl="0" eaLnBrk="1" latinLnBrk="0" hangingPunct="1">
                        <a:spcAft>
                          <a:spcPts val="0"/>
                        </a:spcAft>
                      </a:pPr>
                      <a:r>
                        <a:rPr lang="pt-BR" sz="800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"Data de Cadastro da conta online divergente"</a:t>
                      </a:r>
                    </a:p>
                  </a:txBody>
                  <a:tcPr marL="44450" marR="44450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pt-BR" sz="800" dirty="0">
                          <a:solidFill>
                            <a:schemeClr val="tx1"/>
                          </a:solidFill>
                          <a:effectLst/>
                        </a:rPr>
                        <a:t>CPF + TERMINAL</a:t>
                      </a:r>
                      <a:endParaRPr lang="pt-BR" sz="1200" dirty="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44450" marR="44450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</a:tr>
              <a:tr h="177800">
                <a:tc>
                  <a:txBody>
                    <a:bodyPr/>
                    <a:lstStyle/>
                    <a:p>
                      <a:pPr marL="0" algn="l" defTabSz="593499" rtl="0" eaLnBrk="1" latinLnBrk="0" hangingPunct="1">
                        <a:spcAft>
                          <a:spcPts val="0"/>
                        </a:spcAft>
                      </a:pPr>
                      <a:r>
                        <a:rPr lang="pt-BR" sz="800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"Data do último status conta online divergente"</a:t>
                      </a:r>
                    </a:p>
                  </a:txBody>
                  <a:tcPr marL="44450" marR="44450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pt-BR" sz="800" dirty="0">
                          <a:solidFill>
                            <a:schemeClr val="tx1"/>
                          </a:solidFill>
                          <a:effectLst/>
                        </a:rPr>
                        <a:t>CPF + TERMINAL</a:t>
                      </a:r>
                      <a:endParaRPr lang="pt-BR" sz="1200" dirty="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44450" marR="44450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</a:tr>
              <a:tr h="177800">
                <a:tc>
                  <a:txBody>
                    <a:bodyPr/>
                    <a:lstStyle/>
                    <a:p>
                      <a:pPr marL="0" algn="l" defTabSz="593499" rtl="0" eaLnBrk="1" latinLnBrk="0" hangingPunct="1">
                        <a:spcAft>
                          <a:spcPts val="0"/>
                        </a:spcAft>
                      </a:pPr>
                      <a:r>
                        <a:rPr lang="pt-BR" sz="8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"Terminal cadastrado no Conta Online para recebimento de SMS divergente"</a:t>
                      </a:r>
                    </a:p>
                  </a:txBody>
                  <a:tcPr marL="44450" marR="44450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pt-BR" sz="800" dirty="0">
                          <a:solidFill>
                            <a:schemeClr val="tx1"/>
                          </a:solidFill>
                          <a:effectLst/>
                        </a:rPr>
                        <a:t>CPF + TERMINAL</a:t>
                      </a:r>
                      <a:endParaRPr lang="pt-BR" sz="1200" dirty="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44450" marR="44450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</a:tr>
              <a:tr h="177800">
                <a:tc>
                  <a:txBody>
                    <a:bodyPr/>
                    <a:lstStyle/>
                    <a:p>
                      <a:pPr marL="0" algn="l" defTabSz="593499" rtl="0" eaLnBrk="1" latinLnBrk="0" hangingPunct="1">
                        <a:spcAft>
                          <a:spcPts val="0"/>
                        </a:spcAft>
                      </a:pPr>
                      <a:r>
                        <a:rPr lang="pt-BR" sz="8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"Matrícula do responsável pelo cadastro no Conta Online divergente"</a:t>
                      </a:r>
                    </a:p>
                  </a:txBody>
                  <a:tcPr marL="44450" marR="44450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pt-BR" sz="800" dirty="0">
                          <a:solidFill>
                            <a:schemeClr val="tx1"/>
                          </a:solidFill>
                          <a:effectLst/>
                        </a:rPr>
                        <a:t>CPF + TERMINAL</a:t>
                      </a:r>
                      <a:endParaRPr lang="pt-BR" sz="1200" dirty="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44450" marR="44450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</a:tr>
            </a:tbl>
          </a:graphicData>
        </a:graphic>
      </p:graphicFrame>
      <p:sp>
        <p:nvSpPr>
          <p:cNvPr id="7" name="CaixaDeTexto 6"/>
          <p:cNvSpPr txBox="1"/>
          <p:nvPr/>
        </p:nvSpPr>
        <p:spPr>
          <a:xfrm>
            <a:off x="207937" y="841875"/>
            <a:ext cx="3397617" cy="243761"/>
          </a:xfrm>
          <a:prstGeom prst="rect">
            <a:avLst/>
          </a:prstGeom>
          <a:noFill/>
        </p:spPr>
        <p:txBody>
          <a:bodyPr wrap="none" lIns="119485" tIns="59742" rIns="119485" bIns="59742" rtlCol="0">
            <a:spAutoFit/>
          </a:bodyPr>
          <a:lstStyle/>
          <a:p>
            <a:r>
              <a:rPr lang="pt-BR" sz="800" b="1" u="sng" dirty="0" smtClean="0">
                <a:latin typeface="Simplon Oi"/>
              </a:rPr>
              <a:t>Batimento PORTAL OI x </a:t>
            </a:r>
            <a:r>
              <a:rPr lang="pt-BR" sz="800" b="1" u="sng" dirty="0" err="1" smtClean="0">
                <a:latin typeface="Simplon Oi"/>
              </a:rPr>
              <a:t>CRMs</a:t>
            </a:r>
            <a:r>
              <a:rPr lang="pt-BR" sz="800" b="1" u="sng" dirty="0" smtClean="0">
                <a:latin typeface="Simplon Oi"/>
              </a:rPr>
              <a:t> : Clientes FIXO e BANDA LARGA</a:t>
            </a:r>
            <a:endParaRPr lang="pt-BR" sz="800" b="1" u="sng" dirty="0">
              <a:latin typeface="Simplon Oi"/>
            </a:endParaRPr>
          </a:p>
        </p:txBody>
      </p:sp>
      <p:graphicFrame>
        <p:nvGraphicFramePr>
          <p:cNvPr id="6" name="Tabela 5"/>
          <p:cNvGraphicFramePr>
            <a:graphicFrameLocks noGrp="1"/>
          </p:cNvGraphicFramePr>
          <p:nvPr>
            <p:extLst/>
          </p:nvPr>
        </p:nvGraphicFramePr>
        <p:xfrm>
          <a:off x="317123" y="4133685"/>
          <a:ext cx="3272238" cy="2230120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2287184"/>
                <a:gridCol w="985054"/>
              </a:tblGrid>
              <a:tr h="177800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pt-BR" sz="800" dirty="0" smtClean="0">
                          <a:solidFill>
                            <a:schemeClr val="tx1"/>
                          </a:solidFill>
                          <a:effectLst/>
                        </a:rPr>
                        <a:t>INCONSISTÊNCIA</a:t>
                      </a:r>
                      <a:r>
                        <a:rPr lang="pt-BR" sz="800" baseline="0" dirty="0" smtClean="0">
                          <a:solidFill>
                            <a:schemeClr val="tx1"/>
                          </a:solidFill>
                          <a:effectLst/>
                        </a:rPr>
                        <a:t> A SER IDENTIFICADA</a:t>
                      </a:r>
                      <a:endParaRPr lang="pt-BR" sz="1200" dirty="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44450" marR="44450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pt-BR" sz="800">
                          <a:solidFill>
                            <a:schemeClr val="tx1"/>
                          </a:solidFill>
                          <a:effectLst/>
                        </a:rPr>
                        <a:t>CHAVE</a:t>
                      </a:r>
                      <a:endParaRPr lang="pt-BR" sz="120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44450" marR="44450" marT="0" marB="0"/>
                </a:tc>
              </a:tr>
              <a:tr h="196215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pt-BR" sz="800">
                          <a:solidFill>
                            <a:schemeClr val="tx1"/>
                          </a:solidFill>
                          <a:effectLst/>
                        </a:rPr>
                        <a:t>"Terminal existente no CRM e inexistente no Portal',"Terminal existente no Portal e inexistente no CRM para o mesmo CPF"</a:t>
                      </a:r>
                      <a:endParaRPr lang="pt-BR" sz="120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44450" marR="44450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pt-BR" sz="800" dirty="0">
                          <a:solidFill>
                            <a:schemeClr val="tx1"/>
                          </a:solidFill>
                          <a:effectLst/>
                        </a:rPr>
                        <a:t>CPF</a:t>
                      </a:r>
                      <a:endParaRPr lang="pt-BR" sz="1200" dirty="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44450" marR="44450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</a:tr>
              <a:tr h="177800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pt-BR" sz="800">
                          <a:solidFill>
                            <a:schemeClr val="tx1"/>
                          </a:solidFill>
                          <a:effectLst/>
                        </a:rPr>
                        <a:t>"Status divergente"</a:t>
                      </a:r>
                      <a:endParaRPr lang="pt-BR" sz="120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44450" marR="44450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pt-BR" sz="800" dirty="0">
                          <a:solidFill>
                            <a:schemeClr val="tx1"/>
                          </a:solidFill>
                          <a:effectLst/>
                        </a:rPr>
                        <a:t>CPF + TERMINAL</a:t>
                      </a:r>
                      <a:endParaRPr lang="pt-BR" sz="1200" dirty="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44450" marR="44450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</a:tr>
              <a:tr h="177800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pt-BR" sz="800" dirty="0">
                          <a:solidFill>
                            <a:schemeClr val="tx1"/>
                          </a:solidFill>
                          <a:effectLst/>
                        </a:rPr>
                        <a:t>"Produto existente no CRM e inexistente no Portal"</a:t>
                      </a:r>
                      <a:endParaRPr lang="pt-BR" sz="1200" dirty="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44450" marR="44450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pt-BR" sz="800" dirty="0">
                          <a:solidFill>
                            <a:schemeClr val="tx1"/>
                          </a:solidFill>
                          <a:effectLst/>
                        </a:rPr>
                        <a:t>CPF + TERMINAL</a:t>
                      </a:r>
                      <a:endParaRPr lang="pt-BR" sz="1200" dirty="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44450" marR="44450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</a:tr>
              <a:tr h="177800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pt-BR" sz="800">
                          <a:solidFill>
                            <a:schemeClr val="tx1"/>
                          </a:solidFill>
                          <a:effectLst/>
                        </a:rPr>
                        <a:t>"Nome do Plano divergente"</a:t>
                      </a:r>
                      <a:endParaRPr lang="pt-BR" sz="120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44450" marR="44450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pt-BR" sz="800" dirty="0">
                          <a:solidFill>
                            <a:schemeClr val="tx1"/>
                          </a:solidFill>
                          <a:effectLst/>
                        </a:rPr>
                        <a:t>CPF + TERMINAL</a:t>
                      </a:r>
                      <a:endParaRPr lang="pt-BR" sz="1200" dirty="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44450" marR="44450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</a:tr>
              <a:tr h="177800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pt-BR" sz="800">
                          <a:solidFill>
                            <a:schemeClr val="tx1"/>
                          </a:solidFill>
                          <a:effectLst/>
                        </a:rPr>
                        <a:t>"Status Conta Online divergente"</a:t>
                      </a:r>
                      <a:endParaRPr lang="pt-BR" sz="120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44450" marR="44450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pt-BR" sz="800" dirty="0">
                          <a:solidFill>
                            <a:schemeClr val="tx1"/>
                          </a:solidFill>
                          <a:effectLst/>
                        </a:rPr>
                        <a:t>CPF + TERMINAL</a:t>
                      </a:r>
                      <a:endParaRPr lang="pt-BR" sz="1200" dirty="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44450" marR="44450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</a:tr>
              <a:tr h="177800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pt-BR" sz="800">
                          <a:solidFill>
                            <a:schemeClr val="tx1"/>
                          </a:solidFill>
                          <a:effectLst/>
                        </a:rPr>
                        <a:t>"Email Conta Online divergente"</a:t>
                      </a:r>
                      <a:endParaRPr lang="pt-BR" sz="120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44450" marR="44450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pt-BR" sz="800" dirty="0">
                          <a:solidFill>
                            <a:schemeClr val="tx1"/>
                          </a:solidFill>
                          <a:effectLst/>
                        </a:rPr>
                        <a:t>CPF + TERMINAL</a:t>
                      </a:r>
                      <a:endParaRPr lang="pt-BR" sz="1200" dirty="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44450" marR="44450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</a:tr>
              <a:tr h="177800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pt-BR" sz="800">
                          <a:solidFill>
                            <a:schemeClr val="tx1"/>
                          </a:solidFill>
                          <a:effectLst/>
                        </a:rPr>
                        <a:t>"Data de Cadastro da conta online divergente"</a:t>
                      </a:r>
                      <a:endParaRPr lang="pt-BR" sz="120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44450" marR="44450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pt-BR" sz="800" dirty="0">
                          <a:solidFill>
                            <a:schemeClr val="tx1"/>
                          </a:solidFill>
                          <a:effectLst/>
                        </a:rPr>
                        <a:t>CPF + TERMINAL</a:t>
                      </a:r>
                      <a:endParaRPr lang="pt-BR" sz="1200" dirty="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44450" marR="44450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</a:tr>
              <a:tr h="177800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pt-BR" sz="800">
                          <a:solidFill>
                            <a:schemeClr val="tx1"/>
                          </a:solidFill>
                          <a:effectLst/>
                        </a:rPr>
                        <a:t>"Data do último status conta online divergente"</a:t>
                      </a:r>
                      <a:endParaRPr lang="pt-BR" sz="120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44450" marR="44450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pt-BR" sz="800" dirty="0">
                          <a:solidFill>
                            <a:schemeClr val="tx1"/>
                          </a:solidFill>
                          <a:effectLst/>
                        </a:rPr>
                        <a:t>CPF + TERMINAL</a:t>
                      </a:r>
                      <a:endParaRPr lang="pt-BR" sz="1200" dirty="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44450" marR="44450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</a:tr>
              <a:tr h="177800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pt-BR" sz="800">
                          <a:solidFill>
                            <a:schemeClr val="tx1"/>
                          </a:solidFill>
                          <a:effectLst/>
                        </a:rPr>
                        <a:t>"Terminal cadastrado no Conta Online para recebimento de SMS divergente"</a:t>
                      </a:r>
                      <a:endParaRPr lang="pt-BR" sz="120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44450" marR="44450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pt-BR" sz="800" dirty="0">
                          <a:solidFill>
                            <a:schemeClr val="tx1"/>
                          </a:solidFill>
                          <a:effectLst/>
                        </a:rPr>
                        <a:t>CPF + TERMINAL</a:t>
                      </a:r>
                      <a:endParaRPr lang="pt-BR" sz="1200" dirty="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44450" marR="44450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</a:tr>
            </a:tbl>
          </a:graphicData>
        </a:graphic>
      </p:graphicFrame>
      <p:sp>
        <p:nvSpPr>
          <p:cNvPr id="9" name="CaixaDeTexto 8"/>
          <p:cNvSpPr txBox="1"/>
          <p:nvPr/>
        </p:nvSpPr>
        <p:spPr>
          <a:xfrm>
            <a:off x="207936" y="3819365"/>
            <a:ext cx="3557917" cy="243761"/>
          </a:xfrm>
          <a:prstGeom prst="rect">
            <a:avLst/>
          </a:prstGeom>
          <a:noFill/>
        </p:spPr>
        <p:txBody>
          <a:bodyPr wrap="none" lIns="119485" tIns="59742" rIns="119485" bIns="59742" rtlCol="0">
            <a:spAutoFit/>
          </a:bodyPr>
          <a:lstStyle/>
          <a:p>
            <a:r>
              <a:rPr lang="pt-BR" sz="800" b="1" u="sng" dirty="0" smtClean="0">
                <a:latin typeface="Simplon Oi"/>
              </a:rPr>
              <a:t>Batimento </a:t>
            </a:r>
            <a:r>
              <a:rPr lang="pt-BR" sz="800" b="1" u="sng" dirty="0">
                <a:latin typeface="Simplon Oi"/>
              </a:rPr>
              <a:t>PORTAL OI </a:t>
            </a:r>
            <a:r>
              <a:rPr lang="pt-BR" sz="800" b="1" u="sng" dirty="0" smtClean="0">
                <a:latin typeface="Simplon Oi"/>
              </a:rPr>
              <a:t>x </a:t>
            </a:r>
            <a:r>
              <a:rPr lang="pt-BR" sz="800" b="1" u="sng" dirty="0" err="1" smtClean="0">
                <a:latin typeface="Simplon Oi"/>
              </a:rPr>
              <a:t>CRMs</a:t>
            </a:r>
            <a:r>
              <a:rPr lang="pt-BR" sz="800" b="1" u="sng" dirty="0" smtClean="0">
                <a:latin typeface="Simplon Oi"/>
              </a:rPr>
              <a:t>: Clientes </a:t>
            </a:r>
            <a:r>
              <a:rPr lang="pt-BR" sz="800" b="1" u="sng" dirty="0">
                <a:latin typeface="Simplon Oi"/>
              </a:rPr>
              <a:t> </a:t>
            </a:r>
            <a:r>
              <a:rPr lang="pt-BR" sz="800" b="1" u="sng" dirty="0" smtClean="0">
                <a:latin typeface="Simplon Oi"/>
              </a:rPr>
              <a:t>MÓVEL PÓS e MÓVEL 3G</a:t>
            </a:r>
            <a:endParaRPr lang="pt-BR" sz="800" b="1" u="sng" dirty="0">
              <a:latin typeface="Simplon Oi"/>
            </a:endParaRPr>
          </a:p>
        </p:txBody>
      </p:sp>
      <p:graphicFrame>
        <p:nvGraphicFramePr>
          <p:cNvPr id="8" name="Tabela 7"/>
          <p:cNvGraphicFramePr>
            <a:graphicFrameLocks noGrp="1"/>
          </p:cNvGraphicFramePr>
          <p:nvPr>
            <p:extLst/>
          </p:nvPr>
        </p:nvGraphicFramePr>
        <p:xfrm>
          <a:off x="4001483" y="1192399"/>
          <a:ext cx="3477490" cy="2341880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2401069"/>
                <a:gridCol w="1076421"/>
              </a:tblGrid>
              <a:tr h="177800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pt-BR" sz="8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NCONSISTÊNCIA</a:t>
                      </a:r>
                      <a:r>
                        <a:rPr lang="pt-BR" sz="800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A SER IDENTIFICADA</a:t>
                      </a:r>
                      <a:endParaRPr lang="pt-BR" sz="800" dirty="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44450" marR="44450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pt-BR" sz="800">
                          <a:solidFill>
                            <a:schemeClr val="tx1"/>
                          </a:solidFill>
                          <a:effectLst/>
                        </a:rPr>
                        <a:t>CHAVE</a:t>
                      </a:r>
                      <a:endParaRPr lang="pt-BR" sz="120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44450" marR="44450" marT="0" marB="0"/>
                </a:tc>
              </a:tr>
              <a:tr h="196215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pt-BR" sz="800" dirty="0">
                          <a:solidFill>
                            <a:schemeClr val="tx1"/>
                          </a:solidFill>
                          <a:effectLst/>
                        </a:rPr>
                        <a:t>"Terminal existente no CRM e inexistente no </a:t>
                      </a:r>
                      <a:r>
                        <a:rPr lang="pt-BR" sz="800" dirty="0" err="1">
                          <a:solidFill>
                            <a:schemeClr val="tx1"/>
                          </a:solidFill>
                          <a:effectLst/>
                        </a:rPr>
                        <a:t>Portal',"Terminal</a:t>
                      </a:r>
                      <a:r>
                        <a:rPr lang="pt-BR" sz="800" dirty="0">
                          <a:solidFill>
                            <a:schemeClr val="tx1"/>
                          </a:solidFill>
                          <a:effectLst/>
                        </a:rPr>
                        <a:t> existente no Portal e inexistente no CRM para o mesmo CPF"</a:t>
                      </a:r>
                      <a:endParaRPr lang="pt-BR" sz="1200" dirty="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44450" marR="44450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pt-BR" sz="800" dirty="0">
                          <a:solidFill>
                            <a:schemeClr val="tx1"/>
                          </a:solidFill>
                          <a:effectLst/>
                        </a:rPr>
                        <a:t>CPF</a:t>
                      </a:r>
                      <a:endParaRPr lang="pt-BR" sz="1200" dirty="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44450" marR="44450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</a:tr>
              <a:tr h="177800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pt-BR" sz="800">
                          <a:solidFill>
                            <a:schemeClr val="tx1"/>
                          </a:solidFill>
                          <a:effectLst/>
                        </a:rPr>
                        <a:t>"Status divergente"</a:t>
                      </a:r>
                      <a:endParaRPr lang="pt-BR" sz="120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44450" marR="44450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pt-BR" sz="800" dirty="0">
                          <a:solidFill>
                            <a:schemeClr val="tx1"/>
                          </a:solidFill>
                          <a:effectLst/>
                        </a:rPr>
                        <a:t>CPF + TERMINAL</a:t>
                      </a:r>
                      <a:endParaRPr lang="pt-BR" sz="1200" dirty="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44450" marR="44450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</a:tr>
              <a:tr h="177800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pt-BR" sz="800">
                          <a:solidFill>
                            <a:schemeClr val="tx1"/>
                          </a:solidFill>
                          <a:effectLst/>
                        </a:rPr>
                        <a:t>"Produto existente no CRM e inexistente no Portal"</a:t>
                      </a:r>
                      <a:endParaRPr lang="pt-BR" sz="120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44450" marR="44450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pt-BR" sz="800" dirty="0">
                          <a:solidFill>
                            <a:schemeClr val="tx1"/>
                          </a:solidFill>
                          <a:effectLst/>
                        </a:rPr>
                        <a:t>CPF + TERMINAL</a:t>
                      </a:r>
                      <a:endParaRPr lang="pt-BR" sz="1200" dirty="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44450" marR="44450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</a:tr>
              <a:tr h="177800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pt-BR" sz="800">
                          <a:solidFill>
                            <a:schemeClr val="tx1"/>
                          </a:solidFill>
                          <a:effectLst/>
                        </a:rPr>
                        <a:t>"Nome do Plano divergente"</a:t>
                      </a:r>
                      <a:endParaRPr lang="pt-BR" sz="120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44450" marR="44450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pt-BR" sz="800" dirty="0">
                          <a:solidFill>
                            <a:schemeClr val="tx1"/>
                          </a:solidFill>
                          <a:effectLst/>
                        </a:rPr>
                        <a:t>CPF + TERMINAL</a:t>
                      </a:r>
                      <a:endParaRPr lang="pt-BR" sz="1200" dirty="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44450" marR="44450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</a:tr>
              <a:tr h="177800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pt-BR" sz="800">
                          <a:solidFill>
                            <a:schemeClr val="tx1"/>
                          </a:solidFill>
                          <a:effectLst/>
                        </a:rPr>
                        <a:t>"Status Conta Online divergente"</a:t>
                      </a:r>
                      <a:endParaRPr lang="pt-BR" sz="120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44450" marR="44450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pt-BR" sz="800" dirty="0">
                          <a:solidFill>
                            <a:schemeClr val="tx1"/>
                          </a:solidFill>
                          <a:effectLst/>
                        </a:rPr>
                        <a:t>CPF + TERMINAL</a:t>
                      </a:r>
                      <a:endParaRPr lang="pt-BR" sz="1200" dirty="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44450" marR="44450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</a:tr>
              <a:tr h="177800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pt-BR" sz="800">
                          <a:solidFill>
                            <a:schemeClr val="tx1"/>
                          </a:solidFill>
                          <a:effectLst/>
                        </a:rPr>
                        <a:t>"Email Conta Online divergente"</a:t>
                      </a:r>
                      <a:endParaRPr lang="pt-BR" sz="120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44450" marR="44450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pt-BR" sz="800" dirty="0">
                          <a:solidFill>
                            <a:schemeClr val="tx1"/>
                          </a:solidFill>
                          <a:effectLst/>
                        </a:rPr>
                        <a:t>CPF + TERMINAL</a:t>
                      </a:r>
                      <a:endParaRPr lang="pt-BR" sz="1200" dirty="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44450" marR="44450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</a:tr>
              <a:tr h="177800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pt-BR" sz="800">
                          <a:solidFill>
                            <a:schemeClr val="tx1"/>
                          </a:solidFill>
                          <a:effectLst/>
                        </a:rPr>
                        <a:t>"Data de Cadastro da conta online divergente"</a:t>
                      </a:r>
                      <a:endParaRPr lang="pt-BR" sz="120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44450" marR="44450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pt-BR" sz="800" dirty="0">
                          <a:solidFill>
                            <a:schemeClr val="tx1"/>
                          </a:solidFill>
                          <a:effectLst/>
                        </a:rPr>
                        <a:t>CPF + TERMINAL</a:t>
                      </a:r>
                      <a:endParaRPr lang="pt-BR" sz="1200" dirty="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44450" marR="44450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</a:tr>
              <a:tr h="177800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pt-BR" sz="800">
                          <a:solidFill>
                            <a:schemeClr val="tx1"/>
                          </a:solidFill>
                          <a:effectLst/>
                        </a:rPr>
                        <a:t>"Data do último status conta online divergente"</a:t>
                      </a:r>
                      <a:endParaRPr lang="pt-BR" sz="120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44450" marR="44450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pt-BR" sz="800" dirty="0">
                          <a:solidFill>
                            <a:schemeClr val="tx1"/>
                          </a:solidFill>
                          <a:effectLst/>
                        </a:rPr>
                        <a:t>CPF + TERMINAL</a:t>
                      </a:r>
                      <a:endParaRPr lang="pt-BR" sz="1200" dirty="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44450" marR="44450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</a:tr>
              <a:tr h="177800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pt-BR" sz="800">
                          <a:solidFill>
                            <a:schemeClr val="tx1"/>
                          </a:solidFill>
                          <a:effectLst/>
                        </a:rPr>
                        <a:t>"Terminal cadastrado no Conta Oine para recebimento de SMS divergente"</a:t>
                      </a:r>
                      <a:endParaRPr lang="pt-BR" sz="120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44450" marR="44450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pt-BR" sz="800" dirty="0">
                          <a:solidFill>
                            <a:schemeClr val="tx1"/>
                          </a:solidFill>
                          <a:effectLst/>
                        </a:rPr>
                        <a:t>CPF + TERMINAL</a:t>
                      </a:r>
                      <a:endParaRPr lang="pt-BR" sz="1200" dirty="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44450" marR="44450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</a:tr>
              <a:tr h="177800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pt-BR" sz="800">
                          <a:solidFill>
                            <a:schemeClr val="tx1"/>
                          </a:solidFill>
                          <a:effectLst/>
                        </a:rPr>
                        <a:t>"Matrícula do responsável pelo cadastro no Conta Online divergente"</a:t>
                      </a:r>
                      <a:endParaRPr lang="pt-BR" sz="120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44450" marR="44450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pt-BR" sz="800" dirty="0">
                          <a:solidFill>
                            <a:schemeClr val="tx1"/>
                          </a:solidFill>
                          <a:effectLst/>
                        </a:rPr>
                        <a:t>CPF + TERMINAL</a:t>
                      </a:r>
                      <a:endParaRPr lang="pt-BR" sz="1200" dirty="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44450" marR="44450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</a:tr>
            </a:tbl>
          </a:graphicData>
        </a:graphic>
      </p:graphicFrame>
      <p:sp>
        <p:nvSpPr>
          <p:cNvPr id="11" name="CaixaDeTexto 10"/>
          <p:cNvSpPr txBox="1"/>
          <p:nvPr/>
        </p:nvSpPr>
        <p:spPr>
          <a:xfrm>
            <a:off x="3895081" y="867158"/>
            <a:ext cx="3011293" cy="243761"/>
          </a:xfrm>
          <a:prstGeom prst="rect">
            <a:avLst/>
          </a:prstGeom>
          <a:noFill/>
        </p:spPr>
        <p:txBody>
          <a:bodyPr wrap="none" lIns="119485" tIns="59742" rIns="119485" bIns="59742" rtlCol="0">
            <a:spAutoFit/>
          </a:bodyPr>
          <a:lstStyle/>
          <a:p>
            <a:r>
              <a:rPr lang="pt-BR" sz="800" b="1" u="sng" dirty="0" smtClean="0">
                <a:latin typeface="Simplon Oi"/>
              </a:rPr>
              <a:t>Batimento </a:t>
            </a:r>
            <a:r>
              <a:rPr lang="pt-BR" sz="800" b="1" u="sng" dirty="0">
                <a:latin typeface="Simplon Oi"/>
              </a:rPr>
              <a:t>PORTAL OI </a:t>
            </a:r>
            <a:r>
              <a:rPr lang="pt-BR" sz="800" b="1" u="sng" dirty="0" smtClean="0">
                <a:latin typeface="Simplon Oi"/>
              </a:rPr>
              <a:t>x </a:t>
            </a:r>
            <a:r>
              <a:rPr lang="pt-BR" sz="800" b="1" u="sng" dirty="0" err="1" smtClean="0">
                <a:latin typeface="Simplon Oi"/>
              </a:rPr>
              <a:t>CRMs</a:t>
            </a:r>
            <a:r>
              <a:rPr lang="pt-BR" sz="800" b="1" u="sng" dirty="0" smtClean="0">
                <a:latin typeface="Simplon Oi"/>
              </a:rPr>
              <a:t>: Clientes OI TOTAL e OCT</a:t>
            </a:r>
            <a:endParaRPr lang="pt-BR" sz="800" b="1" u="sng" dirty="0">
              <a:latin typeface="Simplon Oi"/>
            </a:endParaRPr>
          </a:p>
        </p:txBody>
      </p:sp>
      <p:graphicFrame>
        <p:nvGraphicFramePr>
          <p:cNvPr id="10" name="Tabela 9"/>
          <p:cNvGraphicFramePr>
            <a:graphicFrameLocks noGrp="1"/>
          </p:cNvGraphicFramePr>
          <p:nvPr>
            <p:extLst/>
          </p:nvPr>
        </p:nvGraphicFramePr>
        <p:xfrm>
          <a:off x="4015155" y="4134647"/>
          <a:ext cx="3555226" cy="2324986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2454743"/>
                <a:gridCol w="1100483"/>
              </a:tblGrid>
              <a:tr h="160906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pt-BR" sz="800" dirty="0" smtClean="0">
                          <a:solidFill>
                            <a:schemeClr val="tx1"/>
                          </a:solidFill>
                          <a:effectLst/>
                        </a:rPr>
                        <a:t>INCONSISTÊNCIA A SER IDENTIFICADA</a:t>
                      </a:r>
                      <a:endParaRPr lang="pt-BR" sz="1200" dirty="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44450" marR="44450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pt-BR" sz="800">
                          <a:solidFill>
                            <a:schemeClr val="tx1"/>
                          </a:solidFill>
                          <a:effectLst/>
                        </a:rPr>
                        <a:t>CHAVE</a:t>
                      </a:r>
                      <a:endParaRPr lang="pt-BR" sz="120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44450" marR="44450" marT="0" marB="0"/>
                </a:tc>
              </a:tr>
              <a:tr h="196215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pt-BR" sz="800">
                          <a:solidFill>
                            <a:schemeClr val="tx1"/>
                          </a:solidFill>
                          <a:effectLst/>
                        </a:rPr>
                        <a:t>"Contrato existente no CRM e inexistente no Portal', "Contrato existente no Portal e inexistente no CRM para o mesmo CPF"</a:t>
                      </a:r>
                      <a:endParaRPr lang="pt-BR" sz="120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44450" marR="44450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pt-BR" sz="800" dirty="0">
                          <a:solidFill>
                            <a:schemeClr val="tx1"/>
                          </a:solidFill>
                          <a:effectLst/>
                        </a:rPr>
                        <a:t>CPF</a:t>
                      </a:r>
                      <a:endParaRPr lang="pt-BR" sz="1200" dirty="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44450" marR="44450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</a:tr>
              <a:tr h="177800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pt-BR" sz="800">
                          <a:solidFill>
                            <a:schemeClr val="tx1"/>
                          </a:solidFill>
                          <a:effectLst/>
                        </a:rPr>
                        <a:t>"Status divergente"</a:t>
                      </a:r>
                      <a:endParaRPr lang="pt-BR" sz="120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44450" marR="44450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pt-BR" sz="800" dirty="0">
                          <a:solidFill>
                            <a:schemeClr val="tx1"/>
                          </a:solidFill>
                          <a:effectLst/>
                        </a:rPr>
                        <a:t>CPF + CONTRATO</a:t>
                      </a:r>
                      <a:endParaRPr lang="pt-BR" sz="1200" dirty="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44450" marR="44450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</a:tr>
              <a:tr h="177800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pt-BR" sz="800">
                          <a:solidFill>
                            <a:schemeClr val="tx1"/>
                          </a:solidFill>
                          <a:effectLst/>
                        </a:rPr>
                        <a:t>"Produto existente no CRM e inexistente no Portal"</a:t>
                      </a:r>
                      <a:endParaRPr lang="pt-BR" sz="120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44450" marR="44450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pt-BR" sz="800" dirty="0">
                          <a:solidFill>
                            <a:schemeClr val="tx1"/>
                          </a:solidFill>
                          <a:effectLst/>
                        </a:rPr>
                        <a:t>CPF + CONTRATO</a:t>
                      </a:r>
                      <a:endParaRPr lang="pt-BR" sz="1200" dirty="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44450" marR="44450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</a:tr>
              <a:tr h="177800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pt-BR" sz="800">
                          <a:solidFill>
                            <a:schemeClr val="tx1"/>
                          </a:solidFill>
                          <a:effectLst/>
                        </a:rPr>
                        <a:t>"Nome do Plano divergente"</a:t>
                      </a:r>
                      <a:endParaRPr lang="pt-BR" sz="120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44450" marR="44450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pt-BR" sz="800" dirty="0">
                          <a:solidFill>
                            <a:schemeClr val="tx1"/>
                          </a:solidFill>
                          <a:effectLst/>
                        </a:rPr>
                        <a:t>CPF + CONTRATO</a:t>
                      </a:r>
                      <a:endParaRPr lang="pt-BR" sz="1200" dirty="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44450" marR="44450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</a:tr>
              <a:tr h="177800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pt-BR" sz="800">
                          <a:solidFill>
                            <a:schemeClr val="tx1"/>
                          </a:solidFill>
                          <a:effectLst/>
                        </a:rPr>
                        <a:t>"Status Conta Online divergente"</a:t>
                      </a:r>
                      <a:endParaRPr lang="pt-BR" sz="120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44450" marR="44450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pt-BR" sz="800" dirty="0">
                          <a:solidFill>
                            <a:schemeClr val="tx1"/>
                          </a:solidFill>
                          <a:effectLst/>
                        </a:rPr>
                        <a:t>CPF + CONTRATO</a:t>
                      </a:r>
                      <a:endParaRPr lang="pt-BR" sz="1200" dirty="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44450" marR="44450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</a:tr>
              <a:tr h="177800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pt-BR" sz="800" dirty="0">
                          <a:solidFill>
                            <a:schemeClr val="tx1"/>
                          </a:solidFill>
                          <a:effectLst/>
                        </a:rPr>
                        <a:t>"</a:t>
                      </a:r>
                      <a:r>
                        <a:rPr lang="pt-BR" sz="800" dirty="0" err="1">
                          <a:solidFill>
                            <a:schemeClr val="tx1"/>
                          </a:solidFill>
                          <a:effectLst/>
                        </a:rPr>
                        <a:t>Email</a:t>
                      </a:r>
                      <a:r>
                        <a:rPr lang="pt-BR" sz="800" dirty="0">
                          <a:solidFill>
                            <a:schemeClr val="tx1"/>
                          </a:solidFill>
                          <a:effectLst/>
                        </a:rPr>
                        <a:t> Conta Online divergente"</a:t>
                      </a:r>
                      <a:endParaRPr lang="pt-BR" sz="1200" dirty="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44450" marR="44450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pt-BR" sz="800" dirty="0">
                          <a:solidFill>
                            <a:schemeClr val="tx1"/>
                          </a:solidFill>
                          <a:effectLst/>
                        </a:rPr>
                        <a:t>CPF + CONTRATO</a:t>
                      </a:r>
                      <a:endParaRPr lang="pt-BR" sz="1200" dirty="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44450" marR="44450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</a:tr>
              <a:tr h="177800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pt-BR" sz="800">
                          <a:solidFill>
                            <a:schemeClr val="tx1"/>
                          </a:solidFill>
                          <a:effectLst/>
                        </a:rPr>
                        <a:t>"Data de Cadastro da conta online divergente"</a:t>
                      </a:r>
                      <a:endParaRPr lang="pt-BR" sz="120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44450" marR="44450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pt-BR" sz="800" dirty="0">
                          <a:solidFill>
                            <a:schemeClr val="tx1"/>
                          </a:solidFill>
                          <a:effectLst/>
                        </a:rPr>
                        <a:t>CPF + CONTRATO</a:t>
                      </a:r>
                      <a:endParaRPr lang="pt-BR" sz="1200" dirty="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44450" marR="44450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</a:tr>
              <a:tr h="177800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pt-BR" sz="800">
                          <a:solidFill>
                            <a:schemeClr val="tx1"/>
                          </a:solidFill>
                          <a:effectLst/>
                        </a:rPr>
                        <a:t>"Data do último status conta online divergente"</a:t>
                      </a:r>
                      <a:endParaRPr lang="pt-BR" sz="120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44450" marR="44450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pt-BR" sz="800" dirty="0">
                          <a:solidFill>
                            <a:schemeClr val="tx1"/>
                          </a:solidFill>
                          <a:effectLst/>
                        </a:rPr>
                        <a:t>CPF + CONTRATO</a:t>
                      </a:r>
                      <a:endParaRPr lang="pt-BR" sz="1200" dirty="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44450" marR="44450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</a:tr>
              <a:tr h="177800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pt-BR" sz="800">
                          <a:solidFill>
                            <a:schemeClr val="tx1"/>
                          </a:solidFill>
                          <a:effectLst/>
                        </a:rPr>
                        <a:t>"Terminal cadastrado no Conta Online para recebimento de SMS divergente"</a:t>
                      </a:r>
                      <a:endParaRPr lang="pt-BR" sz="120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44450" marR="44450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pt-BR" sz="800" dirty="0">
                          <a:solidFill>
                            <a:schemeClr val="tx1"/>
                          </a:solidFill>
                          <a:effectLst/>
                        </a:rPr>
                        <a:t>CPF + CONTRATO</a:t>
                      </a:r>
                      <a:endParaRPr lang="pt-BR" sz="1200" dirty="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44450" marR="44450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</a:tr>
              <a:tr h="177800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pt-BR" sz="800">
                          <a:solidFill>
                            <a:schemeClr val="tx1"/>
                          </a:solidFill>
                          <a:effectLst/>
                        </a:rPr>
                        <a:t>"Matrícula do responsável pelo cadastro no Conta Online divergente"</a:t>
                      </a:r>
                      <a:endParaRPr lang="pt-BR" sz="120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44450" marR="44450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pt-BR" sz="800" dirty="0">
                          <a:solidFill>
                            <a:schemeClr val="tx1"/>
                          </a:solidFill>
                          <a:effectLst/>
                        </a:rPr>
                        <a:t>CPF + TERMINAL</a:t>
                      </a:r>
                      <a:endParaRPr lang="pt-BR" sz="1200" dirty="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44450" marR="44450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</a:tr>
            </a:tbl>
          </a:graphicData>
        </a:graphic>
      </p:graphicFrame>
      <p:sp>
        <p:nvSpPr>
          <p:cNvPr id="13" name="CaixaDeTexto 12"/>
          <p:cNvSpPr txBox="1"/>
          <p:nvPr/>
        </p:nvSpPr>
        <p:spPr>
          <a:xfrm>
            <a:off x="3900973" y="3835817"/>
            <a:ext cx="2400549" cy="243761"/>
          </a:xfrm>
          <a:prstGeom prst="rect">
            <a:avLst/>
          </a:prstGeom>
          <a:noFill/>
        </p:spPr>
        <p:txBody>
          <a:bodyPr wrap="none" lIns="119485" tIns="59742" rIns="119485" bIns="59742" rtlCol="0">
            <a:spAutoFit/>
          </a:bodyPr>
          <a:lstStyle/>
          <a:p>
            <a:r>
              <a:rPr lang="pt-BR" sz="800" b="1" u="sng" dirty="0" smtClean="0">
                <a:latin typeface="Simplon Oi"/>
              </a:rPr>
              <a:t>Batimento </a:t>
            </a:r>
            <a:r>
              <a:rPr lang="pt-BR" sz="800" b="1" u="sng" dirty="0">
                <a:latin typeface="Simplon Oi"/>
              </a:rPr>
              <a:t>PORTAL OI </a:t>
            </a:r>
            <a:r>
              <a:rPr lang="pt-BR" sz="800" b="1" u="sng" dirty="0" smtClean="0">
                <a:latin typeface="Simplon Oi"/>
              </a:rPr>
              <a:t>x </a:t>
            </a:r>
            <a:r>
              <a:rPr lang="pt-BR" sz="800" b="1" u="sng" dirty="0" err="1" smtClean="0">
                <a:latin typeface="Simplon Oi"/>
              </a:rPr>
              <a:t>CRMs</a:t>
            </a:r>
            <a:r>
              <a:rPr lang="pt-BR" sz="800" b="1" u="sng" dirty="0" smtClean="0">
                <a:latin typeface="Simplon Oi"/>
              </a:rPr>
              <a:t>: Clientes </a:t>
            </a:r>
            <a:r>
              <a:rPr lang="pt-BR" sz="800" b="1" u="sng" dirty="0">
                <a:latin typeface="Simplon Oi"/>
              </a:rPr>
              <a:t> </a:t>
            </a:r>
            <a:r>
              <a:rPr lang="pt-BR" sz="800" b="1" u="sng" dirty="0" smtClean="0">
                <a:latin typeface="Simplon Oi"/>
              </a:rPr>
              <a:t>TV</a:t>
            </a:r>
            <a:endParaRPr lang="pt-BR" sz="800" b="1" u="sng" dirty="0">
              <a:latin typeface="Simplon Oi"/>
            </a:endParaRPr>
          </a:p>
        </p:txBody>
      </p:sp>
      <p:graphicFrame>
        <p:nvGraphicFramePr>
          <p:cNvPr id="12" name="Tabela 11"/>
          <p:cNvGraphicFramePr>
            <a:graphicFrameLocks noGrp="1"/>
          </p:cNvGraphicFramePr>
          <p:nvPr>
            <p:extLst/>
          </p:nvPr>
        </p:nvGraphicFramePr>
        <p:xfrm>
          <a:off x="7837321" y="1217223"/>
          <a:ext cx="3454456" cy="777240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2385164"/>
                <a:gridCol w="1069292"/>
              </a:tblGrid>
              <a:tr h="177800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pt-BR" sz="800" dirty="0" smtClean="0">
                          <a:solidFill>
                            <a:schemeClr val="tx1"/>
                          </a:solidFill>
                          <a:effectLst/>
                        </a:rPr>
                        <a:t>INCONSISTÊNCIA A SER IDENTIFICADA</a:t>
                      </a:r>
                      <a:endParaRPr lang="pt-BR" sz="1200" dirty="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44450" marR="44450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pt-BR" sz="800">
                          <a:solidFill>
                            <a:schemeClr val="tx1"/>
                          </a:solidFill>
                          <a:effectLst/>
                        </a:rPr>
                        <a:t>CHAVE</a:t>
                      </a:r>
                      <a:endParaRPr lang="pt-BR" sz="120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44450" marR="44450" marT="0" marB="0"/>
                </a:tc>
              </a:tr>
              <a:tr h="177800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pt-BR" sz="800" dirty="0">
                          <a:solidFill>
                            <a:schemeClr val="tx1"/>
                          </a:solidFill>
                          <a:effectLst/>
                        </a:rPr>
                        <a:t>"Status divergente"</a:t>
                      </a:r>
                      <a:endParaRPr lang="pt-BR" sz="1200" dirty="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44450" marR="44450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pt-BR" sz="800" dirty="0">
                          <a:solidFill>
                            <a:schemeClr val="tx1"/>
                          </a:solidFill>
                          <a:effectLst/>
                        </a:rPr>
                        <a:t>TERMINAL</a:t>
                      </a:r>
                      <a:endParaRPr lang="pt-BR" sz="1200" dirty="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44450" marR="44450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</a:tr>
              <a:tr h="177800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pt-BR" sz="800" dirty="0">
                          <a:solidFill>
                            <a:schemeClr val="tx1"/>
                          </a:solidFill>
                          <a:effectLst/>
                        </a:rPr>
                        <a:t>"Produto existente no CRM e inexistente no Portal"</a:t>
                      </a:r>
                      <a:endParaRPr lang="pt-BR" sz="1200" dirty="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44450" marR="44450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pt-BR" sz="800" dirty="0">
                          <a:solidFill>
                            <a:schemeClr val="tx1"/>
                          </a:solidFill>
                          <a:effectLst/>
                        </a:rPr>
                        <a:t>TERMINAL</a:t>
                      </a:r>
                      <a:endParaRPr lang="pt-BR" sz="1200" dirty="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44450" marR="44450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</a:tr>
              <a:tr h="177800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pt-BR" sz="800" dirty="0">
                          <a:solidFill>
                            <a:schemeClr val="tx1"/>
                          </a:solidFill>
                          <a:effectLst/>
                        </a:rPr>
                        <a:t>"Nome do Plano divergente"</a:t>
                      </a:r>
                      <a:endParaRPr lang="pt-BR" sz="1200" dirty="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44450" marR="44450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pt-BR" sz="800" dirty="0">
                          <a:solidFill>
                            <a:schemeClr val="tx1"/>
                          </a:solidFill>
                          <a:effectLst/>
                        </a:rPr>
                        <a:t>TERMINAL</a:t>
                      </a:r>
                      <a:endParaRPr lang="pt-BR" sz="1200" dirty="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44450" marR="44450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</a:tr>
            </a:tbl>
          </a:graphicData>
        </a:graphic>
      </p:graphicFrame>
      <p:sp>
        <p:nvSpPr>
          <p:cNvPr id="15" name="CaixaDeTexto 14"/>
          <p:cNvSpPr txBox="1"/>
          <p:nvPr/>
        </p:nvSpPr>
        <p:spPr>
          <a:xfrm>
            <a:off x="7705076" y="894338"/>
            <a:ext cx="2875038" cy="243761"/>
          </a:xfrm>
          <a:prstGeom prst="rect">
            <a:avLst/>
          </a:prstGeom>
          <a:noFill/>
        </p:spPr>
        <p:txBody>
          <a:bodyPr wrap="none" lIns="119485" tIns="59742" rIns="119485" bIns="59742" rtlCol="0">
            <a:spAutoFit/>
          </a:bodyPr>
          <a:lstStyle/>
          <a:p>
            <a:r>
              <a:rPr lang="pt-BR" sz="800" b="1" u="sng" dirty="0" smtClean="0">
                <a:latin typeface="Simplon Oi"/>
              </a:rPr>
              <a:t>Batimento </a:t>
            </a:r>
            <a:r>
              <a:rPr lang="pt-BR" sz="800" b="1" u="sng" dirty="0">
                <a:latin typeface="Simplon Oi"/>
              </a:rPr>
              <a:t>PORTAL OI </a:t>
            </a:r>
            <a:r>
              <a:rPr lang="pt-BR" sz="800" b="1" u="sng" dirty="0" smtClean="0">
                <a:latin typeface="Simplon Oi"/>
              </a:rPr>
              <a:t>x </a:t>
            </a:r>
            <a:r>
              <a:rPr lang="pt-BR" sz="800" b="1" u="sng" dirty="0" err="1" smtClean="0">
                <a:latin typeface="Simplon Oi"/>
              </a:rPr>
              <a:t>CRMs</a:t>
            </a:r>
            <a:r>
              <a:rPr lang="pt-BR" sz="800" b="1" u="sng" dirty="0" smtClean="0">
                <a:latin typeface="Simplon Oi"/>
              </a:rPr>
              <a:t> : Clientes MÓVEL PRÉ</a:t>
            </a:r>
            <a:endParaRPr lang="pt-BR" sz="800" b="1" u="sng" dirty="0">
              <a:latin typeface="Simplon Oi"/>
            </a:endParaRPr>
          </a:p>
        </p:txBody>
      </p:sp>
      <p:graphicFrame>
        <p:nvGraphicFramePr>
          <p:cNvPr id="14" name="Tabela 13"/>
          <p:cNvGraphicFramePr>
            <a:graphicFrameLocks noGrp="1"/>
          </p:cNvGraphicFramePr>
          <p:nvPr>
            <p:extLst/>
          </p:nvPr>
        </p:nvGraphicFramePr>
        <p:xfrm>
          <a:off x="7816164" y="4127083"/>
          <a:ext cx="3954078" cy="1085215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2372199"/>
                <a:gridCol w="1581879"/>
              </a:tblGrid>
              <a:tr h="177800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pt-BR" sz="800" dirty="0" smtClean="0">
                          <a:solidFill>
                            <a:schemeClr val="tx1"/>
                          </a:solidFill>
                          <a:effectLst/>
                        </a:rPr>
                        <a:t>INCONSISTÊNCIA A SER IDENTIFICADA</a:t>
                      </a:r>
                      <a:endParaRPr lang="pt-BR" sz="1200" dirty="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pt-BR" sz="800" dirty="0" smtClean="0">
                          <a:solidFill>
                            <a:schemeClr val="tx1"/>
                          </a:solidFill>
                          <a:effectLst/>
                        </a:rPr>
                        <a:t> CHAVE</a:t>
                      </a:r>
                      <a:endParaRPr lang="pt-BR" sz="1200" dirty="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44450" marR="44450" marT="0" marB="0" anchor="ctr"/>
                </a:tc>
              </a:tr>
              <a:tr h="196215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pt-BR" sz="800">
                          <a:solidFill>
                            <a:schemeClr val="tx1"/>
                          </a:solidFill>
                          <a:effectLst/>
                        </a:rPr>
                        <a:t>"Terminal/contrato Faturado divergente"</a:t>
                      </a:r>
                      <a:endParaRPr lang="pt-BR" sz="120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44450" marR="44450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pt-BR" sz="800" dirty="0">
                          <a:solidFill>
                            <a:schemeClr val="tx1"/>
                          </a:solidFill>
                          <a:effectLst/>
                        </a:rPr>
                        <a:t>CPF +TERMINAL/CONTRATO</a:t>
                      </a:r>
                      <a:endParaRPr lang="pt-BR" sz="1200" dirty="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44450" marR="44450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</a:tr>
              <a:tr h="177800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pt-BR" sz="800">
                          <a:solidFill>
                            <a:schemeClr val="tx1"/>
                          </a:solidFill>
                          <a:effectLst/>
                        </a:rPr>
                        <a:t>"Cadastro no DACC divergente"</a:t>
                      </a:r>
                      <a:endParaRPr lang="pt-BR" sz="120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44450" marR="44450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pt-BR" sz="800" dirty="0">
                          <a:solidFill>
                            <a:schemeClr val="tx1"/>
                          </a:solidFill>
                          <a:effectLst/>
                        </a:rPr>
                        <a:t>CPF +TERMINAL/CONTRATO</a:t>
                      </a:r>
                      <a:endParaRPr lang="pt-BR" sz="1200" dirty="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44450" marR="44450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</a:tr>
              <a:tr h="177800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pt-BR" sz="800">
                          <a:solidFill>
                            <a:schemeClr val="tx1"/>
                          </a:solidFill>
                          <a:effectLst/>
                        </a:rPr>
                        <a:t>"Data de vencimento divergente"</a:t>
                      </a:r>
                      <a:endParaRPr lang="pt-BR" sz="120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44450" marR="44450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pt-BR" sz="800" dirty="0">
                          <a:solidFill>
                            <a:schemeClr val="tx1"/>
                          </a:solidFill>
                          <a:effectLst/>
                        </a:rPr>
                        <a:t>CPF +TERMINAL/CONTRATO</a:t>
                      </a:r>
                      <a:endParaRPr lang="pt-BR" sz="1200" dirty="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44450" marR="44450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</a:tr>
              <a:tr h="177800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pt-BR" sz="800">
                          <a:solidFill>
                            <a:schemeClr val="tx1"/>
                          </a:solidFill>
                          <a:effectLst/>
                        </a:rPr>
                        <a:t>"Valor total faturado da conta divergente"</a:t>
                      </a:r>
                      <a:endParaRPr lang="pt-BR" sz="120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44450" marR="44450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pt-BR" sz="800" dirty="0">
                          <a:solidFill>
                            <a:schemeClr val="tx1"/>
                          </a:solidFill>
                          <a:effectLst/>
                        </a:rPr>
                        <a:t>CPF +TERMINAL/CONTRATO</a:t>
                      </a:r>
                      <a:endParaRPr lang="pt-BR" sz="1200" dirty="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44450" marR="44450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</a:tr>
              <a:tr h="177800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pt-BR" sz="800">
                          <a:solidFill>
                            <a:schemeClr val="tx1"/>
                          </a:solidFill>
                          <a:effectLst/>
                        </a:rPr>
                        <a:t>"Referência conta divergente"</a:t>
                      </a:r>
                      <a:endParaRPr lang="pt-BR" sz="120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44450" marR="44450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pt-BR" sz="800" dirty="0">
                          <a:solidFill>
                            <a:schemeClr val="tx1"/>
                          </a:solidFill>
                          <a:effectLst/>
                        </a:rPr>
                        <a:t>CPF +TERMINAL/CONTRATO</a:t>
                      </a:r>
                      <a:endParaRPr lang="pt-BR" sz="1200" dirty="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44450" marR="44450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</a:tr>
            </a:tbl>
          </a:graphicData>
        </a:graphic>
      </p:graphicFrame>
      <p:sp>
        <p:nvSpPr>
          <p:cNvPr id="17" name="CaixaDeTexto 16"/>
          <p:cNvSpPr txBox="1"/>
          <p:nvPr/>
        </p:nvSpPr>
        <p:spPr>
          <a:xfrm>
            <a:off x="7692534" y="3843168"/>
            <a:ext cx="2305971" cy="243761"/>
          </a:xfrm>
          <a:prstGeom prst="rect">
            <a:avLst/>
          </a:prstGeom>
          <a:noFill/>
        </p:spPr>
        <p:txBody>
          <a:bodyPr wrap="none" lIns="119485" tIns="59742" rIns="119485" bIns="59742" rtlCol="0">
            <a:spAutoFit/>
          </a:bodyPr>
          <a:lstStyle/>
          <a:p>
            <a:r>
              <a:rPr lang="pt-BR" sz="800" b="1" u="sng" dirty="0" smtClean="0">
                <a:latin typeface="Simplon Oi"/>
              </a:rPr>
              <a:t>Batimento </a:t>
            </a:r>
            <a:r>
              <a:rPr lang="pt-BR" sz="800" b="1" u="sng" dirty="0">
                <a:latin typeface="Simplon Oi"/>
              </a:rPr>
              <a:t>PORTAL OI </a:t>
            </a:r>
            <a:r>
              <a:rPr lang="pt-BR" sz="800" b="1" u="sng" dirty="0" smtClean="0">
                <a:latin typeface="Simplon Oi"/>
              </a:rPr>
              <a:t>x FATURAMENTOS</a:t>
            </a:r>
            <a:endParaRPr lang="pt-BR" sz="800" b="1" u="sng" dirty="0">
              <a:latin typeface="Simplon Oi"/>
            </a:endParaRPr>
          </a:p>
        </p:txBody>
      </p:sp>
    </p:spTree>
    <p:extLst>
      <p:ext uri="{BB962C8B-B14F-4D97-AF65-F5344CB8AC3E}">
        <p14:creationId xmlns:p14="http://schemas.microsoft.com/office/powerpoint/2010/main" val="115611307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3261815" y="283591"/>
            <a:ext cx="5349977" cy="405646"/>
          </a:xfrm>
        </p:spPr>
        <p:txBody>
          <a:bodyPr vert="horz" lIns="0" tIns="0" rIns="0" bIns="0" rtlCol="0" anchor="t">
            <a:noAutofit/>
          </a:bodyPr>
          <a:lstStyle/>
          <a:p>
            <a:r>
              <a:rPr lang="pt-BR" sz="2800" dirty="0" smtClean="0">
                <a:solidFill>
                  <a:srgbClr val="A02BFF"/>
                </a:solidFill>
                <a:latin typeface="Simplon Oi Headline" pitchFamily="2" charset="0"/>
              </a:rPr>
              <a:t>Consultas previstas no </a:t>
            </a:r>
            <a:r>
              <a:rPr lang="pt-BR" sz="2800" dirty="0" err="1" smtClean="0">
                <a:solidFill>
                  <a:srgbClr val="A02BFF"/>
                </a:solidFill>
                <a:latin typeface="Simplon Oi Headline" pitchFamily="2" charset="0"/>
              </a:rPr>
              <a:t>raid</a:t>
            </a:r>
            <a:endParaRPr lang="pt-BR" sz="2800" dirty="0">
              <a:solidFill>
                <a:srgbClr val="A02BFF"/>
              </a:solidFill>
            </a:endParaRPr>
          </a:p>
        </p:txBody>
      </p:sp>
      <p:pic>
        <p:nvPicPr>
          <p:cNvPr id="5" name="Picture 23"/>
          <p:cNvPicPr/>
          <p:nvPr/>
        </p:nvPicPr>
        <p:blipFill>
          <a:blip r:embed="rId3"/>
          <a:stretch>
            <a:fillRect/>
          </a:stretch>
        </p:blipFill>
        <p:spPr>
          <a:xfrm>
            <a:off x="299712" y="1187296"/>
            <a:ext cx="5500588" cy="2238291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6" name="CaixaDeTexto 5"/>
          <p:cNvSpPr txBox="1"/>
          <p:nvPr/>
        </p:nvSpPr>
        <p:spPr>
          <a:xfrm>
            <a:off x="1149649" y="882819"/>
            <a:ext cx="3452119" cy="243761"/>
          </a:xfrm>
          <a:prstGeom prst="rect">
            <a:avLst/>
          </a:prstGeom>
          <a:noFill/>
        </p:spPr>
        <p:txBody>
          <a:bodyPr wrap="none" lIns="119485" tIns="59742" rIns="119485" bIns="59742" rtlCol="0">
            <a:spAutoFit/>
          </a:bodyPr>
          <a:lstStyle/>
          <a:p>
            <a:r>
              <a:rPr lang="pt-BR" sz="800" b="1" u="sng" dirty="0" smtClean="0">
                <a:latin typeface="Simplon Oi"/>
              </a:rPr>
              <a:t>As telas de consulta dos alarmes deverão seguir o padrão abaixo:</a:t>
            </a:r>
            <a:endParaRPr lang="pt-BR" sz="800" b="1" u="sng" dirty="0">
              <a:latin typeface="Simplon Oi"/>
            </a:endParaRPr>
          </a:p>
        </p:txBody>
      </p:sp>
      <p:pic>
        <p:nvPicPr>
          <p:cNvPr id="7" name="Picture 32"/>
          <p:cNvPicPr/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72714" y="1190526"/>
            <a:ext cx="5637663" cy="3229610"/>
          </a:xfrm>
          <a:prstGeom prst="rect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</p:pic>
      <p:sp>
        <p:nvSpPr>
          <p:cNvPr id="8" name="CaixaDeTexto 7"/>
          <p:cNvSpPr txBox="1"/>
          <p:nvPr/>
        </p:nvSpPr>
        <p:spPr>
          <a:xfrm>
            <a:off x="6413914" y="900046"/>
            <a:ext cx="4824290" cy="243761"/>
          </a:xfrm>
          <a:prstGeom prst="rect">
            <a:avLst/>
          </a:prstGeom>
          <a:noFill/>
        </p:spPr>
        <p:txBody>
          <a:bodyPr wrap="none" lIns="119485" tIns="59742" rIns="119485" bIns="59742" rtlCol="0">
            <a:spAutoFit/>
          </a:bodyPr>
          <a:lstStyle/>
          <a:p>
            <a:r>
              <a:rPr lang="pt-BR" sz="800" b="1" u="sng" dirty="0" smtClean="0">
                <a:latin typeface="Simplon Oi"/>
              </a:rPr>
              <a:t>Tela(DASHBOARD) com resultado executivo e analítico percentual dos batimentos realizados</a:t>
            </a:r>
            <a:endParaRPr lang="pt-BR" sz="800" b="1" u="sng" dirty="0">
              <a:latin typeface="Simplon Oi"/>
            </a:endParaRPr>
          </a:p>
        </p:txBody>
      </p:sp>
      <p:pic>
        <p:nvPicPr>
          <p:cNvPr id="2691073" name="Picture 1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41275" y="4546813"/>
            <a:ext cx="5669102" cy="1885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0" name="Conector reto 9"/>
          <p:cNvCxnSpPr/>
          <p:nvPr/>
        </p:nvCxnSpPr>
        <p:spPr>
          <a:xfrm>
            <a:off x="5909481" y="1004699"/>
            <a:ext cx="27295" cy="5573522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" name="Botão de ação: Voltar ou Anterior 2">
            <a:hlinkClick r:id="rId6" action="ppaction://hlinksldjump" highlightClick="1"/>
          </p:cNvPr>
          <p:cNvSpPr/>
          <p:nvPr/>
        </p:nvSpPr>
        <p:spPr>
          <a:xfrm>
            <a:off x="136478" y="6209731"/>
            <a:ext cx="368489" cy="368490"/>
          </a:xfrm>
          <a:prstGeom prst="actionButtonBackPrevious">
            <a:avLst/>
          </a:prstGeom>
          <a:ln>
            <a:solidFill>
              <a:schemeClr val="tx2"/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pt-BR" sz="1400" dirty="0" smtClean="0"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18026776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